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89.xml" ContentType="application/vnd.openxmlformats-officedocument.drawingml.chart+xml"/>
  <Override PartName="/ppt/charts/chart2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298.xml" ContentType="application/vnd.openxmlformats-officedocument.drawingml.chart+xml"/>
  <Override PartName="/ppt/charts/chart29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00.xml" ContentType="application/vnd.openxmlformats-officedocument.drawingml.chart+xml"/>
  <Override PartName="/ppt/charts/chart301.xml" ContentType="application/vnd.openxmlformats-officedocument.drawingml.chart+xml"/>
  <Override PartName="/ppt/charts/chart302.xml" ContentType="application/vnd.openxmlformats-officedocument.drawingml.chart+xml"/>
  <Override PartName="/ppt/charts/chart303.xml" ContentType="application/vnd.openxmlformats-officedocument.drawingml.chart+xml"/>
  <Override PartName="/ppt/charts/chart304.xml" ContentType="application/vnd.openxmlformats-officedocument.drawingml.chart+xml"/>
  <Override PartName="/ppt/charts/chart305.xml" ContentType="application/vnd.openxmlformats-officedocument.drawingml.chart+xml"/>
  <Override PartName="/ppt/charts/chart306.xml" ContentType="application/vnd.openxmlformats-officedocument.drawingml.chart+xml"/>
  <Override PartName="/ppt/charts/chart307.xml" ContentType="application/vnd.openxmlformats-officedocument.drawingml.chart+xml"/>
  <Override PartName="/ppt/charts/chart308.xml" ContentType="application/vnd.openxmlformats-officedocument.drawingml.chart+xml"/>
  <Override PartName="/ppt/charts/chart309.xml" ContentType="application/vnd.openxmlformats-officedocument.drawingml.chart+xml"/>
  <Override PartName="/ppt/charts/chart31.xml" ContentType="application/vnd.openxmlformats-officedocument.drawingml.chart+xml"/>
  <Override PartName="/ppt/charts/chart310.xml" ContentType="application/vnd.openxmlformats-officedocument.drawingml.chart+xml"/>
  <Override PartName="/ppt/charts/chart311.xml" ContentType="application/vnd.openxmlformats-officedocument.drawingml.chart+xml"/>
  <Override PartName="/ppt/charts/chart312.xml" ContentType="application/vnd.openxmlformats-officedocument.drawingml.chart+xml"/>
  <Override PartName="/ppt/charts/chart313.xml" ContentType="application/vnd.openxmlformats-officedocument.drawingml.chart+xml"/>
  <Override PartName="/ppt/charts/chart314.xml" ContentType="application/vnd.openxmlformats-officedocument.drawingml.chart+xml"/>
  <Override PartName="/ppt/charts/chart315.xml" ContentType="application/vnd.openxmlformats-officedocument.drawingml.chart+xml"/>
  <Override PartName="/ppt/charts/chart316.xml" ContentType="application/vnd.openxmlformats-officedocument.drawingml.chart+xml"/>
  <Override PartName="/ppt/charts/chart317.xml" ContentType="application/vnd.openxmlformats-officedocument.drawingml.chart+xml"/>
  <Override PartName="/ppt/charts/chart318.xml" ContentType="application/vnd.openxmlformats-officedocument.drawingml.chart+xml"/>
  <Override PartName="/ppt/charts/chart319.xml" ContentType="application/vnd.openxmlformats-officedocument.drawingml.chart+xml"/>
  <Override PartName="/ppt/charts/chart32.xml" ContentType="application/vnd.openxmlformats-officedocument.drawingml.chart+xml"/>
  <Override PartName="/ppt/charts/chart320.xml" ContentType="application/vnd.openxmlformats-officedocument.drawingml.chart+xml"/>
  <Override PartName="/ppt/charts/chart321.xml" ContentType="application/vnd.openxmlformats-officedocument.drawingml.chart+xml"/>
  <Override PartName="/ppt/charts/chart322.xml" ContentType="application/vnd.openxmlformats-officedocument.drawingml.chart+xml"/>
  <Override PartName="/ppt/charts/chart323.xml" ContentType="application/vnd.openxmlformats-officedocument.drawingml.chart+xml"/>
  <Override PartName="/ppt/charts/chart324.xml" ContentType="application/vnd.openxmlformats-officedocument.drawingml.chart+xml"/>
  <Override PartName="/ppt/charts/chart325.xml" ContentType="application/vnd.openxmlformats-officedocument.drawingml.chart+xml"/>
  <Override PartName="/ppt/charts/chart326.xml" ContentType="application/vnd.openxmlformats-officedocument.drawingml.chart+xml"/>
  <Override PartName="/ppt/charts/chart327.xml" ContentType="application/vnd.openxmlformats-officedocument.drawingml.chart+xml"/>
  <Override PartName="/ppt/charts/chart328.xml" ContentType="application/vnd.openxmlformats-officedocument.drawingml.chart+xml"/>
  <Override PartName="/ppt/charts/chart329.xml" ContentType="application/vnd.openxmlformats-officedocument.drawingml.chart+xml"/>
  <Override PartName="/ppt/charts/chart33.xml" ContentType="application/vnd.openxmlformats-officedocument.drawingml.chart+xml"/>
  <Override PartName="/ppt/charts/chart330.xml" ContentType="application/vnd.openxmlformats-officedocument.drawingml.chart+xml"/>
  <Override PartName="/ppt/charts/chart331.xml" ContentType="application/vnd.openxmlformats-officedocument.drawingml.chart+xml"/>
  <Override PartName="/ppt/charts/chart332.xml" ContentType="application/vnd.openxmlformats-officedocument.drawingml.chart+xml"/>
  <Override PartName="/ppt/charts/chart333.xml" ContentType="application/vnd.openxmlformats-officedocument.drawingml.chart+xml"/>
  <Override PartName="/ppt/charts/chart334.xml" ContentType="application/vnd.openxmlformats-officedocument.drawingml.chart+xml"/>
  <Override PartName="/ppt/charts/chart335.xml" ContentType="application/vnd.openxmlformats-officedocument.drawingml.chart+xml"/>
  <Override PartName="/ppt/charts/chart336.xml" ContentType="application/vnd.openxmlformats-officedocument.drawingml.chart+xml"/>
  <Override PartName="/ppt/charts/chart337.xml" ContentType="application/vnd.openxmlformats-officedocument.drawingml.chart+xml"/>
  <Override PartName="/ppt/charts/chart338.xml" ContentType="application/vnd.openxmlformats-officedocument.drawingml.chart+xml"/>
  <Override PartName="/ppt/charts/chart339.xml" ContentType="application/vnd.openxmlformats-officedocument.drawingml.chart+xml"/>
  <Override PartName="/ppt/charts/chart34.xml" ContentType="application/vnd.openxmlformats-officedocument.drawingml.chart+xml"/>
  <Override PartName="/ppt/charts/chart340.xml" ContentType="application/vnd.openxmlformats-officedocument.drawingml.chart+xml"/>
  <Override PartName="/ppt/charts/chart341.xml" ContentType="application/vnd.openxmlformats-officedocument.drawingml.chart+xml"/>
  <Override PartName="/ppt/charts/chart342.xml" ContentType="application/vnd.openxmlformats-officedocument.drawingml.chart+xml"/>
  <Override PartName="/ppt/charts/chart343.xml" ContentType="application/vnd.openxmlformats-officedocument.drawingml.chart+xml"/>
  <Override PartName="/ppt/charts/chart344.xml" ContentType="application/vnd.openxmlformats-officedocument.drawingml.chart+xml"/>
  <Override PartName="/ppt/charts/chart345.xml" ContentType="application/vnd.openxmlformats-officedocument.drawingml.chart+xml"/>
  <Override PartName="/ppt/charts/chart346.xml" ContentType="application/vnd.openxmlformats-officedocument.drawingml.chart+xml"/>
  <Override PartName="/ppt/charts/chart347.xml" ContentType="application/vnd.openxmlformats-officedocument.drawingml.chart+xml"/>
  <Override PartName="/ppt/charts/chart348.xml" ContentType="application/vnd.openxmlformats-officedocument.drawingml.chart+xml"/>
  <Override PartName="/ppt/charts/chart349.xml" ContentType="application/vnd.openxmlformats-officedocument.drawingml.chart+xml"/>
  <Override PartName="/ppt/charts/chart35.xml" ContentType="application/vnd.openxmlformats-officedocument.drawingml.chart+xml"/>
  <Override PartName="/ppt/charts/chart350.xml" ContentType="application/vnd.openxmlformats-officedocument.drawingml.chart+xml"/>
  <Override PartName="/ppt/charts/chart351.xml" ContentType="application/vnd.openxmlformats-officedocument.drawingml.chart+xml"/>
  <Override PartName="/ppt/charts/chart352.xml" ContentType="application/vnd.openxmlformats-officedocument.drawingml.chart+xml"/>
  <Override PartName="/ppt/charts/chart353.xml" ContentType="application/vnd.openxmlformats-officedocument.drawingml.chart+xml"/>
  <Override PartName="/ppt/charts/chart354.xml" ContentType="application/vnd.openxmlformats-officedocument.drawingml.chart+xml"/>
  <Override PartName="/ppt/charts/chart355.xml" ContentType="application/vnd.openxmlformats-officedocument.drawingml.chart+xml"/>
  <Override PartName="/ppt/charts/chart356.xml" ContentType="application/vnd.openxmlformats-officedocument.drawingml.chart+xml"/>
  <Override PartName="/ppt/charts/chart357.xml" ContentType="application/vnd.openxmlformats-officedocument.drawingml.chart+xml"/>
  <Override PartName="/ppt/charts/chart358.xml" ContentType="application/vnd.openxmlformats-officedocument.drawingml.chart+xml"/>
  <Override PartName="/ppt/charts/chart359.xml" ContentType="application/vnd.openxmlformats-officedocument.drawingml.chart+xml"/>
  <Override PartName="/ppt/charts/chart36.xml" ContentType="application/vnd.openxmlformats-officedocument.drawingml.chart+xml"/>
  <Override PartName="/ppt/charts/chart360.xml" ContentType="application/vnd.openxmlformats-officedocument.drawingml.chart+xml"/>
  <Override PartName="/ppt/charts/chart361.xml" ContentType="application/vnd.openxmlformats-officedocument.drawingml.chart+xml"/>
  <Override PartName="/ppt/charts/chart362.xml" ContentType="application/vnd.openxmlformats-officedocument.drawingml.chart+xml"/>
  <Override PartName="/ppt/charts/chart363.xml" ContentType="application/vnd.openxmlformats-officedocument.drawingml.chart+xml"/>
  <Override PartName="/ppt/charts/chart364.xml" ContentType="application/vnd.openxmlformats-officedocument.drawingml.chart+xml"/>
  <Override PartName="/ppt/charts/chart365.xml" ContentType="application/vnd.openxmlformats-officedocument.drawingml.chart+xml"/>
  <Override PartName="/ppt/charts/chart366.xml" ContentType="application/vnd.openxmlformats-officedocument.drawingml.chart+xml"/>
  <Override PartName="/ppt/charts/chart367.xml" ContentType="application/vnd.openxmlformats-officedocument.drawingml.chart+xml"/>
  <Override PartName="/ppt/charts/chart368.xml" ContentType="application/vnd.openxmlformats-officedocument.drawingml.chart+xml"/>
  <Override PartName="/ppt/charts/chart369.xml" ContentType="application/vnd.openxmlformats-officedocument.drawingml.chart+xml"/>
  <Override PartName="/ppt/charts/chart37.xml" ContentType="application/vnd.openxmlformats-officedocument.drawingml.chart+xml"/>
  <Override PartName="/ppt/charts/chart370.xml" ContentType="application/vnd.openxmlformats-officedocument.drawingml.chart+xml"/>
  <Override PartName="/ppt/charts/chart371.xml" ContentType="application/vnd.openxmlformats-officedocument.drawingml.chart+xml"/>
  <Override PartName="/ppt/charts/chart372.xml" ContentType="application/vnd.openxmlformats-officedocument.drawingml.chart+xml"/>
  <Override PartName="/ppt/charts/chart373.xml" ContentType="application/vnd.openxmlformats-officedocument.drawingml.chart+xml"/>
  <Override PartName="/ppt/charts/chart374.xml" ContentType="application/vnd.openxmlformats-officedocument.drawingml.chart+xml"/>
  <Override PartName="/ppt/charts/chart375.xml" ContentType="application/vnd.openxmlformats-officedocument.drawingml.chart+xml"/>
  <Override PartName="/ppt/charts/chart376.xml" ContentType="application/vnd.openxmlformats-officedocument.drawingml.chart+xml"/>
  <Override PartName="/ppt/charts/chart377.xml" ContentType="application/vnd.openxmlformats-officedocument.drawingml.chart+xml"/>
  <Override PartName="/ppt/charts/chart378.xml" ContentType="application/vnd.openxmlformats-officedocument.drawingml.chart+xml"/>
  <Override PartName="/ppt/charts/chart379.xml" ContentType="application/vnd.openxmlformats-officedocument.drawingml.chart+xml"/>
  <Override PartName="/ppt/charts/chart38.xml" ContentType="application/vnd.openxmlformats-officedocument.drawingml.chart+xml"/>
  <Override PartName="/ppt/charts/chart380.xml" ContentType="application/vnd.openxmlformats-officedocument.drawingml.chart+xml"/>
  <Override PartName="/ppt/charts/chart381.xml" ContentType="application/vnd.openxmlformats-officedocument.drawingml.chart+xml"/>
  <Override PartName="/ppt/charts/chart382.xml" ContentType="application/vnd.openxmlformats-officedocument.drawingml.chart+xml"/>
  <Override PartName="/ppt/charts/chart383.xml" ContentType="application/vnd.openxmlformats-officedocument.drawingml.chart+xml"/>
  <Override PartName="/ppt/charts/chart384.xml" ContentType="application/vnd.openxmlformats-officedocument.drawingml.chart+xml"/>
  <Override PartName="/ppt/charts/chart385.xml" ContentType="application/vnd.openxmlformats-officedocument.drawingml.chart+xml"/>
  <Override PartName="/ppt/charts/chart386.xml" ContentType="application/vnd.openxmlformats-officedocument.drawingml.chart+xml"/>
  <Override PartName="/ppt/charts/chart387.xml" ContentType="application/vnd.openxmlformats-officedocument.drawingml.chart+xml"/>
  <Override PartName="/ppt/charts/chart388.xml" ContentType="application/vnd.openxmlformats-officedocument.drawingml.chart+xml"/>
  <Override PartName="/ppt/charts/chart389.xml" ContentType="application/vnd.openxmlformats-officedocument.drawingml.chart+xml"/>
  <Override PartName="/ppt/charts/chart39.xml" ContentType="application/vnd.openxmlformats-officedocument.drawingml.chart+xml"/>
  <Override PartName="/ppt/charts/chart390.xml" ContentType="application/vnd.openxmlformats-officedocument.drawingml.chart+xml"/>
  <Override PartName="/ppt/charts/chart391.xml" ContentType="application/vnd.openxmlformats-officedocument.drawingml.chart+xml"/>
  <Override PartName="/ppt/charts/chart392.xml" ContentType="application/vnd.openxmlformats-officedocument.drawingml.chart+xml"/>
  <Override PartName="/ppt/charts/chart393.xml" ContentType="application/vnd.openxmlformats-officedocument.drawingml.chart+xml"/>
  <Override PartName="/ppt/charts/chart394.xml" ContentType="application/vnd.openxmlformats-officedocument.drawingml.chart+xml"/>
  <Override PartName="/ppt/charts/chart395.xml" ContentType="application/vnd.openxmlformats-officedocument.drawingml.chart+xml"/>
  <Override PartName="/ppt/charts/chart396.xml" ContentType="application/vnd.openxmlformats-officedocument.drawingml.chart+xml"/>
  <Override PartName="/ppt/charts/chart397.xml" ContentType="application/vnd.openxmlformats-officedocument.drawingml.chart+xml"/>
  <Override PartName="/ppt/charts/chart398.xml" ContentType="application/vnd.openxmlformats-officedocument.drawingml.chart+xml"/>
  <Override PartName="/ppt/charts/chart39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00.xml" ContentType="application/vnd.openxmlformats-officedocument.drawingml.chart+xml"/>
  <Override PartName="/ppt/charts/chart401.xml" ContentType="application/vnd.openxmlformats-officedocument.drawingml.chart+xml"/>
  <Override PartName="/ppt/charts/chart402.xml" ContentType="application/vnd.openxmlformats-officedocument.drawingml.chart+xml"/>
  <Override PartName="/ppt/charts/chart403.xml" ContentType="application/vnd.openxmlformats-officedocument.drawingml.chart+xml"/>
  <Override PartName="/ppt/charts/chart404.xml" ContentType="application/vnd.openxmlformats-officedocument.drawingml.chart+xml"/>
  <Override PartName="/ppt/charts/chart405.xml" ContentType="application/vnd.openxmlformats-officedocument.drawingml.chart+xml"/>
  <Override PartName="/ppt/charts/chart406.xml" ContentType="application/vnd.openxmlformats-officedocument.drawingml.chart+xml"/>
  <Override PartName="/ppt/charts/chart407.xml" ContentType="application/vnd.openxmlformats-officedocument.drawingml.chart+xml"/>
  <Override PartName="/ppt/charts/chart408.xml" ContentType="application/vnd.openxmlformats-officedocument.drawingml.chart+xml"/>
  <Override PartName="/ppt/charts/chart409.xml" ContentType="application/vnd.openxmlformats-officedocument.drawingml.chart+xml"/>
  <Override PartName="/ppt/charts/chart41.xml" ContentType="application/vnd.openxmlformats-officedocument.drawingml.chart+xml"/>
  <Override PartName="/ppt/charts/chart410.xml" ContentType="application/vnd.openxmlformats-officedocument.drawingml.chart+xml"/>
  <Override PartName="/ppt/charts/chart411.xml" ContentType="application/vnd.openxmlformats-officedocument.drawingml.chart+xml"/>
  <Override PartName="/ppt/charts/chart412.xml" ContentType="application/vnd.openxmlformats-officedocument.drawingml.chart+xml"/>
  <Override PartName="/ppt/charts/chart413.xml" ContentType="application/vnd.openxmlformats-officedocument.drawingml.chart+xml"/>
  <Override PartName="/ppt/charts/chart414.xml" ContentType="application/vnd.openxmlformats-officedocument.drawingml.chart+xml"/>
  <Override PartName="/ppt/charts/chart415.xml" ContentType="application/vnd.openxmlformats-officedocument.drawingml.chart+xml"/>
  <Override PartName="/ppt/charts/chart416.xml" ContentType="application/vnd.openxmlformats-officedocument.drawingml.chart+xml"/>
  <Override PartName="/ppt/charts/chart417.xml" ContentType="application/vnd.openxmlformats-officedocument.drawingml.chart+xml"/>
  <Override PartName="/ppt/charts/chart418.xml" ContentType="application/vnd.openxmlformats-officedocument.drawingml.chart+xml"/>
  <Override PartName="/ppt/charts/chart419.xml" ContentType="application/vnd.openxmlformats-officedocument.drawingml.chart+xml"/>
  <Override PartName="/ppt/charts/chart42.xml" ContentType="application/vnd.openxmlformats-officedocument.drawingml.chart+xml"/>
  <Override PartName="/ppt/charts/chart420.xml" ContentType="application/vnd.openxmlformats-officedocument.drawingml.chart+xml"/>
  <Override PartName="/ppt/charts/chart421.xml" ContentType="application/vnd.openxmlformats-officedocument.drawingml.chart+xml"/>
  <Override PartName="/ppt/charts/chart422.xml" ContentType="application/vnd.openxmlformats-officedocument.drawingml.chart+xml"/>
  <Override PartName="/ppt/charts/chart423.xml" ContentType="application/vnd.openxmlformats-officedocument.drawingml.chart+xml"/>
  <Override PartName="/ppt/charts/chart424.xml" ContentType="application/vnd.openxmlformats-officedocument.drawingml.chart+xml"/>
  <Override PartName="/ppt/charts/chart425.xml" ContentType="application/vnd.openxmlformats-officedocument.drawingml.chart+xml"/>
  <Override PartName="/ppt/charts/chart426.xml" ContentType="application/vnd.openxmlformats-officedocument.drawingml.chart+xml"/>
  <Override PartName="/ppt/charts/chart427.xml" ContentType="application/vnd.openxmlformats-officedocument.drawingml.chart+xml"/>
  <Override PartName="/ppt/charts/chart428.xml" ContentType="application/vnd.openxmlformats-officedocument.drawingml.chart+xml"/>
  <Override PartName="/ppt/charts/chart429.xml" ContentType="application/vnd.openxmlformats-officedocument.drawingml.chart+xml"/>
  <Override PartName="/ppt/charts/chart43.xml" ContentType="application/vnd.openxmlformats-officedocument.drawingml.chart+xml"/>
  <Override PartName="/ppt/charts/chart430.xml" ContentType="application/vnd.openxmlformats-officedocument.drawingml.chart+xml"/>
  <Override PartName="/ppt/charts/chart431.xml" ContentType="application/vnd.openxmlformats-officedocument.drawingml.chart+xml"/>
  <Override PartName="/ppt/charts/chart432.xml" ContentType="application/vnd.openxmlformats-officedocument.drawingml.chart+xml"/>
  <Override PartName="/ppt/charts/chart433.xml" ContentType="application/vnd.openxmlformats-officedocument.drawingml.chart+xml"/>
  <Override PartName="/ppt/charts/chart434.xml" ContentType="application/vnd.openxmlformats-officedocument.drawingml.chart+xml"/>
  <Override PartName="/ppt/charts/chart435.xml" ContentType="application/vnd.openxmlformats-officedocument.drawingml.chart+xml"/>
  <Override PartName="/ppt/charts/chart436.xml" ContentType="application/vnd.openxmlformats-officedocument.drawingml.chart+xml"/>
  <Override PartName="/ppt/charts/chart437.xml" ContentType="application/vnd.openxmlformats-officedocument.drawingml.chart+xml"/>
  <Override PartName="/ppt/charts/chart438.xml" ContentType="application/vnd.openxmlformats-officedocument.drawingml.chart+xml"/>
  <Override PartName="/ppt/charts/chart439.xml" ContentType="application/vnd.openxmlformats-officedocument.drawingml.chart+xml"/>
  <Override PartName="/ppt/charts/chart44.xml" ContentType="application/vnd.openxmlformats-officedocument.drawingml.chart+xml"/>
  <Override PartName="/ppt/charts/chart440.xml" ContentType="application/vnd.openxmlformats-officedocument.drawingml.chart+xml"/>
  <Override PartName="/ppt/charts/chart441.xml" ContentType="application/vnd.openxmlformats-officedocument.drawingml.chart+xml"/>
  <Override PartName="/ppt/charts/chart442.xml" ContentType="application/vnd.openxmlformats-officedocument.drawingml.chart+xml"/>
  <Override PartName="/ppt/charts/chart443.xml" ContentType="application/vnd.openxmlformats-officedocument.drawingml.chart+xml"/>
  <Override PartName="/ppt/charts/chart444.xml" ContentType="application/vnd.openxmlformats-officedocument.drawingml.chart+xml"/>
  <Override PartName="/ppt/charts/chart445.xml" ContentType="application/vnd.openxmlformats-officedocument.drawingml.chart+xml"/>
  <Override PartName="/ppt/charts/chart446.xml" ContentType="application/vnd.openxmlformats-officedocument.drawingml.chart+xml"/>
  <Override PartName="/ppt/charts/chart447.xml" ContentType="application/vnd.openxmlformats-officedocument.drawingml.chart+xml"/>
  <Override PartName="/ppt/charts/chart448.xml" ContentType="application/vnd.openxmlformats-officedocument.drawingml.chart+xml"/>
  <Override PartName="/ppt/charts/chart449.xml" ContentType="application/vnd.openxmlformats-officedocument.drawingml.chart+xml"/>
  <Override PartName="/ppt/charts/chart45.xml" ContentType="application/vnd.openxmlformats-officedocument.drawingml.chart+xml"/>
  <Override PartName="/ppt/charts/chart450.xml" ContentType="application/vnd.openxmlformats-officedocument.drawingml.chart+xml"/>
  <Override PartName="/ppt/charts/chart451.xml" ContentType="application/vnd.openxmlformats-officedocument.drawingml.chart+xml"/>
  <Override PartName="/ppt/charts/chart452.xml" ContentType="application/vnd.openxmlformats-officedocument.drawingml.chart+xml"/>
  <Override PartName="/ppt/charts/chart453.xml" ContentType="application/vnd.openxmlformats-officedocument.drawingml.chart+xml"/>
  <Override PartName="/ppt/charts/chart454.xml" ContentType="application/vnd.openxmlformats-officedocument.drawingml.chart+xml"/>
  <Override PartName="/ppt/charts/chart455.xml" ContentType="application/vnd.openxmlformats-officedocument.drawingml.chart+xml"/>
  <Override PartName="/ppt/charts/chart456.xml" ContentType="application/vnd.openxmlformats-officedocument.drawingml.chart+xml"/>
  <Override PartName="/ppt/charts/chart457.xml" ContentType="application/vnd.openxmlformats-officedocument.drawingml.chart+xml"/>
  <Override PartName="/ppt/charts/chart458.xml" ContentType="application/vnd.openxmlformats-officedocument.drawingml.chart+xml"/>
  <Override PartName="/ppt/charts/chart459.xml" ContentType="application/vnd.openxmlformats-officedocument.drawingml.chart+xml"/>
  <Override PartName="/ppt/charts/chart46.xml" ContentType="application/vnd.openxmlformats-officedocument.drawingml.chart+xml"/>
  <Override PartName="/ppt/charts/chart460.xml" ContentType="application/vnd.openxmlformats-officedocument.drawingml.chart+xml"/>
  <Override PartName="/ppt/charts/chart461.xml" ContentType="application/vnd.openxmlformats-officedocument.drawingml.chart+xml"/>
  <Override PartName="/ppt/charts/chart462.xml" ContentType="application/vnd.openxmlformats-officedocument.drawingml.chart+xml"/>
  <Override PartName="/ppt/charts/chart463.xml" ContentType="application/vnd.openxmlformats-officedocument.drawingml.chart+xml"/>
  <Override PartName="/ppt/charts/chart464.xml" ContentType="application/vnd.openxmlformats-officedocument.drawingml.chart+xml"/>
  <Override PartName="/ppt/charts/chart465.xml" ContentType="application/vnd.openxmlformats-officedocument.drawingml.chart+xml"/>
  <Override PartName="/ppt/charts/chart466.xml" ContentType="application/vnd.openxmlformats-officedocument.drawingml.chart+xml"/>
  <Override PartName="/ppt/charts/chart467.xml" ContentType="application/vnd.openxmlformats-officedocument.drawingml.chart+xml"/>
  <Override PartName="/ppt/charts/chart468.xml" ContentType="application/vnd.openxmlformats-officedocument.drawingml.chart+xml"/>
  <Override PartName="/ppt/charts/chart469.xml" ContentType="application/vnd.openxmlformats-officedocument.drawingml.chart+xml"/>
  <Override PartName="/ppt/charts/chart47.xml" ContentType="application/vnd.openxmlformats-officedocument.drawingml.chart+xml"/>
  <Override PartName="/ppt/charts/chart470.xml" ContentType="application/vnd.openxmlformats-officedocument.drawingml.chart+xml"/>
  <Override PartName="/ppt/charts/chart471.xml" ContentType="application/vnd.openxmlformats-officedocument.drawingml.chart+xml"/>
  <Override PartName="/ppt/charts/chart472.xml" ContentType="application/vnd.openxmlformats-officedocument.drawingml.chart+xml"/>
  <Override PartName="/ppt/charts/chart473.xml" ContentType="application/vnd.openxmlformats-officedocument.drawingml.chart+xml"/>
  <Override PartName="/ppt/charts/chart474.xml" ContentType="application/vnd.openxmlformats-officedocument.drawingml.chart+xml"/>
  <Override PartName="/ppt/charts/chart475.xml" ContentType="application/vnd.openxmlformats-officedocument.drawingml.chart+xml"/>
  <Override PartName="/ppt/charts/chart476.xml" ContentType="application/vnd.openxmlformats-officedocument.drawingml.chart+xml"/>
  <Override PartName="/ppt/charts/chart477.xml" ContentType="application/vnd.openxmlformats-officedocument.drawingml.chart+xml"/>
  <Override PartName="/ppt/charts/chart478.xml" ContentType="application/vnd.openxmlformats-officedocument.drawingml.chart+xml"/>
  <Override PartName="/ppt/charts/chart479.xml" ContentType="application/vnd.openxmlformats-officedocument.drawingml.chart+xml"/>
  <Override PartName="/ppt/charts/chart48.xml" ContentType="application/vnd.openxmlformats-officedocument.drawingml.chart+xml"/>
  <Override PartName="/ppt/charts/chart480.xml" ContentType="application/vnd.openxmlformats-officedocument.drawingml.chart+xml"/>
  <Override PartName="/ppt/charts/chart481.xml" ContentType="application/vnd.openxmlformats-officedocument.drawingml.chart+xml"/>
  <Override PartName="/ppt/charts/chart482.xml" ContentType="application/vnd.openxmlformats-officedocument.drawingml.chart+xml"/>
  <Override PartName="/ppt/charts/chart483.xml" ContentType="application/vnd.openxmlformats-officedocument.drawingml.chart+xml"/>
  <Override PartName="/ppt/charts/chart484.xml" ContentType="application/vnd.openxmlformats-officedocument.drawingml.chart+xml"/>
  <Override PartName="/ppt/charts/chart485.xml" ContentType="application/vnd.openxmlformats-officedocument.drawingml.chart+xml"/>
  <Override PartName="/ppt/charts/chart486.xml" ContentType="application/vnd.openxmlformats-officedocument.drawingml.chart+xml"/>
  <Override PartName="/ppt/charts/chart487.xml" ContentType="application/vnd.openxmlformats-officedocument.drawingml.chart+xml"/>
  <Override PartName="/ppt/charts/chart488.xml" ContentType="application/vnd.openxmlformats-officedocument.drawingml.chart+xml"/>
  <Override PartName="/ppt/charts/chart489.xml" ContentType="application/vnd.openxmlformats-officedocument.drawingml.chart+xml"/>
  <Override PartName="/ppt/charts/chart49.xml" ContentType="application/vnd.openxmlformats-officedocument.drawingml.chart+xml"/>
  <Override PartName="/ppt/charts/chart490.xml" ContentType="application/vnd.openxmlformats-officedocument.drawingml.chart+xml"/>
  <Override PartName="/ppt/charts/chart491.xml" ContentType="application/vnd.openxmlformats-officedocument.drawingml.chart+xml"/>
  <Override PartName="/ppt/charts/chart492.xml" ContentType="application/vnd.openxmlformats-officedocument.drawingml.chart+xml"/>
  <Override PartName="/ppt/charts/chart493.xml" ContentType="application/vnd.openxmlformats-officedocument.drawingml.chart+xml"/>
  <Override PartName="/ppt/charts/chart494.xml" ContentType="application/vnd.openxmlformats-officedocument.drawingml.chart+xml"/>
  <Override PartName="/ppt/charts/chart495.xml" ContentType="application/vnd.openxmlformats-officedocument.drawingml.chart+xml"/>
  <Override PartName="/ppt/charts/chart496.xml" ContentType="application/vnd.openxmlformats-officedocument.drawingml.chart+xml"/>
  <Override PartName="/ppt/charts/chart497.xml" ContentType="application/vnd.openxmlformats-officedocument.drawingml.chart+xml"/>
  <Override PartName="/ppt/charts/chart498.xml" ContentType="application/vnd.openxmlformats-officedocument.drawingml.chart+xml"/>
  <Override PartName="/ppt/charts/chart49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00.xml" ContentType="application/vnd.openxmlformats-officedocument.drawingml.chart+xml"/>
  <Override PartName="/ppt/charts/chart501.xml" ContentType="application/vnd.openxmlformats-officedocument.drawingml.chart+xml"/>
  <Override PartName="/ppt/charts/chart502.xml" ContentType="application/vnd.openxmlformats-officedocument.drawingml.chart+xml"/>
  <Override PartName="/ppt/charts/chart503.xml" ContentType="application/vnd.openxmlformats-officedocument.drawingml.chart+xml"/>
  <Override PartName="/ppt/charts/chart504.xml" ContentType="application/vnd.openxmlformats-officedocument.drawingml.chart+xml"/>
  <Override PartName="/ppt/charts/chart505.xml" ContentType="application/vnd.openxmlformats-officedocument.drawingml.chart+xml"/>
  <Override PartName="/ppt/charts/chart506.xml" ContentType="application/vnd.openxmlformats-officedocument.drawingml.chart+xml"/>
  <Override PartName="/ppt/charts/chart507.xml" ContentType="application/vnd.openxmlformats-officedocument.drawingml.chart+xml"/>
  <Override PartName="/ppt/charts/chart508.xml" ContentType="application/vnd.openxmlformats-officedocument.drawingml.chart+xml"/>
  <Override PartName="/ppt/charts/chart509.xml" ContentType="application/vnd.openxmlformats-officedocument.drawingml.chart+xml"/>
  <Override PartName="/ppt/charts/chart51.xml" ContentType="application/vnd.openxmlformats-officedocument.drawingml.chart+xml"/>
  <Override PartName="/ppt/charts/chart510.xml" ContentType="application/vnd.openxmlformats-officedocument.drawingml.chart+xml"/>
  <Override PartName="/ppt/charts/chart511.xml" ContentType="application/vnd.openxmlformats-officedocument.drawingml.chart+xml"/>
  <Override PartName="/ppt/charts/chart512.xml" ContentType="application/vnd.openxmlformats-officedocument.drawingml.chart+xml"/>
  <Override PartName="/ppt/charts/chart513.xml" ContentType="application/vnd.openxmlformats-officedocument.drawingml.chart+xml"/>
  <Override PartName="/ppt/charts/chart514.xml" ContentType="application/vnd.openxmlformats-officedocument.drawingml.chart+xml"/>
  <Override PartName="/ppt/charts/chart515.xml" ContentType="application/vnd.openxmlformats-officedocument.drawingml.chart+xml"/>
  <Override PartName="/ppt/charts/chart516.xml" ContentType="application/vnd.openxmlformats-officedocument.drawingml.chart+xml"/>
  <Override PartName="/ppt/charts/chart517.xml" ContentType="application/vnd.openxmlformats-officedocument.drawingml.chart+xml"/>
  <Override PartName="/ppt/charts/chart518.xml" ContentType="application/vnd.openxmlformats-officedocument.drawingml.chart+xml"/>
  <Override PartName="/ppt/charts/chart519.xml" ContentType="application/vnd.openxmlformats-officedocument.drawingml.chart+xml"/>
  <Override PartName="/ppt/charts/chart52.xml" ContentType="application/vnd.openxmlformats-officedocument.drawingml.chart+xml"/>
  <Override PartName="/ppt/charts/chart520.xml" ContentType="application/vnd.openxmlformats-officedocument.drawingml.chart+xml"/>
  <Override PartName="/ppt/charts/chart521.xml" ContentType="application/vnd.openxmlformats-officedocument.drawingml.chart+xml"/>
  <Override PartName="/ppt/charts/chart522.xml" ContentType="application/vnd.openxmlformats-officedocument.drawingml.chart+xml"/>
  <Override PartName="/ppt/charts/chart523.xml" ContentType="application/vnd.openxmlformats-officedocument.drawingml.chart+xml"/>
  <Override PartName="/ppt/charts/chart524.xml" ContentType="application/vnd.openxmlformats-officedocument.drawingml.chart+xml"/>
  <Override PartName="/ppt/charts/chart525.xml" ContentType="application/vnd.openxmlformats-officedocument.drawingml.chart+xml"/>
  <Override PartName="/ppt/charts/chart526.xml" ContentType="application/vnd.openxmlformats-officedocument.drawingml.chart+xml"/>
  <Override PartName="/ppt/charts/chart527.xml" ContentType="application/vnd.openxmlformats-officedocument.drawingml.chart+xml"/>
  <Override PartName="/ppt/charts/chart528.xml" ContentType="application/vnd.openxmlformats-officedocument.drawingml.chart+xml"/>
  <Override PartName="/ppt/charts/chart529.xml" ContentType="application/vnd.openxmlformats-officedocument.drawingml.chart+xml"/>
  <Override PartName="/ppt/charts/chart53.xml" ContentType="application/vnd.openxmlformats-officedocument.drawingml.chart+xml"/>
  <Override PartName="/ppt/charts/chart530.xml" ContentType="application/vnd.openxmlformats-officedocument.drawingml.chart+xml"/>
  <Override PartName="/ppt/charts/chart531.xml" ContentType="application/vnd.openxmlformats-officedocument.drawingml.chart+xml"/>
  <Override PartName="/ppt/charts/chart532.xml" ContentType="application/vnd.openxmlformats-officedocument.drawingml.chart+xml"/>
  <Override PartName="/ppt/charts/chart533.xml" ContentType="application/vnd.openxmlformats-officedocument.drawingml.chart+xml"/>
  <Override PartName="/ppt/charts/chart534.xml" ContentType="application/vnd.openxmlformats-officedocument.drawingml.chart+xml"/>
  <Override PartName="/ppt/charts/chart535.xml" ContentType="application/vnd.openxmlformats-officedocument.drawingml.chart+xml"/>
  <Override PartName="/ppt/charts/chart536.xml" ContentType="application/vnd.openxmlformats-officedocument.drawingml.chart+xml"/>
  <Override PartName="/ppt/charts/chart537.xml" ContentType="application/vnd.openxmlformats-officedocument.drawingml.chart+xml"/>
  <Override PartName="/ppt/charts/chart538.xml" ContentType="application/vnd.openxmlformats-officedocument.drawingml.chart+xml"/>
  <Override PartName="/ppt/charts/chart539.xml" ContentType="application/vnd.openxmlformats-officedocument.drawingml.chart+xml"/>
  <Override PartName="/ppt/charts/chart54.xml" ContentType="application/vnd.openxmlformats-officedocument.drawingml.chart+xml"/>
  <Override PartName="/ppt/charts/chart540.xml" ContentType="application/vnd.openxmlformats-officedocument.drawingml.chart+xml"/>
  <Override PartName="/ppt/charts/chart541.xml" ContentType="application/vnd.openxmlformats-officedocument.drawingml.chart+xml"/>
  <Override PartName="/ppt/charts/chart542.xml" ContentType="application/vnd.openxmlformats-officedocument.drawingml.chart+xml"/>
  <Override PartName="/ppt/charts/chart543.xml" ContentType="application/vnd.openxmlformats-officedocument.drawingml.chart+xml"/>
  <Override PartName="/ppt/charts/chart544.xml" ContentType="application/vnd.openxmlformats-officedocument.drawingml.chart+xml"/>
  <Override PartName="/ppt/charts/chart545.xml" ContentType="application/vnd.openxmlformats-officedocument.drawingml.chart+xml"/>
  <Override PartName="/ppt/charts/chart546.xml" ContentType="application/vnd.openxmlformats-officedocument.drawingml.chart+xml"/>
  <Override PartName="/ppt/charts/chart547.xml" ContentType="application/vnd.openxmlformats-officedocument.drawingml.chart+xml"/>
  <Override PartName="/ppt/charts/chart548.xml" ContentType="application/vnd.openxmlformats-officedocument.drawingml.chart+xml"/>
  <Override PartName="/ppt/charts/chart549.xml" ContentType="application/vnd.openxmlformats-officedocument.drawingml.chart+xml"/>
  <Override PartName="/ppt/charts/chart55.xml" ContentType="application/vnd.openxmlformats-officedocument.drawingml.chart+xml"/>
  <Override PartName="/ppt/charts/chart550.xml" ContentType="application/vnd.openxmlformats-officedocument.drawingml.chart+xml"/>
  <Override PartName="/ppt/charts/chart551.xml" ContentType="application/vnd.openxmlformats-officedocument.drawingml.chart+xml"/>
  <Override PartName="/ppt/charts/chart552.xml" ContentType="application/vnd.openxmlformats-officedocument.drawingml.chart+xml"/>
  <Override PartName="/ppt/charts/chart553.xml" ContentType="application/vnd.openxmlformats-officedocument.drawingml.chart+xml"/>
  <Override PartName="/ppt/charts/chart554.xml" ContentType="application/vnd.openxmlformats-officedocument.drawingml.chart+xml"/>
  <Override PartName="/ppt/charts/chart555.xml" ContentType="application/vnd.openxmlformats-officedocument.drawingml.chart+xml"/>
  <Override PartName="/ppt/charts/chart556.xml" ContentType="application/vnd.openxmlformats-officedocument.drawingml.chart+xml"/>
  <Override PartName="/ppt/charts/chart557.xml" ContentType="application/vnd.openxmlformats-officedocument.drawingml.chart+xml"/>
  <Override PartName="/ppt/charts/chart558.xml" ContentType="application/vnd.openxmlformats-officedocument.drawingml.chart+xml"/>
  <Override PartName="/ppt/charts/chart559.xml" ContentType="application/vnd.openxmlformats-officedocument.drawingml.chart+xml"/>
  <Override PartName="/ppt/charts/chart56.xml" ContentType="application/vnd.openxmlformats-officedocument.drawingml.chart+xml"/>
  <Override PartName="/ppt/charts/chart560.xml" ContentType="application/vnd.openxmlformats-officedocument.drawingml.chart+xml"/>
  <Override PartName="/ppt/charts/chart561.xml" ContentType="application/vnd.openxmlformats-officedocument.drawingml.chart+xml"/>
  <Override PartName="/ppt/charts/chart562.xml" ContentType="application/vnd.openxmlformats-officedocument.drawingml.chart+xml"/>
  <Override PartName="/ppt/charts/chart563.xml" ContentType="application/vnd.openxmlformats-officedocument.drawingml.chart+xml"/>
  <Override PartName="/ppt/charts/chart564.xml" ContentType="application/vnd.openxmlformats-officedocument.drawingml.chart+xml"/>
  <Override PartName="/ppt/charts/chart565.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charts/colors1.xml" ContentType="application/vnd.ms-office.chartcolorstyle+xml"/>
  <Override PartName="/ppt/charts/colors10.xml" ContentType="application/vnd.ms-office.chartcolorstyle+xml"/>
  <Override PartName="/ppt/charts/colors100.xml" ContentType="application/vnd.ms-office.chartcolorstyle+xml"/>
  <Override PartName="/ppt/charts/colors101.xml" ContentType="application/vnd.ms-office.chartcolorstyle+xml"/>
  <Override PartName="/ppt/charts/colors102.xml" ContentType="application/vnd.ms-office.chartcolorstyle+xml"/>
  <Override PartName="/ppt/charts/colors103.xml" ContentType="application/vnd.ms-office.chartcolorstyle+xml"/>
  <Override PartName="/ppt/charts/colors104.xml" ContentType="application/vnd.ms-office.chartcolorstyle+xml"/>
  <Override PartName="/ppt/charts/colors105.xml" ContentType="application/vnd.ms-office.chartcolorstyle+xml"/>
  <Override PartName="/ppt/charts/colors106.xml" ContentType="application/vnd.ms-office.chartcolorstyle+xml"/>
  <Override PartName="/ppt/charts/colors107.xml" ContentType="application/vnd.ms-office.chartcolorstyle+xml"/>
  <Override PartName="/ppt/charts/colors108.xml" ContentType="application/vnd.ms-office.chartcolorstyle+xml"/>
  <Override PartName="/ppt/charts/colors109.xml" ContentType="application/vnd.ms-office.chartcolorstyle+xml"/>
  <Override PartName="/ppt/charts/colors11.xml" ContentType="application/vnd.ms-office.chartcolorstyle+xml"/>
  <Override PartName="/ppt/charts/colors110.xml" ContentType="application/vnd.ms-office.chartcolorstyle+xml"/>
  <Override PartName="/ppt/charts/colors111.xml" ContentType="application/vnd.ms-office.chartcolorstyle+xml"/>
  <Override PartName="/ppt/charts/colors112.xml" ContentType="application/vnd.ms-office.chartcolorstyle+xml"/>
  <Override PartName="/ppt/charts/colors113.xml" ContentType="application/vnd.ms-office.chartcolorstyle+xml"/>
  <Override PartName="/ppt/charts/colors114.xml" ContentType="application/vnd.ms-office.chartcolorstyle+xml"/>
  <Override PartName="/ppt/charts/colors115.xml" ContentType="application/vnd.ms-office.chartcolorstyle+xml"/>
  <Override PartName="/ppt/charts/colors116.xml" ContentType="application/vnd.ms-office.chartcolorstyle+xml"/>
  <Override PartName="/ppt/charts/colors117.xml" ContentType="application/vnd.ms-office.chartcolorstyle+xml"/>
  <Override PartName="/ppt/charts/colors118.xml" ContentType="application/vnd.ms-office.chartcolorstyle+xml"/>
  <Override PartName="/ppt/charts/colors119.xml" ContentType="application/vnd.ms-office.chartcolorstyle+xml"/>
  <Override PartName="/ppt/charts/colors12.xml" ContentType="application/vnd.ms-office.chartcolorstyle+xml"/>
  <Override PartName="/ppt/charts/colors120.xml" ContentType="application/vnd.ms-office.chartcolorstyle+xml"/>
  <Override PartName="/ppt/charts/colors121.xml" ContentType="application/vnd.ms-office.chartcolorstyle+xml"/>
  <Override PartName="/ppt/charts/colors122.xml" ContentType="application/vnd.ms-office.chartcolorstyle+xml"/>
  <Override PartName="/ppt/charts/colors123.xml" ContentType="application/vnd.ms-office.chartcolorstyle+xml"/>
  <Override PartName="/ppt/charts/colors124.xml" ContentType="application/vnd.ms-office.chartcolorstyle+xml"/>
  <Override PartName="/ppt/charts/colors125.xml" ContentType="application/vnd.ms-office.chartcolorstyle+xml"/>
  <Override PartName="/ppt/charts/colors126.xml" ContentType="application/vnd.ms-office.chartcolorstyle+xml"/>
  <Override PartName="/ppt/charts/colors127.xml" ContentType="application/vnd.ms-office.chartcolorstyle+xml"/>
  <Override PartName="/ppt/charts/colors128.xml" ContentType="application/vnd.ms-office.chartcolorstyle+xml"/>
  <Override PartName="/ppt/charts/colors129.xml" ContentType="application/vnd.ms-office.chartcolorstyle+xml"/>
  <Override PartName="/ppt/charts/colors13.xml" ContentType="application/vnd.ms-office.chartcolorstyle+xml"/>
  <Override PartName="/ppt/charts/colors130.xml" ContentType="application/vnd.ms-office.chartcolorstyle+xml"/>
  <Override PartName="/ppt/charts/colors131.xml" ContentType="application/vnd.ms-office.chartcolorstyle+xml"/>
  <Override PartName="/ppt/charts/colors132.xml" ContentType="application/vnd.ms-office.chartcolorstyle+xml"/>
  <Override PartName="/ppt/charts/colors133.xml" ContentType="application/vnd.ms-office.chartcolorstyle+xml"/>
  <Override PartName="/ppt/charts/colors134.xml" ContentType="application/vnd.ms-office.chartcolorstyle+xml"/>
  <Override PartName="/ppt/charts/colors135.xml" ContentType="application/vnd.ms-office.chartcolorstyle+xml"/>
  <Override PartName="/ppt/charts/colors136.xml" ContentType="application/vnd.ms-office.chartcolorstyle+xml"/>
  <Override PartName="/ppt/charts/colors137.xml" ContentType="application/vnd.ms-office.chartcolorstyle+xml"/>
  <Override PartName="/ppt/charts/colors138.xml" ContentType="application/vnd.ms-office.chartcolorstyle+xml"/>
  <Override PartName="/ppt/charts/colors139.xml" ContentType="application/vnd.ms-office.chartcolorstyle+xml"/>
  <Override PartName="/ppt/charts/colors14.xml" ContentType="application/vnd.ms-office.chartcolorstyle+xml"/>
  <Override PartName="/ppt/charts/colors140.xml" ContentType="application/vnd.ms-office.chartcolorstyle+xml"/>
  <Override PartName="/ppt/charts/colors141.xml" ContentType="application/vnd.ms-office.chartcolorstyle+xml"/>
  <Override PartName="/ppt/charts/colors142.xml" ContentType="application/vnd.ms-office.chartcolorstyle+xml"/>
  <Override PartName="/ppt/charts/colors143.xml" ContentType="application/vnd.ms-office.chartcolorstyle+xml"/>
  <Override PartName="/ppt/charts/colors144.xml" ContentType="application/vnd.ms-office.chartcolorstyle+xml"/>
  <Override PartName="/ppt/charts/colors145.xml" ContentType="application/vnd.ms-office.chartcolorstyle+xml"/>
  <Override PartName="/ppt/charts/colors146.xml" ContentType="application/vnd.ms-office.chartcolorstyle+xml"/>
  <Override PartName="/ppt/charts/colors147.xml" ContentType="application/vnd.ms-office.chartcolorstyle+xml"/>
  <Override PartName="/ppt/charts/colors148.xml" ContentType="application/vnd.ms-office.chartcolorstyle+xml"/>
  <Override PartName="/ppt/charts/colors149.xml" ContentType="application/vnd.ms-office.chartcolorstyle+xml"/>
  <Override PartName="/ppt/charts/colors15.xml" ContentType="application/vnd.ms-office.chartcolorstyle+xml"/>
  <Override PartName="/ppt/charts/colors150.xml" ContentType="application/vnd.ms-office.chartcolorstyle+xml"/>
  <Override PartName="/ppt/charts/colors151.xml" ContentType="application/vnd.ms-office.chartcolorstyle+xml"/>
  <Override PartName="/ppt/charts/colors152.xml" ContentType="application/vnd.ms-office.chartcolorstyle+xml"/>
  <Override PartName="/ppt/charts/colors153.xml" ContentType="application/vnd.ms-office.chartcolorstyle+xml"/>
  <Override PartName="/ppt/charts/colors154.xml" ContentType="application/vnd.ms-office.chartcolorstyle+xml"/>
  <Override PartName="/ppt/charts/colors155.xml" ContentType="application/vnd.ms-office.chartcolorstyle+xml"/>
  <Override PartName="/ppt/charts/colors156.xml" ContentType="application/vnd.ms-office.chartcolorstyle+xml"/>
  <Override PartName="/ppt/charts/colors157.xml" ContentType="application/vnd.ms-office.chartcolorstyle+xml"/>
  <Override PartName="/ppt/charts/colors158.xml" ContentType="application/vnd.ms-office.chartcolorstyle+xml"/>
  <Override PartName="/ppt/charts/colors159.xml" ContentType="application/vnd.ms-office.chartcolorstyle+xml"/>
  <Override PartName="/ppt/charts/colors16.xml" ContentType="application/vnd.ms-office.chartcolorstyle+xml"/>
  <Override PartName="/ppt/charts/colors160.xml" ContentType="application/vnd.ms-office.chartcolorstyle+xml"/>
  <Override PartName="/ppt/charts/colors161.xml" ContentType="application/vnd.ms-office.chartcolorstyle+xml"/>
  <Override PartName="/ppt/charts/colors162.xml" ContentType="application/vnd.ms-office.chartcolorstyle+xml"/>
  <Override PartName="/ppt/charts/colors163.xml" ContentType="application/vnd.ms-office.chartcolorstyle+xml"/>
  <Override PartName="/ppt/charts/colors164.xml" ContentType="application/vnd.ms-office.chartcolorstyle+xml"/>
  <Override PartName="/ppt/charts/colors165.xml" ContentType="application/vnd.ms-office.chartcolorstyle+xml"/>
  <Override PartName="/ppt/charts/colors166.xml" ContentType="application/vnd.ms-office.chartcolorstyle+xml"/>
  <Override PartName="/ppt/charts/colors167.xml" ContentType="application/vnd.ms-office.chartcolorstyle+xml"/>
  <Override PartName="/ppt/charts/colors168.xml" ContentType="application/vnd.ms-office.chartcolorstyle+xml"/>
  <Override PartName="/ppt/charts/colors169.xml" ContentType="application/vnd.ms-office.chartcolorstyle+xml"/>
  <Override PartName="/ppt/charts/colors17.xml" ContentType="application/vnd.ms-office.chartcolorstyle+xml"/>
  <Override PartName="/ppt/charts/colors170.xml" ContentType="application/vnd.ms-office.chartcolorstyle+xml"/>
  <Override PartName="/ppt/charts/colors171.xml" ContentType="application/vnd.ms-office.chartcolorstyle+xml"/>
  <Override PartName="/ppt/charts/colors172.xml" ContentType="application/vnd.ms-office.chartcolorstyle+xml"/>
  <Override PartName="/ppt/charts/colors173.xml" ContentType="application/vnd.ms-office.chartcolorstyle+xml"/>
  <Override PartName="/ppt/charts/colors174.xml" ContentType="application/vnd.ms-office.chartcolorstyle+xml"/>
  <Override PartName="/ppt/charts/colors175.xml" ContentType="application/vnd.ms-office.chartcolorstyle+xml"/>
  <Override PartName="/ppt/charts/colors176.xml" ContentType="application/vnd.ms-office.chartcolorstyle+xml"/>
  <Override PartName="/ppt/charts/colors177.xml" ContentType="application/vnd.ms-office.chartcolorstyle+xml"/>
  <Override PartName="/ppt/charts/colors178.xml" ContentType="application/vnd.ms-office.chartcolorstyle+xml"/>
  <Override PartName="/ppt/charts/colors179.xml" ContentType="application/vnd.ms-office.chartcolorstyle+xml"/>
  <Override PartName="/ppt/charts/colors18.xml" ContentType="application/vnd.ms-office.chartcolorstyle+xml"/>
  <Override PartName="/ppt/charts/colors180.xml" ContentType="application/vnd.ms-office.chartcolorstyle+xml"/>
  <Override PartName="/ppt/charts/colors181.xml" ContentType="application/vnd.ms-office.chartcolorstyle+xml"/>
  <Override PartName="/ppt/charts/colors182.xml" ContentType="application/vnd.ms-office.chartcolorstyle+xml"/>
  <Override PartName="/ppt/charts/colors183.xml" ContentType="application/vnd.ms-office.chartcolorstyle+xml"/>
  <Override PartName="/ppt/charts/colors184.xml" ContentType="application/vnd.ms-office.chartcolorstyle+xml"/>
  <Override PartName="/ppt/charts/colors185.xml" ContentType="application/vnd.ms-office.chartcolorstyle+xml"/>
  <Override PartName="/ppt/charts/colors186.xml" ContentType="application/vnd.ms-office.chartcolorstyle+xml"/>
  <Override PartName="/ppt/charts/colors187.xml" ContentType="application/vnd.ms-office.chartcolorstyle+xml"/>
  <Override PartName="/ppt/charts/colors188.xml" ContentType="application/vnd.ms-office.chartcolorstyle+xml"/>
  <Override PartName="/ppt/charts/colors189.xml" ContentType="application/vnd.ms-office.chartcolorstyle+xml"/>
  <Override PartName="/ppt/charts/colors19.xml" ContentType="application/vnd.ms-office.chartcolorstyle+xml"/>
  <Override PartName="/ppt/charts/colors190.xml" ContentType="application/vnd.ms-office.chartcolorstyle+xml"/>
  <Override PartName="/ppt/charts/colors191.xml" ContentType="application/vnd.ms-office.chartcolorstyle+xml"/>
  <Override PartName="/ppt/charts/colors192.xml" ContentType="application/vnd.ms-office.chartcolorstyle+xml"/>
  <Override PartName="/ppt/charts/colors193.xml" ContentType="application/vnd.ms-office.chartcolorstyle+xml"/>
  <Override PartName="/ppt/charts/colors194.xml" ContentType="application/vnd.ms-office.chartcolorstyle+xml"/>
  <Override PartName="/ppt/charts/colors195.xml" ContentType="application/vnd.ms-office.chartcolorstyle+xml"/>
  <Override PartName="/ppt/charts/colors196.xml" ContentType="application/vnd.ms-office.chartcolorstyle+xml"/>
  <Override PartName="/ppt/charts/colors197.xml" ContentType="application/vnd.ms-office.chartcolorstyle+xml"/>
  <Override PartName="/ppt/charts/colors198.xml" ContentType="application/vnd.ms-office.chartcolorstyle+xml"/>
  <Override PartName="/ppt/charts/colors199.xml" ContentType="application/vnd.ms-office.chartcolorstyle+xml"/>
  <Override PartName="/ppt/charts/colors2.xml" ContentType="application/vnd.ms-office.chartcolorstyle+xml"/>
  <Override PartName="/ppt/charts/colors20.xml" ContentType="application/vnd.ms-office.chartcolorstyle+xml"/>
  <Override PartName="/ppt/charts/colors200.xml" ContentType="application/vnd.ms-office.chartcolorstyle+xml"/>
  <Override PartName="/ppt/charts/colors201.xml" ContentType="application/vnd.ms-office.chartcolorstyle+xml"/>
  <Override PartName="/ppt/charts/colors202.xml" ContentType="application/vnd.ms-office.chartcolorstyle+xml"/>
  <Override PartName="/ppt/charts/colors203.xml" ContentType="application/vnd.ms-office.chartcolorstyle+xml"/>
  <Override PartName="/ppt/charts/colors204.xml" ContentType="application/vnd.ms-office.chartcolorstyle+xml"/>
  <Override PartName="/ppt/charts/colors205.xml" ContentType="application/vnd.ms-office.chartcolorstyle+xml"/>
  <Override PartName="/ppt/charts/colors206.xml" ContentType="application/vnd.ms-office.chartcolorstyle+xml"/>
  <Override PartName="/ppt/charts/colors207.xml" ContentType="application/vnd.ms-office.chartcolorstyle+xml"/>
  <Override PartName="/ppt/charts/colors208.xml" ContentType="application/vnd.ms-office.chartcolorstyle+xml"/>
  <Override PartName="/ppt/charts/colors209.xml" ContentType="application/vnd.ms-office.chartcolorstyle+xml"/>
  <Override PartName="/ppt/charts/colors21.xml" ContentType="application/vnd.ms-office.chartcolorstyle+xml"/>
  <Override PartName="/ppt/charts/colors210.xml" ContentType="application/vnd.ms-office.chartcolorstyle+xml"/>
  <Override PartName="/ppt/charts/colors211.xml" ContentType="application/vnd.ms-office.chartcolorstyle+xml"/>
  <Override PartName="/ppt/charts/colors212.xml" ContentType="application/vnd.ms-office.chartcolorstyle+xml"/>
  <Override PartName="/ppt/charts/colors213.xml" ContentType="application/vnd.ms-office.chartcolorstyle+xml"/>
  <Override PartName="/ppt/charts/colors214.xml" ContentType="application/vnd.ms-office.chartcolorstyle+xml"/>
  <Override PartName="/ppt/charts/colors215.xml" ContentType="application/vnd.ms-office.chartcolorstyle+xml"/>
  <Override PartName="/ppt/charts/colors216.xml" ContentType="application/vnd.ms-office.chartcolorstyle+xml"/>
  <Override PartName="/ppt/charts/colors217.xml" ContentType="application/vnd.ms-office.chartcolorstyle+xml"/>
  <Override PartName="/ppt/charts/colors218.xml" ContentType="application/vnd.ms-office.chartcolorstyle+xml"/>
  <Override PartName="/ppt/charts/colors219.xml" ContentType="application/vnd.ms-office.chartcolorstyle+xml"/>
  <Override PartName="/ppt/charts/colors22.xml" ContentType="application/vnd.ms-office.chartcolorstyle+xml"/>
  <Override PartName="/ppt/charts/colors220.xml" ContentType="application/vnd.ms-office.chartcolorstyle+xml"/>
  <Override PartName="/ppt/charts/colors221.xml" ContentType="application/vnd.ms-office.chartcolorstyle+xml"/>
  <Override PartName="/ppt/charts/colors222.xml" ContentType="application/vnd.ms-office.chartcolorstyle+xml"/>
  <Override PartName="/ppt/charts/colors223.xml" ContentType="application/vnd.ms-office.chartcolorstyle+xml"/>
  <Override PartName="/ppt/charts/colors224.xml" ContentType="application/vnd.ms-office.chartcolorstyle+xml"/>
  <Override PartName="/ppt/charts/colors225.xml" ContentType="application/vnd.ms-office.chartcolorstyle+xml"/>
  <Override PartName="/ppt/charts/colors226.xml" ContentType="application/vnd.ms-office.chartcolorstyle+xml"/>
  <Override PartName="/ppt/charts/colors227.xml" ContentType="application/vnd.ms-office.chartcolorstyle+xml"/>
  <Override PartName="/ppt/charts/colors228.xml" ContentType="application/vnd.ms-office.chartcolorstyle+xml"/>
  <Override PartName="/ppt/charts/colors229.xml" ContentType="application/vnd.ms-office.chartcolorstyle+xml"/>
  <Override PartName="/ppt/charts/colors23.xml" ContentType="application/vnd.ms-office.chartcolorstyle+xml"/>
  <Override PartName="/ppt/charts/colors230.xml" ContentType="application/vnd.ms-office.chartcolorstyle+xml"/>
  <Override PartName="/ppt/charts/colors231.xml" ContentType="application/vnd.ms-office.chartcolorstyle+xml"/>
  <Override PartName="/ppt/charts/colors232.xml" ContentType="application/vnd.ms-office.chartcolorstyle+xml"/>
  <Override PartName="/ppt/charts/colors233.xml" ContentType="application/vnd.ms-office.chartcolorstyle+xml"/>
  <Override PartName="/ppt/charts/colors234.xml" ContentType="application/vnd.ms-office.chartcolorstyle+xml"/>
  <Override PartName="/ppt/charts/colors235.xml" ContentType="application/vnd.ms-office.chartcolorstyle+xml"/>
  <Override PartName="/ppt/charts/colors236.xml" ContentType="application/vnd.ms-office.chartcolorstyle+xml"/>
  <Override PartName="/ppt/charts/colors237.xml" ContentType="application/vnd.ms-office.chartcolorstyle+xml"/>
  <Override PartName="/ppt/charts/colors238.xml" ContentType="application/vnd.ms-office.chartcolorstyle+xml"/>
  <Override PartName="/ppt/charts/colors239.xml" ContentType="application/vnd.ms-office.chartcolorstyle+xml"/>
  <Override PartName="/ppt/charts/colors24.xml" ContentType="application/vnd.ms-office.chartcolorstyle+xml"/>
  <Override PartName="/ppt/charts/colors240.xml" ContentType="application/vnd.ms-office.chartcolorstyle+xml"/>
  <Override PartName="/ppt/charts/colors241.xml" ContentType="application/vnd.ms-office.chartcolorstyle+xml"/>
  <Override PartName="/ppt/charts/colors242.xml" ContentType="application/vnd.ms-office.chartcolorstyle+xml"/>
  <Override PartName="/ppt/charts/colors243.xml" ContentType="application/vnd.ms-office.chartcolorstyle+xml"/>
  <Override PartName="/ppt/charts/colors244.xml" ContentType="application/vnd.ms-office.chartcolorstyle+xml"/>
  <Override PartName="/ppt/charts/colors245.xml" ContentType="application/vnd.ms-office.chartcolorstyle+xml"/>
  <Override PartName="/ppt/charts/colors246.xml" ContentType="application/vnd.ms-office.chartcolorstyle+xml"/>
  <Override PartName="/ppt/charts/colors247.xml" ContentType="application/vnd.ms-office.chartcolorstyle+xml"/>
  <Override PartName="/ppt/charts/colors248.xml" ContentType="application/vnd.ms-office.chartcolorstyle+xml"/>
  <Override PartName="/ppt/charts/colors249.xml" ContentType="application/vnd.ms-office.chartcolorstyle+xml"/>
  <Override PartName="/ppt/charts/colors25.xml" ContentType="application/vnd.ms-office.chartcolorstyle+xml"/>
  <Override PartName="/ppt/charts/colors250.xml" ContentType="application/vnd.ms-office.chartcolorstyle+xml"/>
  <Override PartName="/ppt/charts/colors251.xml" ContentType="application/vnd.ms-office.chartcolorstyle+xml"/>
  <Override PartName="/ppt/charts/colors252.xml" ContentType="application/vnd.ms-office.chartcolorstyle+xml"/>
  <Override PartName="/ppt/charts/colors253.xml" ContentType="application/vnd.ms-office.chartcolorstyle+xml"/>
  <Override PartName="/ppt/charts/colors254.xml" ContentType="application/vnd.ms-office.chartcolorstyle+xml"/>
  <Override PartName="/ppt/charts/colors255.xml" ContentType="application/vnd.ms-office.chartcolorstyle+xml"/>
  <Override PartName="/ppt/charts/colors256.xml" ContentType="application/vnd.ms-office.chartcolorstyle+xml"/>
  <Override PartName="/ppt/charts/colors257.xml" ContentType="application/vnd.ms-office.chartcolorstyle+xml"/>
  <Override PartName="/ppt/charts/colors258.xml" ContentType="application/vnd.ms-office.chartcolorstyle+xml"/>
  <Override PartName="/ppt/charts/colors259.xml" ContentType="application/vnd.ms-office.chartcolorstyle+xml"/>
  <Override PartName="/ppt/charts/colors26.xml" ContentType="application/vnd.ms-office.chartcolorstyle+xml"/>
  <Override PartName="/ppt/charts/colors260.xml" ContentType="application/vnd.ms-office.chartcolorstyle+xml"/>
  <Override PartName="/ppt/charts/colors261.xml" ContentType="application/vnd.ms-office.chartcolorstyle+xml"/>
  <Override PartName="/ppt/charts/colors262.xml" ContentType="application/vnd.ms-office.chartcolorstyle+xml"/>
  <Override PartName="/ppt/charts/colors263.xml" ContentType="application/vnd.ms-office.chartcolorstyle+xml"/>
  <Override PartName="/ppt/charts/colors264.xml" ContentType="application/vnd.ms-office.chartcolorstyle+xml"/>
  <Override PartName="/ppt/charts/colors265.xml" ContentType="application/vnd.ms-office.chartcolorstyle+xml"/>
  <Override PartName="/ppt/charts/colors266.xml" ContentType="application/vnd.ms-office.chartcolorstyle+xml"/>
  <Override PartName="/ppt/charts/colors267.xml" ContentType="application/vnd.ms-office.chartcolorstyle+xml"/>
  <Override PartName="/ppt/charts/colors268.xml" ContentType="application/vnd.ms-office.chartcolorstyle+xml"/>
  <Override PartName="/ppt/charts/colors269.xml" ContentType="application/vnd.ms-office.chartcolorstyle+xml"/>
  <Override PartName="/ppt/charts/colors27.xml" ContentType="application/vnd.ms-office.chartcolorstyle+xml"/>
  <Override PartName="/ppt/charts/colors270.xml" ContentType="application/vnd.ms-office.chartcolorstyle+xml"/>
  <Override PartName="/ppt/charts/colors271.xml" ContentType="application/vnd.ms-office.chartcolorstyle+xml"/>
  <Override PartName="/ppt/charts/colors272.xml" ContentType="application/vnd.ms-office.chartcolorstyle+xml"/>
  <Override PartName="/ppt/charts/colors273.xml" ContentType="application/vnd.ms-office.chartcolorstyle+xml"/>
  <Override PartName="/ppt/charts/colors274.xml" ContentType="application/vnd.ms-office.chartcolorstyle+xml"/>
  <Override PartName="/ppt/charts/colors275.xml" ContentType="application/vnd.ms-office.chartcolorstyle+xml"/>
  <Override PartName="/ppt/charts/colors276.xml" ContentType="application/vnd.ms-office.chartcolorstyle+xml"/>
  <Override PartName="/ppt/charts/colors277.xml" ContentType="application/vnd.ms-office.chartcolorstyle+xml"/>
  <Override PartName="/ppt/charts/colors278.xml" ContentType="application/vnd.ms-office.chartcolorstyle+xml"/>
  <Override PartName="/ppt/charts/colors279.xml" ContentType="application/vnd.ms-office.chartcolorstyle+xml"/>
  <Override PartName="/ppt/charts/colors28.xml" ContentType="application/vnd.ms-office.chartcolorstyle+xml"/>
  <Override PartName="/ppt/charts/colors280.xml" ContentType="application/vnd.ms-office.chartcolorstyle+xml"/>
  <Override PartName="/ppt/charts/colors281.xml" ContentType="application/vnd.ms-office.chartcolorstyle+xml"/>
  <Override PartName="/ppt/charts/colors282.xml" ContentType="application/vnd.ms-office.chartcolorstyle+xml"/>
  <Override PartName="/ppt/charts/colors283.xml" ContentType="application/vnd.ms-office.chartcolorstyle+xml"/>
  <Override PartName="/ppt/charts/colors284.xml" ContentType="application/vnd.ms-office.chartcolorstyle+xml"/>
  <Override PartName="/ppt/charts/colors285.xml" ContentType="application/vnd.ms-office.chartcolorstyle+xml"/>
  <Override PartName="/ppt/charts/colors286.xml" ContentType="application/vnd.ms-office.chartcolorstyle+xml"/>
  <Override PartName="/ppt/charts/colors287.xml" ContentType="application/vnd.ms-office.chartcolorstyle+xml"/>
  <Override PartName="/ppt/charts/colors288.xml" ContentType="application/vnd.ms-office.chartcolorstyle+xml"/>
  <Override PartName="/ppt/charts/colors289.xml" ContentType="application/vnd.ms-office.chartcolorstyle+xml"/>
  <Override PartName="/ppt/charts/colors29.xml" ContentType="application/vnd.ms-office.chartcolorstyle+xml"/>
  <Override PartName="/ppt/charts/colors290.xml" ContentType="application/vnd.ms-office.chartcolorstyle+xml"/>
  <Override PartName="/ppt/charts/colors291.xml" ContentType="application/vnd.ms-office.chartcolorstyle+xml"/>
  <Override PartName="/ppt/charts/colors292.xml" ContentType="application/vnd.ms-office.chartcolorstyle+xml"/>
  <Override PartName="/ppt/charts/colors293.xml" ContentType="application/vnd.ms-office.chartcolorstyle+xml"/>
  <Override PartName="/ppt/charts/colors294.xml" ContentType="application/vnd.ms-office.chartcolorstyle+xml"/>
  <Override PartName="/ppt/charts/colors295.xml" ContentType="application/vnd.ms-office.chartcolorstyle+xml"/>
  <Override PartName="/ppt/charts/colors296.xml" ContentType="application/vnd.ms-office.chartcolorstyle+xml"/>
  <Override PartName="/ppt/charts/colors297.xml" ContentType="application/vnd.ms-office.chartcolorstyle+xml"/>
  <Override PartName="/ppt/charts/colors298.xml" ContentType="application/vnd.ms-office.chartcolorstyle+xml"/>
  <Override PartName="/ppt/charts/colors299.xml" ContentType="application/vnd.ms-office.chartcolorstyle+xml"/>
  <Override PartName="/ppt/charts/colors3.xml" ContentType="application/vnd.ms-office.chartcolorstyle+xml"/>
  <Override PartName="/ppt/charts/colors30.xml" ContentType="application/vnd.ms-office.chartcolorstyle+xml"/>
  <Override PartName="/ppt/charts/colors300.xml" ContentType="application/vnd.ms-office.chartcolorstyle+xml"/>
  <Override PartName="/ppt/charts/colors301.xml" ContentType="application/vnd.ms-office.chartcolorstyle+xml"/>
  <Override PartName="/ppt/charts/colors302.xml" ContentType="application/vnd.ms-office.chartcolorstyle+xml"/>
  <Override PartName="/ppt/charts/colors303.xml" ContentType="application/vnd.ms-office.chartcolorstyle+xml"/>
  <Override PartName="/ppt/charts/colors304.xml" ContentType="application/vnd.ms-office.chartcolorstyle+xml"/>
  <Override PartName="/ppt/charts/colors305.xml" ContentType="application/vnd.ms-office.chartcolorstyle+xml"/>
  <Override PartName="/ppt/charts/colors306.xml" ContentType="application/vnd.ms-office.chartcolorstyle+xml"/>
  <Override PartName="/ppt/charts/colors307.xml" ContentType="application/vnd.ms-office.chartcolorstyle+xml"/>
  <Override PartName="/ppt/charts/colors308.xml" ContentType="application/vnd.ms-office.chartcolorstyle+xml"/>
  <Override PartName="/ppt/charts/colors309.xml" ContentType="application/vnd.ms-office.chartcolorstyle+xml"/>
  <Override PartName="/ppt/charts/colors31.xml" ContentType="application/vnd.ms-office.chartcolorstyle+xml"/>
  <Override PartName="/ppt/charts/colors310.xml" ContentType="application/vnd.ms-office.chartcolorstyle+xml"/>
  <Override PartName="/ppt/charts/colors311.xml" ContentType="application/vnd.ms-office.chartcolorstyle+xml"/>
  <Override PartName="/ppt/charts/colors312.xml" ContentType="application/vnd.ms-office.chartcolorstyle+xml"/>
  <Override PartName="/ppt/charts/colors313.xml" ContentType="application/vnd.ms-office.chartcolorstyle+xml"/>
  <Override PartName="/ppt/charts/colors314.xml" ContentType="application/vnd.ms-office.chartcolorstyle+xml"/>
  <Override PartName="/ppt/charts/colors315.xml" ContentType="application/vnd.ms-office.chartcolorstyle+xml"/>
  <Override PartName="/ppt/charts/colors316.xml" ContentType="application/vnd.ms-office.chartcolorstyle+xml"/>
  <Override PartName="/ppt/charts/colors317.xml" ContentType="application/vnd.ms-office.chartcolorstyle+xml"/>
  <Override PartName="/ppt/charts/colors318.xml" ContentType="application/vnd.ms-office.chartcolorstyle+xml"/>
  <Override PartName="/ppt/charts/colors319.xml" ContentType="application/vnd.ms-office.chartcolorstyle+xml"/>
  <Override PartName="/ppt/charts/colors32.xml" ContentType="application/vnd.ms-office.chartcolorstyle+xml"/>
  <Override PartName="/ppt/charts/colors320.xml" ContentType="application/vnd.ms-office.chartcolorstyle+xml"/>
  <Override PartName="/ppt/charts/colors321.xml" ContentType="application/vnd.ms-office.chartcolorstyle+xml"/>
  <Override PartName="/ppt/charts/colors322.xml" ContentType="application/vnd.ms-office.chartcolorstyle+xml"/>
  <Override PartName="/ppt/charts/colors323.xml" ContentType="application/vnd.ms-office.chartcolorstyle+xml"/>
  <Override PartName="/ppt/charts/colors324.xml" ContentType="application/vnd.ms-office.chartcolorstyle+xml"/>
  <Override PartName="/ppt/charts/colors325.xml" ContentType="application/vnd.ms-office.chartcolorstyle+xml"/>
  <Override PartName="/ppt/charts/colors326.xml" ContentType="application/vnd.ms-office.chartcolorstyle+xml"/>
  <Override PartName="/ppt/charts/colors327.xml" ContentType="application/vnd.ms-office.chartcolorstyle+xml"/>
  <Override PartName="/ppt/charts/colors328.xml" ContentType="application/vnd.ms-office.chartcolorstyle+xml"/>
  <Override PartName="/ppt/charts/colors329.xml" ContentType="application/vnd.ms-office.chartcolorstyle+xml"/>
  <Override PartName="/ppt/charts/colors33.xml" ContentType="application/vnd.ms-office.chartcolorstyle+xml"/>
  <Override PartName="/ppt/charts/colors330.xml" ContentType="application/vnd.ms-office.chartcolorstyle+xml"/>
  <Override PartName="/ppt/charts/colors331.xml" ContentType="application/vnd.ms-office.chartcolorstyle+xml"/>
  <Override PartName="/ppt/charts/colors332.xml" ContentType="application/vnd.ms-office.chartcolorstyle+xml"/>
  <Override PartName="/ppt/charts/colors333.xml" ContentType="application/vnd.ms-office.chartcolorstyle+xml"/>
  <Override PartName="/ppt/charts/colors334.xml" ContentType="application/vnd.ms-office.chartcolorstyle+xml"/>
  <Override PartName="/ppt/charts/colors335.xml" ContentType="application/vnd.ms-office.chartcolorstyle+xml"/>
  <Override PartName="/ppt/charts/colors336.xml" ContentType="application/vnd.ms-office.chartcolorstyle+xml"/>
  <Override PartName="/ppt/charts/colors337.xml" ContentType="application/vnd.ms-office.chartcolorstyle+xml"/>
  <Override PartName="/ppt/charts/colors338.xml" ContentType="application/vnd.ms-office.chartcolorstyle+xml"/>
  <Override PartName="/ppt/charts/colors339.xml" ContentType="application/vnd.ms-office.chartcolorstyle+xml"/>
  <Override PartName="/ppt/charts/colors34.xml" ContentType="application/vnd.ms-office.chartcolorstyle+xml"/>
  <Override PartName="/ppt/charts/colors340.xml" ContentType="application/vnd.ms-office.chartcolorstyle+xml"/>
  <Override PartName="/ppt/charts/colors341.xml" ContentType="application/vnd.ms-office.chartcolorstyle+xml"/>
  <Override PartName="/ppt/charts/colors342.xml" ContentType="application/vnd.ms-office.chartcolorstyle+xml"/>
  <Override PartName="/ppt/charts/colors343.xml" ContentType="application/vnd.ms-office.chartcolorstyle+xml"/>
  <Override PartName="/ppt/charts/colors344.xml" ContentType="application/vnd.ms-office.chartcolorstyle+xml"/>
  <Override PartName="/ppt/charts/colors345.xml" ContentType="application/vnd.ms-office.chartcolorstyle+xml"/>
  <Override PartName="/ppt/charts/colors346.xml" ContentType="application/vnd.ms-office.chartcolorstyle+xml"/>
  <Override PartName="/ppt/charts/colors347.xml" ContentType="application/vnd.ms-office.chartcolorstyle+xml"/>
  <Override PartName="/ppt/charts/colors348.xml" ContentType="application/vnd.ms-office.chartcolorstyle+xml"/>
  <Override PartName="/ppt/charts/colors349.xml" ContentType="application/vnd.ms-office.chartcolorstyle+xml"/>
  <Override PartName="/ppt/charts/colors35.xml" ContentType="application/vnd.ms-office.chartcolorstyle+xml"/>
  <Override PartName="/ppt/charts/colors350.xml" ContentType="application/vnd.ms-office.chartcolorstyle+xml"/>
  <Override PartName="/ppt/charts/colors36.xml" ContentType="application/vnd.ms-office.chartcolorstyle+xml"/>
  <Override PartName="/ppt/charts/colors37.xml" ContentType="application/vnd.ms-office.chartcolorstyle+xml"/>
  <Override PartName="/ppt/charts/colors38.xml" ContentType="application/vnd.ms-office.chartcolorstyle+xml"/>
  <Override PartName="/ppt/charts/colors39.xml" ContentType="application/vnd.ms-office.chartcolorstyle+xml"/>
  <Override PartName="/ppt/charts/colors4.xml" ContentType="application/vnd.ms-office.chartcolorstyle+xml"/>
  <Override PartName="/ppt/charts/colors40.xml" ContentType="application/vnd.ms-office.chartcolorstyle+xml"/>
  <Override PartName="/ppt/charts/colors41.xml" ContentType="application/vnd.ms-office.chartcolorstyle+xml"/>
  <Override PartName="/ppt/charts/colors42.xml" ContentType="application/vnd.ms-office.chartcolorstyle+xml"/>
  <Override PartName="/ppt/charts/colors43.xml" ContentType="application/vnd.ms-office.chartcolorstyle+xml"/>
  <Override PartName="/ppt/charts/colors44.xml" ContentType="application/vnd.ms-office.chartcolorstyle+xml"/>
  <Override PartName="/ppt/charts/colors45.xml" ContentType="application/vnd.ms-office.chartcolorstyle+xml"/>
  <Override PartName="/ppt/charts/colors46.xml" ContentType="application/vnd.ms-office.chartcolorstyle+xml"/>
  <Override PartName="/ppt/charts/colors47.xml" ContentType="application/vnd.ms-office.chartcolorstyle+xml"/>
  <Override PartName="/ppt/charts/colors48.xml" ContentType="application/vnd.ms-office.chartcolorstyle+xml"/>
  <Override PartName="/ppt/charts/colors49.xml" ContentType="application/vnd.ms-office.chartcolorstyle+xml"/>
  <Override PartName="/ppt/charts/colors5.xml" ContentType="application/vnd.ms-office.chartcolorstyle+xml"/>
  <Override PartName="/ppt/charts/colors50.xml" ContentType="application/vnd.ms-office.chartcolorstyle+xml"/>
  <Override PartName="/ppt/charts/colors51.xml" ContentType="application/vnd.ms-office.chartcolorstyle+xml"/>
  <Override PartName="/ppt/charts/colors52.xml" ContentType="application/vnd.ms-office.chartcolorstyle+xml"/>
  <Override PartName="/ppt/charts/colors53.xml" ContentType="application/vnd.ms-office.chartcolorstyle+xml"/>
  <Override PartName="/ppt/charts/colors54.xml" ContentType="application/vnd.ms-office.chartcolorstyle+xml"/>
  <Override PartName="/ppt/charts/colors55.xml" ContentType="application/vnd.ms-office.chartcolorstyle+xml"/>
  <Override PartName="/ppt/charts/colors56.xml" ContentType="application/vnd.ms-office.chartcolorstyle+xml"/>
  <Override PartName="/ppt/charts/colors57.xml" ContentType="application/vnd.ms-office.chartcolorstyle+xml"/>
  <Override PartName="/ppt/charts/colors58.xml" ContentType="application/vnd.ms-office.chartcolorstyle+xml"/>
  <Override PartName="/ppt/charts/colors59.xml" ContentType="application/vnd.ms-office.chartcolorstyle+xml"/>
  <Override PartName="/ppt/charts/colors6.xml" ContentType="application/vnd.ms-office.chartcolorstyle+xml"/>
  <Override PartName="/ppt/charts/colors60.xml" ContentType="application/vnd.ms-office.chartcolorstyle+xml"/>
  <Override PartName="/ppt/charts/colors61.xml" ContentType="application/vnd.ms-office.chartcolorstyle+xml"/>
  <Override PartName="/ppt/charts/colors62.xml" ContentType="application/vnd.ms-office.chartcolorstyle+xml"/>
  <Override PartName="/ppt/charts/colors63.xml" ContentType="application/vnd.ms-office.chartcolorstyle+xml"/>
  <Override PartName="/ppt/charts/colors64.xml" ContentType="application/vnd.ms-office.chartcolorstyle+xml"/>
  <Override PartName="/ppt/charts/colors65.xml" ContentType="application/vnd.ms-office.chartcolorstyle+xml"/>
  <Override PartName="/ppt/charts/colors66.xml" ContentType="application/vnd.ms-office.chartcolorstyle+xml"/>
  <Override PartName="/ppt/charts/colors67.xml" ContentType="application/vnd.ms-office.chartcolorstyle+xml"/>
  <Override PartName="/ppt/charts/colors68.xml" ContentType="application/vnd.ms-office.chartcolorstyle+xml"/>
  <Override PartName="/ppt/charts/colors69.xml" ContentType="application/vnd.ms-office.chartcolorstyle+xml"/>
  <Override PartName="/ppt/charts/colors7.xml" ContentType="application/vnd.ms-office.chartcolorstyle+xml"/>
  <Override PartName="/ppt/charts/colors70.xml" ContentType="application/vnd.ms-office.chartcolorstyle+xml"/>
  <Override PartName="/ppt/charts/colors71.xml" ContentType="application/vnd.ms-office.chartcolorstyle+xml"/>
  <Override PartName="/ppt/charts/colors72.xml" ContentType="application/vnd.ms-office.chartcolorstyle+xml"/>
  <Override PartName="/ppt/charts/colors73.xml" ContentType="application/vnd.ms-office.chartcolorstyle+xml"/>
  <Override PartName="/ppt/charts/colors74.xml" ContentType="application/vnd.ms-office.chartcolorstyle+xml"/>
  <Override PartName="/ppt/charts/colors75.xml" ContentType="application/vnd.ms-office.chartcolorstyle+xml"/>
  <Override PartName="/ppt/charts/colors76.xml" ContentType="application/vnd.ms-office.chartcolorstyle+xml"/>
  <Override PartName="/ppt/charts/colors77.xml" ContentType="application/vnd.ms-office.chartcolorstyle+xml"/>
  <Override PartName="/ppt/charts/colors78.xml" ContentType="application/vnd.ms-office.chartcolorstyle+xml"/>
  <Override PartName="/ppt/charts/colors79.xml" ContentType="application/vnd.ms-office.chartcolorstyle+xml"/>
  <Override PartName="/ppt/charts/colors8.xml" ContentType="application/vnd.ms-office.chartcolorstyle+xml"/>
  <Override PartName="/ppt/charts/colors80.xml" ContentType="application/vnd.ms-office.chartcolorstyle+xml"/>
  <Override PartName="/ppt/charts/colors81.xml" ContentType="application/vnd.ms-office.chartcolorstyle+xml"/>
  <Override PartName="/ppt/charts/colors82.xml" ContentType="application/vnd.ms-office.chartcolorstyle+xml"/>
  <Override PartName="/ppt/charts/colors83.xml" ContentType="application/vnd.ms-office.chartcolorstyle+xml"/>
  <Override PartName="/ppt/charts/colors84.xml" ContentType="application/vnd.ms-office.chartcolorstyle+xml"/>
  <Override PartName="/ppt/charts/colors85.xml" ContentType="application/vnd.ms-office.chartcolorstyle+xml"/>
  <Override PartName="/ppt/charts/colors86.xml" ContentType="application/vnd.ms-office.chartcolorstyle+xml"/>
  <Override PartName="/ppt/charts/colors87.xml" ContentType="application/vnd.ms-office.chartcolorstyle+xml"/>
  <Override PartName="/ppt/charts/colors88.xml" ContentType="application/vnd.ms-office.chartcolorstyle+xml"/>
  <Override PartName="/ppt/charts/colors89.xml" ContentType="application/vnd.ms-office.chartcolorstyle+xml"/>
  <Override PartName="/ppt/charts/colors9.xml" ContentType="application/vnd.ms-office.chartcolorstyle+xml"/>
  <Override PartName="/ppt/charts/colors90.xml" ContentType="application/vnd.ms-office.chartcolorstyle+xml"/>
  <Override PartName="/ppt/charts/colors91.xml" ContentType="application/vnd.ms-office.chartcolorstyle+xml"/>
  <Override PartName="/ppt/charts/colors92.xml" ContentType="application/vnd.ms-office.chartcolorstyle+xml"/>
  <Override PartName="/ppt/charts/colors93.xml" ContentType="application/vnd.ms-office.chartcolorstyle+xml"/>
  <Override PartName="/ppt/charts/colors94.xml" ContentType="application/vnd.ms-office.chartcolorstyle+xml"/>
  <Override PartName="/ppt/charts/colors95.xml" ContentType="application/vnd.ms-office.chartcolorstyle+xml"/>
  <Override PartName="/ppt/charts/colors96.xml" ContentType="application/vnd.ms-office.chartcolorstyle+xml"/>
  <Override PartName="/ppt/charts/colors97.xml" ContentType="application/vnd.ms-office.chartcolorstyle+xml"/>
  <Override PartName="/ppt/charts/colors98.xml" ContentType="application/vnd.ms-office.chartcolorstyle+xml"/>
  <Override PartName="/ppt/charts/colors99.xml" ContentType="application/vnd.ms-office.chartcolorstyle+xml"/>
  <Override PartName="/ppt/charts/style1.xml" ContentType="application/vnd.ms-office.chartstyle+xml"/>
  <Override PartName="/ppt/charts/style10.xml" ContentType="application/vnd.ms-office.chartstyle+xml"/>
  <Override PartName="/ppt/charts/style100.xml" ContentType="application/vnd.ms-office.chartstyle+xml"/>
  <Override PartName="/ppt/charts/style101.xml" ContentType="application/vnd.ms-office.chartstyle+xml"/>
  <Override PartName="/ppt/charts/style102.xml" ContentType="application/vnd.ms-office.chartstyle+xml"/>
  <Override PartName="/ppt/charts/style103.xml" ContentType="application/vnd.ms-office.chartstyle+xml"/>
  <Override PartName="/ppt/charts/style104.xml" ContentType="application/vnd.ms-office.chartstyle+xml"/>
  <Override PartName="/ppt/charts/style105.xml" ContentType="application/vnd.ms-office.chartstyle+xml"/>
  <Override PartName="/ppt/charts/style106.xml" ContentType="application/vnd.ms-office.chartstyle+xml"/>
  <Override PartName="/ppt/charts/style107.xml" ContentType="application/vnd.ms-office.chartstyle+xml"/>
  <Override PartName="/ppt/charts/style108.xml" ContentType="application/vnd.ms-office.chartstyle+xml"/>
  <Override PartName="/ppt/charts/style109.xml" ContentType="application/vnd.ms-office.chartstyle+xml"/>
  <Override PartName="/ppt/charts/style11.xml" ContentType="application/vnd.ms-office.chartstyle+xml"/>
  <Override PartName="/ppt/charts/style110.xml" ContentType="application/vnd.ms-office.chartstyle+xml"/>
  <Override PartName="/ppt/charts/style111.xml" ContentType="application/vnd.ms-office.chartstyle+xml"/>
  <Override PartName="/ppt/charts/style112.xml" ContentType="application/vnd.ms-office.chartstyle+xml"/>
  <Override PartName="/ppt/charts/style113.xml" ContentType="application/vnd.ms-office.chartstyle+xml"/>
  <Override PartName="/ppt/charts/style114.xml" ContentType="application/vnd.ms-office.chartstyle+xml"/>
  <Override PartName="/ppt/charts/style115.xml" ContentType="application/vnd.ms-office.chartstyle+xml"/>
  <Override PartName="/ppt/charts/style116.xml" ContentType="application/vnd.ms-office.chartstyle+xml"/>
  <Override PartName="/ppt/charts/style117.xml" ContentType="application/vnd.ms-office.chartstyle+xml"/>
  <Override PartName="/ppt/charts/style118.xml" ContentType="application/vnd.ms-office.chartstyle+xml"/>
  <Override PartName="/ppt/charts/style119.xml" ContentType="application/vnd.ms-office.chartstyle+xml"/>
  <Override PartName="/ppt/charts/style12.xml" ContentType="application/vnd.ms-office.chartstyle+xml"/>
  <Override PartName="/ppt/charts/style120.xml" ContentType="application/vnd.ms-office.chartstyle+xml"/>
  <Override PartName="/ppt/charts/style121.xml" ContentType="application/vnd.ms-office.chartstyle+xml"/>
  <Override PartName="/ppt/charts/style122.xml" ContentType="application/vnd.ms-office.chartstyle+xml"/>
  <Override PartName="/ppt/charts/style123.xml" ContentType="application/vnd.ms-office.chartstyle+xml"/>
  <Override PartName="/ppt/charts/style124.xml" ContentType="application/vnd.ms-office.chartstyle+xml"/>
  <Override PartName="/ppt/charts/style125.xml" ContentType="application/vnd.ms-office.chartstyle+xml"/>
  <Override PartName="/ppt/charts/style126.xml" ContentType="application/vnd.ms-office.chartstyle+xml"/>
  <Override PartName="/ppt/charts/style127.xml" ContentType="application/vnd.ms-office.chartstyle+xml"/>
  <Override PartName="/ppt/charts/style128.xml" ContentType="application/vnd.ms-office.chartstyle+xml"/>
  <Override PartName="/ppt/charts/style129.xml" ContentType="application/vnd.ms-office.chartstyle+xml"/>
  <Override PartName="/ppt/charts/style13.xml" ContentType="application/vnd.ms-office.chartstyle+xml"/>
  <Override PartName="/ppt/charts/style130.xml" ContentType="application/vnd.ms-office.chartstyle+xml"/>
  <Override PartName="/ppt/charts/style131.xml" ContentType="application/vnd.ms-office.chartstyle+xml"/>
  <Override PartName="/ppt/charts/style132.xml" ContentType="application/vnd.ms-office.chartstyle+xml"/>
  <Override PartName="/ppt/charts/style133.xml" ContentType="application/vnd.ms-office.chartstyle+xml"/>
  <Override PartName="/ppt/charts/style134.xml" ContentType="application/vnd.ms-office.chartstyle+xml"/>
  <Override PartName="/ppt/charts/style135.xml" ContentType="application/vnd.ms-office.chartstyle+xml"/>
  <Override PartName="/ppt/charts/style136.xml" ContentType="application/vnd.ms-office.chartstyle+xml"/>
  <Override PartName="/ppt/charts/style137.xml" ContentType="application/vnd.ms-office.chartstyle+xml"/>
  <Override PartName="/ppt/charts/style138.xml" ContentType="application/vnd.ms-office.chartstyle+xml"/>
  <Override PartName="/ppt/charts/style139.xml" ContentType="application/vnd.ms-office.chartstyle+xml"/>
  <Override PartName="/ppt/charts/style14.xml" ContentType="application/vnd.ms-office.chartstyle+xml"/>
  <Override PartName="/ppt/charts/style140.xml" ContentType="application/vnd.ms-office.chartstyle+xml"/>
  <Override PartName="/ppt/charts/style141.xml" ContentType="application/vnd.ms-office.chartstyle+xml"/>
  <Override PartName="/ppt/charts/style142.xml" ContentType="application/vnd.ms-office.chartstyle+xml"/>
  <Override PartName="/ppt/charts/style143.xml" ContentType="application/vnd.ms-office.chartstyle+xml"/>
  <Override PartName="/ppt/charts/style144.xml" ContentType="application/vnd.ms-office.chartstyle+xml"/>
  <Override PartName="/ppt/charts/style145.xml" ContentType="application/vnd.ms-office.chartstyle+xml"/>
  <Override PartName="/ppt/charts/style146.xml" ContentType="application/vnd.ms-office.chartstyle+xml"/>
  <Override PartName="/ppt/charts/style147.xml" ContentType="application/vnd.ms-office.chartstyle+xml"/>
  <Override PartName="/ppt/charts/style148.xml" ContentType="application/vnd.ms-office.chartstyle+xml"/>
  <Override PartName="/ppt/charts/style149.xml" ContentType="application/vnd.ms-office.chartstyle+xml"/>
  <Override PartName="/ppt/charts/style15.xml" ContentType="application/vnd.ms-office.chartstyle+xml"/>
  <Override PartName="/ppt/charts/style150.xml" ContentType="application/vnd.ms-office.chartstyle+xml"/>
  <Override PartName="/ppt/charts/style151.xml" ContentType="application/vnd.ms-office.chartstyle+xml"/>
  <Override PartName="/ppt/charts/style152.xml" ContentType="application/vnd.ms-office.chartstyle+xml"/>
  <Override PartName="/ppt/charts/style153.xml" ContentType="application/vnd.ms-office.chartstyle+xml"/>
  <Override PartName="/ppt/charts/style154.xml" ContentType="application/vnd.ms-office.chartstyle+xml"/>
  <Override PartName="/ppt/charts/style155.xml" ContentType="application/vnd.ms-office.chartstyle+xml"/>
  <Override PartName="/ppt/charts/style156.xml" ContentType="application/vnd.ms-office.chartstyle+xml"/>
  <Override PartName="/ppt/charts/style157.xml" ContentType="application/vnd.ms-office.chartstyle+xml"/>
  <Override PartName="/ppt/charts/style158.xml" ContentType="application/vnd.ms-office.chartstyle+xml"/>
  <Override PartName="/ppt/charts/style159.xml" ContentType="application/vnd.ms-office.chartstyle+xml"/>
  <Override PartName="/ppt/charts/style16.xml" ContentType="application/vnd.ms-office.chartstyle+xml"/>
  <Override PartName="/ppt/charts/style160.xml" ContentType="application/vnd.ms-office.chartstyle+xml"/>
  <Override PartName="/ppt/charts/style161.xml" ContentType="application/vnd.ms-office.chartstyle+xml"/>
  <Override PartName="/ppt/charts/style162.xml" ContentType="application/vnd.ms-office.chartstyle+xml"/>
  <Override PartName="/ppt/charts/style163.xml" ContentType="application/vnd.ms-office.chartstyle+xml"/>
  <Override PartName="/ppt/charts/style164.xml" ContentType="application/vnd.ms-office.chartstyle+xml"/>
  <Override PartName="/ppt/charts/style165.xml" ContentType="application/vnd.ms-office.chartstyle+xml"/>
  <Override PartName="/ppt/charts/style166.xml" ContentType="application/vnd.ms-office.chartstyle+xml"/>
  <Override PartName="/ppt/charts/style167.xml" ContentType="application/vnd.ms-office.chartstyle+xml"/>
  <Override PartName="/ppt/charts/style168.xml" ContentType="application/vnd.ms-office.chartstyle+xml"/>
  <Override PartName="/ppt/charts/style169.xml" ContentType="application/vnd.ms-office.chartstyle+xml"/>
  <Override PartName="/ppt/charts/style17.xml" ContentType="application/vnd.ms-office.chartstyle+xml"/>
  <Override PartName="/ppt/charts/style170.xml" ContentType="application/vnd.ms-office.chartstyle+xml"/>
  <Override PartName="/ppt/charts/style171.xml" ContentType="application/vnd.ms-office.chartstyle+xml"/>
  <Override PartName="/ppt/charts/style172.xml" ContentType="application/vnd.ms-office.chartstyle+xml"/>
  <Override PartName="/ppt/charts/style173.xml" ContentType="application/vnd.ms-office.chartstyle+xml"/>
  <Override PartName="/ppt/charts/style174.xml" ContentType="application/vnd.ms-office.chartstyle+xml"/>
  <Override PartName="/ppt/charts/style175.xml" ContentType="application/vnd.ms-office.chartstyle+xml"/>
  <Override PartName="/ppt/charts/style176.xml" ContentType="application/vnd.ms-office.chartstyle+xml"/>
  <Override PartName="/ppt/charts/style177.xml" ContentType="application/vnd.ms-office.chartstyle+xml"/>
  <Override PartName="/ppt/charts/style178.xml" ContentType="application/vnd.ms-office.chartstyle+xml"/>
  <Override PartName="/ppt/charts/style179.xml" ContentType="application/vnd.ms-office.chartstyle+xml"/>
  <Override PartName="/ppt/charts/style18.xml" ContentType="application/vnd.ms-office.chartstyle+xml"/>
  <Override PartName="/ppt/charts/style180.xml" ContentType="application/vnd.ms-office.chartstyle+xml"/>
  <Override PartName="/ppt/charts/style181.xml" ContentType="application/vnd.ms-office.chartstyle+xml"/>
  <Override PartName="/ppt/charts/style182.xml" ContentType="application/vnd.ms-office.chartstyle+xml"/>
  <Override PartName="/ppt/charts/style183.xml" ContentType="application/vnd.ms-office.chartstyle+xml"/>
  <Override PartName="/ppt/charts/style184.xml" ContentType="application/vnd.ms-office.chartstyle+xml"/>
  <Override PartName="/ppt/charts/style185.xml" ContentType="application/vnd.ms-office.chartstyle+xml"/>
  <Override PartName="/ppt/charts/style186.xml" ContentType="application/vnd.ms-office.chartstyle+xml"/>
  <Override PartName="/ppt/charts/style187.xml" ContentType="application/vnd.ms-office.chartstyle+xml"/>
  <Override PartName="/ppt/charts/style188.xml" ContentType="application/vnd.ms-office.chartstyle+xml"/>
  <Override PartName="/ppt/charts/style189.xml" ContentType="application/vnd.ms-office.chartstyle+xml"/>
  <Override PartName="/ppt/charts/style19.xml" ContentType="application/vnd.ms-office.chartstyle+xml"/>
  <Override PartName="/ppt/charts/style190.xml" ContentType="application/vnd.ms-office.chartstyle+xml"/>
  <Override PartName="/ppt/charts/style191.xml" ContentType="application/vnd.ms-office.chartstyle+xml"/>
  <Override PartName="/ppt/charts/style192.xml" ContentType="application/vnd.ms-office.chartstyle+xml"/>
  <Override PartName="/ppt/charts/style193.xml" ContentType="application/vnd.ms-office.chartstyle+xml"/>
  <Override PartName="/ppt/charts/style194.xml" ContentType="application/vnd.ms-office.chartstyle+xml"/>
  <Override PartName="/ppt/charts/style195.xml" ContentType="application/vnd.ms-office.chartstyle+xml"/>
  <Override PartName="/ppt/charts/style196.xml" ContentType="application/vnd.ms-office.chartstyle+xml"/>
  <Override PartName="/ppt/charts/style197.xml" ContentType="application/vnd.ms-office.chartstyle+xml"/>
  <Override PartName="/ppt/charts/style198.xml" ContentType="application/vnd.ms-office.chartstyle+xml"/>
  <Override PartName="/ppt/charts/style199.xml" ContentType="application/vnd.ms-office.chartstyle+xml"/>
  <Override PartName="/ppt/charts/style2.xml" ContentType="application/vnd.ms-office.chartstyle+xml"/>
  <Override PartName="/ppt/charts/style20.xml" ContentType="application/vnd.ms-office.chartstyle+xml"/>
  <Override PartName="/ppt/charts/style200.xml" ContentType="application/vnd.ms-office.chartstyle+xml"/>
  <Override PartName="/ppt/charts/style201.xml" ContentType="application/vnd.ms-office.chartstyle+xml"/>
  <Override PartName="/ppt/charts/style202.xml" ContentType="application/vnd.ms-office.chartstyle+xml"/>
  <Override PartName="/ppt/charts/style203.xml" ContentType="application/vnd.ms-office.chartstyle+xml"/>
  <Override PartName="/ppt/charts/style204.xml" ContentType="application/vnd.ms-office.chartstyle+xml"/>
  <Override PartName="/ppt/charts/style205.xml" ContentType="application/vnd.ms-office.chartstyle+xml"/>
  <Override PartName="/ppt/charts/style206.xml" ContentType="application/vnd.ms-office.chartstyle+xml"/>
  <Override PartName="/ppt/charts/style207.xml" ContentType="application/vnd.ms-office.chartstyle+xml"/>
  <Override PartName="/ppt/charts/style208.xml" ContentType="application/vnd.ms-office.chartstyle+xml"/>
  <Override PartName="/ppt/charts/style209.xml" ContentType="application/vnd.ms-office.chartstyle+xml"/>
  <Override PartName="/ppt/charts/style21.xml" ContentType="application/vnd.ms-office.chartstyle+xml"/>
  <Override PartName="/ppt/charts/style210.xml" ContentType="application/vnd.ms-office.chartstyle+xml"/>
  <Override PartName="/ppt/charts/style211.xml" ContentType="application/vnd.ms-office.chartstyle+xml"/>
  <Override PartName="/ppt/charts/style212.xml" ContentType="application/vnd.ms-office.chartstyle+xml"/>
  <Override PartName="/ppt/charts/style213.xml" ContentType="application/vnd.ms-office.chartstyle+xml"/>
  <Override PartName="/ppt/charts/style214.xml" ContentType="application/vnd.ms-office.chartstyle+xml"/>
  <Override PartName="/ppt/charts/style215.xml" ContentType="application/vnd.ms-office.chartstyle+xml"/>
  <Override PartName="/ppt/charts/style216.xml" ContentType="application/vnd.ms-office.chartstyle+xml"/>
  <Override PartName="/ppt/charts/style217.xml" ContentType="application/vnd.ms-office.chartstyle+xml"/>
  <Override PartName="/ppt/charts/style218.xml" ContentType="application/vnd.ms-office.chartstyle+xml"/>
  <Override PartName="/ppt/charts/style219.xml" ContentType="application/vnd.ms-office.chartstyle+xml"/>
  <Override PartName="/ppt/charts/style22.xml" ContentType="application/vnd.ms-office.chartstyle+xml"/>
  <Override PartName="/ppt/charts/style220.xml" ContentType="application/vnd.ms-office.chartstyle+xml"/>
  <Override PartName="/ppt/charts/style221.xml" ContentType="application/vnd.ms-office.chartstyle+xml"/>
  <Override PartName="/ppt/charts/style222.xml" ContentType="application/vnd.ms-office.chartstyle+xml"/>
  <Override PartName="/ppt/charts/style223.xml" ContentType="application/vnd.ms-office.chartstyle+xml"/>
  <Override PartName="/ppt/charts/style224.xml" ContentType="application/vnd.ms-office.chartstyle+xml"/>
  <Override PartName="/ppt/charts/style225.xml" ContentType="application/vnd.ms-office.chartstyle+xml"/>
  <Override PartName="/ppt/charts/style226.xml" ContentType="application/vnd.ms-office.chartstyle+xml"/>
  <Override PartName="/ppt/charts/style227.xml" ContentType="application/vnd.ms-office.chartstyle+xml"/>
  <Override PartName="/ppt/charts/style228.xml" ContentType="application/vnd.ms-office.chartstyle+xml"/>
  <Override PartName="/ppt/charts/style229.xml" ContentType="application/vnd.ms-office.chartstyle+xml"/>
  <Override PartName="/ppt/charts/style23.xml" ContentType="application/vnd.ms-office.chartstyle+xml"/>
  <Override PartName="/ppt/charts/style230.xml" ContentType="application/vnd.ms-office.chartstyle+xml"/>
  <Override PartName="/ppt/charts/style231.xml" ContentType="application/vnd.ms-office.chartstyle+xml"/>
  <Override PartName="/ppt/charts/style232.xml" ContentType="application/vnd.ms-office.chartstyle+xml"/>
  <Override PartName="/ppt/charts/style233.xml" ContentType="application/vnd.ms-office.chartstyle+xml"/>
  <Override PartName="/ppt/charts/style234.xml" ContentType="application/vnd.ms-office.chartstyle+xml"/>
  <Override PartName="/ppt/charts/style235.xml" ContentType="application/vnd.ms-office.chartstyle+xml"/>
  <Override PartName="/ppt/charts/style236.xml" ContentType="application/vnd.ms-office.chartstyle+xml"/>
  <Override PartName="/ppt/charts/style237.xml" ContentType="application/vnd.ms-office.chartstyle+xml"/>
  <Override PartName="/ppt/charts/style238.xml" ContentType="application/vnd.ms-office.chartstyle+xml"/>
  <Override PartName="/ppt/charts/style239.xml" ContentType="application/vnd.ms-office.chartstyle+xml"/>
  <Override PartName="/ppt/charts/style24.xml" ContentType="application/vnd.ms-office.chartstyle+xml"/>
  <Override PartName="/ppt/charts/style240.xml" ContentType="application/vnd.ms-office.chartstyle+xml"/>
  <Override PartName="/ppt/charts/style241.xml" ContentType="application/vnd.ms-office.chartstyle+xml"/>
  <Override PartName="/ppt/charts/style242.xml" ContentType="application/vnd.ms-office.chartstyle+xml"/>
  <Override PartName="/ppt/charts/style243.xml" ContentType="application/vnd.ms-office.chartstyle+xml"/>
  <Override PartName="/ppt/charts/style244.xml" ContentType="application/vnd.ms-office.chartstyle+xml"/>
  <Override PartName="/ppt/charts/style245.xml" ContentType="application/vnd.ms-office.chartstyle+xml"/>
  <Override PartName="/ppt/charts/style246.xml" ContentType="application/vnd.ms-office.chartstyle+xml"/>
  <Override PartName="/ppt/charts/style247.xml" ContentType="application/vnd.ms-office.chartstyle+xml"/>
  <Override PartName="/ppt/charts/style248.xml" ContentType="application/vnd.ms-office.chartstyle+xml"/>
  <Override PartName="/ppt/charts/style249.xml" ContentType="application/vnd.ms-office.chartstyle+xml"/>
  <Override PartName="/ppt/charts/style25.xml" ContentType="application/vnd.ms-office.chartstyle+xml"/>
  <Override PartName="/ppt/charts/style250.xml" ContentType="application/vnd.ms-office.chartstyle+xml"/>
  <Override PartName="/ppt/charts/style251.xml" ContentType="application/vnd.ms-office.chartstyle+xml"/>
  <Override PartName="/ppt/charts/style252.xml" ContentType="application/vnd.ms-office.chartstyle+xml"/>
  <Override PartName="/ppt/charts/style253.xml" ContentType="application/vnd.ms-office.chartstyle+xml"/>
  <Override PartName="/ppt/charts/style254.xml" ContentType="application/vnd.ms-office.chartstyle+xml"/>
  <Override PartName="/ppt/charts/style255.xml" ContentType="application/vnd.ms-office.chartstyle+xml"/>
  <Override PartName="/ppt/charts/style256.xml" ContentType="application/vnd.ms-office.chartstyle+xml"/>
  <Override PartName="/ppt/charts/style257.xml" ContentType="application/vnd.ms-office.chartstyle+xml"/>
  <Override PartName="/ppt/charts/style258.xml" ContentType="application/vnd.ms-office.chartstyle+xml"/>
  <Override PartName="/ppt/charts/style259.xml" ContentType="application/vnd.ms-office.chartstyle+xml"/>
  <Override PartName="/ppt/charts/style26.xml" ContentType="application/vnd.ms-office.chartstyle+xml"/>
  <Override PartName="/ppt/charts/style260.xml" ContentType="application/vnd.ms-office.chartstyle+xml"/>
  <Override PartName="/ppt/charts/style261.xml" ContentType="application/vnd.ms-office.chartstyle+xml"/>
  <Override PartName="/ppt/charts/style262.xml" ContentType="application/vnd.ms-office.chartstyle+xml"/>
  <Override PartName="/ppt/charts/style263.xml" ContentType="application/vnd.ms-office.chartstyle+xml"/>
  <Override PartName="/ppt/charts/style264.xml" ContentType="application/vnd.ms-office.chartstyle+xml"/>
  <Override PartName="/ppt/charts/style265.xml" ContentType="application/vnd.ms-office.chartstyle+xml"/>
  <Override PartName="/ppt/charts/style266.xml" ContentType="application/vnd.ms-office.chartstyle+xml"/>
  <Override PartName="/ppt/charts/style267.xml" ContentType="application/vnd.ms-office.chartstyle+xml"/>
  <Override PartName="/ppt/charts/style268.xml" ContentType="application/vnd.ms-office.chartstyle+xml"/>
  <Override PartName="/ppt/charts/style269.xml" ContentType="application/vnd.ms-office.chartstyle+xml"/>
  <Override PartName="/ppt/charts/style27.xml" ContentType="application/vnd.ms-office.chartstyle+xml"/>
  <Override PartName="/ppt/charts/style270.xml" ContentType="application/vnd.ms-office.chartstyle+xml"/>
  <Override PartName="/ppt/charts/style271.xml" ContentType="application/vnd.ms-office.chartstyle+xml"/>
  <Override PartName="/ppt/charts/style272.xml" ContentType="application/vnd.ms-office.chartstyle+xml"/>
  <Override PartName="/ppt/charts/style273.xml" ContentType="application/vnd.ms-office.chartstyle+xml"/>
  <Override PartName="/ppt/charts/style274.xml" ContentType="application/vnd.ms-office.chartstyle+xml"/>
  <Override PartName="/ppt/charts/style275.xml" ContentType="application/vnd.ms-office.chartstyle+xml"/>
  <Override PartName="/ppt/charts/style276.xml" ContentType="application/vnd.ms-office.chartstyle+xml"/>
  <Override PartName="/ppt/charts/style277.xml" ContentType="application/vnd.ms-office.chartstyle+xml"/>
  <Override PartName="/ppt/charts/style278.xml" ContentType="application/vnd.ms-office.chartstyle+xml"/>
  <Override PartName="/ppt/charts/style279.xml" ContentType="application/vnd.ms-office.chartstyle+xml"/>
  <Override PartName="/ppt/charts/style28.xml" ContentType="application/vnd.ms-office.chartstyle+xml"/>
  <Override PartName="/ppt/charts/style280.xml" ContentType="application/vnd.ms-office.chartstyle+xml"/>
  <Override PartName="/ppt/charts/style281.xml" ContentType="application/vnd.ms-office.chartstyle+xml"/>
  <Override PartName="/ppt/charts/style282.xml" ContentType="application/vnd.ms-office.chartstyle+xml"/>
  <Override PartName="/ppt/charts/style283.xml" ContentType="application/vnd.ms-office.chartstyle+xml"/>
  <Override PartName="/ppt/charts/style284.xml" ContentType="application/vnd.ms-office.chartstyle+xml"/>
  <Override PartName="/ppt/charts/style285.xml" ContentType="application/vnd.ms-office.chartstyle+xml"/>
  <Override PartName="/ppt/charts/style286.xml" ContentType="application/vnd.ms-office.chartstyle+xml"/>
  <Override PartName="/ppt/charts/style287.xml" ContentType="application/vnd.ms-office.chartstyle+xml"/>
  <Override PartName="/ppt/charts/style288.xml" ContentType="application/vnd.ms-office.chartstyle+xml"/>
  <Override PartName="/ppt/charts/style289.xml" ContentType="application/vnd.ms-office.chartstyle+xml"/>
  <Override PartName="/ppt/charts/style29.xml" ContentType="application/vnd.ms-office.chartstyle+xml"/>
  <Override PartName="/ppt/charts/style290.xml" ContentType="application/vnd.ms-office.chartstyle+xml"/>
  <Override PartName="/ppt/charts/style291.xml" ContentType="application/vnd.ms-office.chartstyle+xml"/>
  <Override PartName="/ppt/charts/style292.xml" ContentType="application/vnd.ms-office.chartstyle+xml"/>
  <Override PartName="/ppt/charts/style293.xml" ContentType="application/vnd.ms-office.chartstyle+xml"/>
  <Override PartName="/ppt/charts/style294.xml" ContentType="application/vnd.ms-office.chartstyle+xml"/>
  <Override PartName="/ppt/charts/style295.xml" ContentType="application/vnd.ms-office.chartstyle+xml"/>
  <Override PartName="/ppt/charts/style296.xml" ContentType="application/vnd.ms-office.chartstyle+xml"/>
  <Override PartName="/ppt/charts/style297.xml" ContentType="application/vnd.ms-office.chartstyle+xml"/>
  <Override PartName="/ppt/charts/style298.xml" ContentType="application/vnd.ms-office.chartstyle+xml"/>
  <Override PartName="/ppt/charts/style299.xml" ContentType="application/vnd.ms-office.chartstyle+xml"/>
  <Override PartName="/ppt/charts/style3.xml" ContentType="application/vnd.ms-office.chartstyle+xml"/>
  <Override PartName="/ppt/charts/style30.xml" ContentType="application/vnd.ms-office.chartstyle+xml"/>
  <Override PartName="/ppt/charts/style300.xml" ContentType="application/vnd.ms-office.chartstyle+xml"/>
  <Override PartName="/ppt/charts/style301.xml" ContentType="application/vnd.ms-office.chartstyle+xml"/>
  <Override PartName="/ppt/charts/style302.xml" ContentType="application/vnd.ms-office.chartstyle+xml"/>
  <Override PartName="/ppt/charts/style303.xml" ContentType="application/vnd.ms-office.chartstyle+xml"/>
  <Override PartName="/ppt/charts/style304.xml" ContentType="application/vnd.ms-office.chartstyle+xml"/>
  <Override PartName="/ppt/charts/style305.xml" ContentType="application/vnd.ms-office.chartstyle+xml"/>
  <Override PartName="/ppt/charts/style306.xml" ContentType="application/vnd.ms-office.chartstyle+xml"/>
  <Override PartName="/ppt/charts/style307.xml" ContentType="application/vnd.ms-office.chartstyle+xml"/>
  <Override PartName="/ppt/charts/style308.xml" ContentType="application/vnd.ms-office.chartstyle+xml"/>
  <Override PartName="/ppt/charts/style309.xml" ContentType="application/vnd.ms-office.chartstyle+xml"/>
  <Override PartName="/ppt/charts/style31.xml" ContentType="application/vnd.ms-office.chartstyle+xml"/>
  <Override PartName="/ppt/charts/style310.xml" ContentType="application/vnd.ms-office.chartstyle+xml"/>
  <Override PartName="/ppt/charts/style311.xml" ContentType="application/vnd.ms-office.chartstyle+xml"/>
  <Override PartName="/ppt/charts/style312.xml" ContentType="application/vnd.ms-office.chartstyle+xml"/>
  <Override PartName="/ppt/charts/style313.xml" ContentType="application/vnd.ms-office.chartstyle+xml"/>
  <Override PartName="/ppt/charts/style314.xml" ContentType="application/vnd.ms-office.chartstyle+xml"/>
  <Override PartName="/ppt/charts/style315.xml" ContentType="application/vnd.ms-office.chartstyle+xml"/>
  <Override PartName="/ppt/charts/style316.xml" ContentType="application/vnd.ms-office.chartstyle+xml"/>
  <Override PartName="/ppt/charts/style317.xml" ContentType="application/vnd.ms-office.chartstyle+xml"/>
  <Override PartName="/ppt/charts/style318.xml" ContentType="application/vnd.ms-office.chartstyle+xml"/>
  <Override PartName="/ppt/charts/style319.xml" ContentType="application/vnd.ms-office.chartstyle+xml"/>
  <Override PartName="/ppt/charts/style32.xml" ContentType="application/vnd.ms-office.chartstyle+xml"/>
  <Override PartName="/ppt/charts/style320.xml" ContentType="application/vnd.ms-office.chartstyle+xml"/>
  <Override PartName="/ppt/charts/style321.xml" ContentType="application/vnd.ms-office.chartstyle+xml"/>
  <Override PartName="/ppt/charts/style322.xml" ContentType="application/vnd.ms-office.chartstyle+xml"/>
  <Override PartName="/ppt/charts/style323.xml" ContentType="application/vnd.ms-office.chartstyle+xml"/>
  <Override PartName="/ppt/charts/style324.xml" ContentType="application/vnd.ms-office.chartstyle+xml"/>
  <Override PartName="/ppt/charts/style325.xml" ContentType="application/vnd.ms-office.chartstyle+xml"/>
  <Override PartName="/ppt/charts/style326.xml" ContentType="application/vnd.ms-office.chartstyle+xml"/>
  <Override PartName="/ppt/charts/style327.xml" ContentType="application/vnd.ms-office.chartstyle+xml"/>
  <Override PartName="/ppt/charts/style328.xml" ContentType="application/vnd.ms-office.chartstyle+xml"/>
  <Override PartName="/ppt/charts/style329.xml" ContentType="application/vnd.ms-office.chartstyle+xml"/>
  <Override PartName="/ppt/charts/style33.xml" ContentType="application/vnd.ms-office.chartstyle+xml"/>
  <Override PartName="/ppt/charts/style330.xml" ContentType="application/vnd.ms-office.chartstyle+xml"/>
  <Override PartName="/ppt/charts/style331.xml" ContentType="application/vnd.ms-office.chartstyle+xml"/>
  <Override PartName="/ppt/charts/style332.xml" ContentType="application/vnd.ms-office.chartstyle+xml"/>
  <Override PartName="/ppt/charts/style333.xml" ContentType="application/vnd.ms-office.chartstyle+xml"/>
  <Override PartName="/ppt/charts/style334.xml" ContentType="application/vnd.ms-office.chartstyle+xml"/>
  <Override PartName="/ppt/charts/style335.xml" ContentType="application/vnd.ms-office.chartstyle+xml"/>
  <Override PartName="/ppt/charts/style336.xml" ContentType="application/vnd.ms-office.chartstyle+xml"/>
  <Override PartName="/ppt/charts/style337.xml" ContentType="application/vnd.ms-office.chartstyle+xml"/>
  <Override PartName="/ppt/charts/style338.xml" ContentType="application/vnd.ms-office.chartstyle+xml"/>
  <Override PartName="/ppt/charts/style339.xml" ContentType="application/vnd.ms-office.chartstyle+xml"/>
  <Override PartName="/ppt/charts/style34.xml" ContentType="application/vnd.ms-office.chartstyle+xml"/>
  <Override PartName="/ppt/charts/style340.xml" ContentType="application/vnd.ms-office.chartstyle+xml"/>
  <Override PartName="/ppt/charts/style341.xml" ContentType="application/vnd.ms-office.chartstyle+xml"/>
  <Override PartName="/ppt/charts/style342.xml" ContentType="application/vnd.ms-office.chartstyle+xml"/>
  <Override PartName="/ppt/charts/style343.xml" ContentType="application/vnd.ms-office.chartstyle+xml"/>
  <Override PartName="/ppt/charts/style344.xml" ContentType="application/vnd.ms-office.chartstyle+xml"/>
  <Override PartName="/ppt/charts/style345.xml" ContentType="application/vnd.ms-office.chartstyle+xml"/>
  <Override PartName="/ppt/charts/style346.xml" ContentType="application/vnd.ms-office.chartstyle+xml"/>
  <Override PartName="/ppt/charts/style347.xml" ContentType="application/vnd.ms-office.chartstyle+xml"/>
  <Override PartName="/ppt/charts/style348.xml" ContentType="application/vnd.ms-office.chartstyle+xml"/>
  <Override PartName="/ppt/charts/style349.xml" ContentType="application/vnd.ms-office.chartstyle+xml"/>
  <Override PartName="/ppt/charts/style35.xml" ContentType="application/vnd.ms-office.chartstyle+xml"/>
  <Override PartName="/ppt/charts/style350.xml" ContentType="application/vnd.ms-office.chartstyle+xml"/>
  <Override PartName="/ppt/charts/style36.xml" ContentType="application/vnd.ms-office.chartstyle+xml"/>
  <Override PartName="/ppt/charts/style37.xml" ContentType="application/vnd.ms-office.chartstyle+xml"/>
  <Override PartName="/ppt/charts/style38.xml" ContentType="application/vnd.ms-office.chartstyle+xml"/>
  <Override PartName="/ppt/charts/style39.xml" ContentType="application/vnd.ms-office.chartstyle+xml"/>
  <Override PartName="/ppt/charts/style4.xml" ContentType="application/vnd.ms-office.chartstyle+xml"/>
  <Override PartName="/ppt/charts/style40.xml" ContentType="application/vnd.ms-office.chartstyle+xml"/>
  <Override PartName="/ppt/charts/style41.xml" ContentType="application/vnd.ms-office.chartstyle+xml"/>
  <Override PartName="/ppt/charts/style42.xml" ContentType="application/vnd.ms-office.chartstyle+xml"/>
  <Override PartName="/ppt/charts/style43.xml" ContentType="application/vnd.ms-office.chartstyle+xml"/>
  <Override PartName="/ppt/charts/style44.xml" ContentType="application/vnd.ms-office.chartstyle+xml"/>
  <Override PartName="/ppt/charts/style45.xml" ContentType="application/vnd.ms-office.chartstyle+xml"/>
  <Override PartName="/ppt/charts/style46.xml" ContentType="application/vnd.ms-office.chartstyle+xml"/>
  <Override PartName="/ppt/charts/style47.xml" ContentType="application/vnd.ms-office.chartstyle+xml"/>
  <Override PartName="/ppt/charts/style48.xml" ContentType="application/vnd.ms-office.chartstyle+xml"/>
  <Override PartName="/ppt/charts/style49.xml" ContentType="application/vnd.ms-office.chartstyle+xml"/>
  <Override PartName="/ppt/charts/style5.xml" ContentType="application/vnd.ms-office.chartstyle+xml"/>
  <Override PartName="/ppt/charts/style50.xml" ContentType="application/vnd.ms-office.chartstyle+xml"/>
  <Override PartName="/ppt/charts/style51.xml" ContentType="application/vnd.ms-office.chartstyle+xml"/>
  <Override PartName="/ppt/charts/style52.xml" ContentType="application/vnd.ms-office.chartstyle+xml"/>
  <Override PartName="/ppt/charts/style53.xml" ContentType="application/vnd.ms-office.chartstyle+xml"/>
  <Override PartName="/ppt/charts/style54.xml" ContentType="application/vnd.ms-office.chartstyle+xml"/>
  <Override PartName="/ppt/charts/style55.xml" ContentType="application/vnd.ms-office.chartstyle+xml"/>
  <Override PartName="/ppt/charts/style56.xml" ContentType="application/vnd.ms-office.chartstyle+xml"/>
  <Override PartName="/ppt/charts/style57.xml" ContentType="application/vnd.ms-office.chartstyle+xml"/>
  <Override PartName="/ppt/charts/style58.xml" ContentType="application/vnd.ms-office.chartstyle+xml"/>
  <Override PartName="/ppt/charts/style59.xml" ContentType="application/vnd.ms-office.chartstyle+xml"/>
  <Override PartName="/ppt/charts/style6.xml" ContentType="application/vnd.ms-office.chartstyle+xml"/>
  <Override PartName="/ppt/charts/style60.xml" ContentType="application/vnd.ms-office.chartstyle+xml"/>
  <Override PartName="/ppt/charts/style61.xml" ContentType="application/vnd.ms-office.chartstyle+xml"/>
  <Override PartName="/ppt/charts/style62.xml" ContentType="application/vnd.ms-office.chartstyle+xml"/>
  <Override PartName="/ppt/charts/style63.xml" ContentType="application/vnd.ms-office.chartstyle+xml"/>
  <Override PartName="/ppt/charts/style64.xml" ContentType="application/vnd.ms-office.chartstyle+xml"/>
  <Override PartName="/ppt/charts/style65.xml" ContentType="application/vnd.ms-office.chartstyle+xml"/>
  <Override PartName="/ppt/charts/style66.xml" ContentType="application/vnd.ms-office.chartstyle+xml"/>
  <Override PartName="/ppt/charts/style67.xml" ContentType="application/vnd.ms-office.chartstyle+xml"/>
  <Override PartName="/ppt/charts/style68.xml" ContentType="application/vnd.ms-office.chartstyle+xml"/>
  <Override PartName="/ppt/charts/style69.xml" ContentType="application/vnd.ms-office.chartstyle+xml"/>
  <Override PartName="/ppt/charts/style7.xml" ContentType="application/vnd.ms-office.chartstyle+xml"/>
  <Override PartName="/ppt/charts/style70.xml" ContentType="application/vnd.ms-office.chartstyle+xml"/>
  <Override PartName="/ppt/charts/style71.xml" ContentType="application/vnd.ms-office.chartstyle+xml"/>
  <Override PartName="/ppt/charts/style72.xml" ContentType="application/vnd.ms-office.chartstyle+xml"/>
  <Override PartName="/ppt/charts/style73.xml" ContentType="application/vnd.ms-office.chartstyle+xml"/>
  <Override PartName="/ppt/charts/style74.xml" ContentType="application/vnd.ms-office.chartstyle+xml"/>
  <Override PartName="/ppt/charts/style75.xml" ContentType="application/vnd.ms-office.chartstyle+xml"/>
  <Override PartName="/ppt/charts/style76.xml" ContentType="application/vnd.ms-office.chartstyle+xml"/>
  <Override PartName="/ppt/charts/style77.xml" ContentType="application/vnd.ms-office.chartstyle+xml"/>
  <Override PartName="/ppt/charts/style78.xml" ContentType="application/vnd.ms-office.chartstyle+xml"/>
  <Override PartName="/ppt/charts/style79.xml" ContentType="application/vnd.ms-office.chartstyle+xml"/>
  <Override PartName="/ppt/charts/style8.xml" ContentType="application/vnd.ms-office.chartstyle+xml"/>
  <Override PartName="/ppt/charts/style80.xml" ContentType="application/vnd.ms-office.chartstyle+xml"/>
  <Override PartName="/ppt/charts/style81.xml" ContentType="application/vnd.ms-office.chartstyle+xml"/>
  <Override PartName="/ppt/charts/style82.xml" ContentType="application/vnd.ms-office.chartstyle+xml"/>
  <Override PartName="/ppt/charts/style83.xml" ContentType="application/vnd.ms-office.chartstyle+xml"/>
  <Override PartName="/ppt/charts/style84.xml" ContentType="application/vnd.ms-office.chartstyle+xml"/>
  <Override PartName="/ppt/charts/style85.xml" ContentType="application/vnd.ms-office.chartstyle+xml"/>
  <Override PartName="/ppt/charts/style86.xml" ContentType="application/vnd.ms-office.chartstyle+xml"/>
  <Override PartName="/ppt/charts/style87.xml" ContentType="application/vnd.ms-office.chartstyle+xml"/>
  <Override PartName="/ppt/charts/style88.xml" ContentType="application/vnd.ms-office.chartstyle+xml"/>
  <Override PartName="/ppt/charts/style89.xml" ContentType="application/vnd.ms-office.chartstyle+xml"/>
  <Override PartName="/ppt/charts/style9.xml" ContentType="application/vnd.ms-office.chartstyle+xml"/>
  <Override PartName="/ppt/charts/style90.xml" ContentType="application/vnd.ms-office.chartstyle+xml"/>
  <Override PartName="/ppt/charts/style91.xml" ContentType="application/vnd.ms-office.chartstyle+xml"/>
  <Override PartName="/ppt/charts/style92.xml" ContentType="application/vnd.ms-office.chartstyle+xml"/>
  <Override PartName="/ppt/charts/style93.xml" ContentType="application/vnd.ms-office.chartstyle+xml"/>
  <Override PartName="/ppt/charts/style94.xml" ContentType="application/vnd.ms-office.chartstyle+xml"/>
  <Override PartName="/ppt/charts/style95.xml" ContentType="application/vnd.ms-office.chartstyle+xml"/>
  <Override PartName="/ppt/charts/style96.xml" ContentType="application/vnd.ms-office.chartstyle+xml"/>
  <Override PartName="/ppt/charts/style97.xml" ContentType="application/vnd.ms-office.chartstyle+xml"/>
  <Override PartName="/ppt/charts/style98.xml" ContentType="application/vnd.ms-office.chartstyle+xml"/>
  <Override PartName="/ppt/charts/style99.xml" ContentType="application/vnd.ms-office.chartstyle+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notesSlides/notesSlide177.xml" ContentType="application/vnd.openxmlformats-officedocument.presentationml.notesSlide+xml"/>
  <Override PartName="/ppt/notesSlides/notesSlide178.xml" ContentType="application/vnd.openxmlformats-officedocument.presentationml.notesSlide+xml"/>
  <Override PartName="/ppt/notesSlides/notesSlide179.xml" ContentType="application/vnd.openxmlformats-officedocument.presentationml.notesSlide+xml"/>
  <Override PartName="/ppt/notesSlides/notesSlide18.xml" ContentType="application/vnd.openxmlformats-officedocument.presentationml.notesSlide+xml"/>
  <Override PartName="/ppt/notesSlides/notesSlide180.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slides/slide318.xml" ContentType="application/vnd.openxmlformats-officedocument.presentationml.slide+xml"/>
  <Override PartName="/ppt/slides/slide319.xml" ContentType="application/vnd.openxmlformats-officedocument.presentationml.slide+xml"/>
  <Override PartName="/ppt/slides/slide32.xml" ContentType="application/vnd.openxmlformats-officedocument.presentationml.slide+xml"/>
  <Override PartName="/ppt/slides/slide320.xml" ContentType="application/vnd.openxmlformats-officedocument.presentationml.slide+xml"/>
  <Override PartName="/ppt/slides/slide321.xml" ContentType="application/vnd.openxmlformats-officedocument.presentationml.slide+xml"/>
  <Override PartName="/ppt/slides/slide322.xml" ContentType="application/vnd.openxmlformats-officedocument.presentationml.slide+xml"/>
  <Override PartName="/ppt/slides/slide323.xml" ContentType="application/vnd.openxmlformats-officedocument.presentationml.slide+xml"/>
  <Override PartName="/ppt/slides/slide324.xml" ContentType="application/vnd.openxmlformats-officedocument.presentationml.slide+xml"/>
  <Override PartName="/ppt/slides/slide325.xml" ContentType="application/vnd.openxmlformats-officedocument.presentationml.slide+xml"/>
  <Override PartName="/ppt/slides/slide326.xml" ContentType="application/vnd.openxmlformats-officedocument.presentationml.slide+xml"/>
  <Override PartName="/ppt/slides/slide327.xml" ContentType="application/vnd.openxmlformats-officedocument.presentationml.slide+xml"/>
  <Override PartName="/ppt/slides/slide328.xml" ContentType="application/vnd.openxmlformats-officedocument.presentationml.slide+xml"/>
  <Override PartName="/ppt/slides/slide329.xml" ContentType="application/vnd.openxmlformats-officedocument.presentationml.slide+xml"/>
  <Override PartName="/ppt/slides/slide33.xml" ContentType="application/vnd.openxmlformats-officedocument.presentationml.slide+xml"/>
  <Override PartName="/ppt/slides/slide330.xml" ContentType="application/vnd.openxmlformats-officedocument.presentationml.slide+xml"/>
  <Override PartName="/ppt/slides/slide331.xml" ContentType="application/vnd.openxmlformats-officedocument.presentationml.slide+xml"/>
  <Override PartName="/ppt/slides/slide332.xml" ContentType="application/vnd.openxmlformats-officedocument.presentationml.slide+xml"/>
  <Override PartName="/ppt/slides/slide333.xml" ContentType="application/vnd.openxmlformats-officedocument.presentationml.slide+xml"/>
  <Override PartName="/ppt/slides/slide334.xml" ContentType="application/vnd.openxmlformats-officedocument.presentationml.slide+xml"/>
  <Override PartName="/ppt/slides/slide335.xml" ContentType="application/vnd.openxmlformats-officedocument.presentationml.slide+xml"/>
  <Override PartName="/ppt/slides/slide336.xml" ContentType="application/vnd.openxmlformats-officedocument.presentationml.slide+xml"/>
  <Override PartName="/ppt/slides/slide337.xml" ContentType="application/vnd.openxmlformats-officedocument.presentationml.slide+xml"/>
  <Override PartName="/ppt/slides/slide338.xml" ContentType="application/vnd.openxmlformats-officedocument.presentationml.slide+xml"/>
  <Override PartName="/ppt/slides/slide339.xml" ContentType="application/vnd.openxmlformats-officedocument.presentationml.slide+xml"/>
  <Override PartName="/ppt/slides/slide34.xml" ContentType="application/vnd.openxmlformats-officedocument.presentationml.slide+xml"/>
  <Override PartName="/ppt/slides/slide340.xml" ContentType="application/vnd.openxmlformats-officedocument.presentationml.slide+xml"/>
  <Override PartName="/ppt/slides/slide341.xml" ContentType="application/vnd.openxmlformats-officedocument.presentationml.slide+xml"/>
  <Override PartName="/ppt/slides/slide342.xml" ContentType="application/vnd.openxmlformats-officedocument.presentationml.slide+xml"/>
  <Override PartName="/ppt/slides/slide343.xml" ContentType="application/vnd.openxmlformats-officedocument.presentationml.slide+xml"/>
  <Override PartName="/ppt/slides/slide344.xml" ContentType="application/vnd.openxmlformats-officedocument.presentationml.slide+xml"/>
  <Override PartName="/ppt/slides/slide345.xml" ContentType="application/vnd.openxmlformats-officedocument.presentationml.slide+xml"/>
  <Override PartName="/ppt/slides/slide346.xml" ContentType="application/vnd.openxmlformats-officedocument.presentationml.slide+xml"/>
  <Override PartName="/ppt/slides/slide347.xml" ContentType="application/vnd.openxmlformats-officedocument.presentationml.slide+xml"/>
  <Override PartName="/ppt/slides/slide348.xml" ContentType="application/vnd.openxmlformats-officedocument.presentationml.slide+xml"/>
  <Override PartName="/ppt/slides/slide349.xml" ContentType="application/vnd.openxmlformats-officedocument.presentationml.slide+xml"/>
  <Override PartName="/ppt/slides/slide35.xml" ContentType="application/vnd.openxmlformats-officedocument.presentationml.slide+xml"/>
  <Override PartName="/ppt/slides/slide350.xml" ContentType="application/vnd.openxmlformats-officedocument.presentationml.slide+xml"/>
  <Override PartName="/ppt/slides/slide351.xml" ContentType="application/vnd.openxmlformats-officedocument.presentationml.slide+xml"/>
  <Override PartName="/ppt/slides/slide352.xml" ContentType="application/vnd.openxmlformats-officedocument.presentationml.slide+xml"/>
  <Override PartName="/ppt/slides/slide353.xml" ContentType="application/vnd.openxmlformats-officedocument.presentationml.slide+xml"/>
  <Override PartName="/ppt/slides/slide354.xml" ContentType="application/vnd.openxmlformats-officedocument.presentationml.slide+xml"/>
  <Override PartName="/ppt/slides/slide355.xml" ContentType="application/vnd.openxmlformats-officedocument.presentationml.slide+xml"/>
  <Override PartName="/ppt/slides/slide356.xml" ContentType="application/vnd.openxmlformats-officedocument.presentationml.slide+xml"/>
  <Override PartName="/ppt/slides/slide357.xml" ContentType="application/vnd.openxmlformats-officedocument.presentationml.slide+xml"/>
  <Override PartName="/ppt/slides/slide358.xml" ContentType="application/vnd.openxmlformats-officedocument.presentationml.slide+xml"/>
  <Override PartName="/ppt/slides/slide359.xml" ContentType="application/vnd.openxmlformats-officedocument.presentationml.slide+xml"/>
  <Override PartName="/ppt/slides/slide36.xml" ContentType="application/vnd.openxmlformats-officedocument.presentationml.slide+xml"/>
  <Override PartName="/ppt/slides/slide360.xml" ContentType="application/vnd.openxmlformats-officedocument.presentationml.slide+xml"/>
  <Override PartName="/ppt/slides/slide361.xml" ContentType="application/vnd.openxmlformats-officedocument.presentationml.slide+xml"/>
  <Override PartName="/ppt/slides/slide362.xml" ContentType="application/vnd.openxmlformats-officedocument.presentationml.slide+xml"/>
  <Override PartName="/ppt/slides/slide363.xml" ContentType="application/vnd.openxmlformats-officedocument.presentationml.slide+xml"/>
  <Override PartName="/ppt/slides/slide364.xml" ContentType="application/vnd.openxmlformats-officedocument.presentationml.slide+xml"/>
  <Override PartName="/ppt/slides/slide365.xml" ContentType="application/vnd.openxmlformats-officedocument.presentationml.slide+xml"/>
  <Override PartName="/ppt/slides/slide366.xml" ContentType="application/vnd.openxmlformats-officedocument.presentationml.slide+xml"/>
  <Override PartName="/ppt/slides/slide367.xml" ContentType="application/vnd.openxmlformats-officedocument.presentationml.slide+xml"/>
  <Override PartName="/ppt/slides/slide368.xml" ContentType="application/vnd.openxmlformats-officedocument.presentationml.slide+xml"/>
  <Override PartName="/ppt/slides/slide369.xml" ContentType="application/vnd.openxmlformats-officedocument.presentationml.slide+xml"/>
  <Override PartName="/ppt/slides/slide37.xml" ContentType="application/vnd.openxmlformats-officedocument.presentationml.slide+xml"/>
  <Override PartName="/ppt/slides/slide370.xml" ContentType="application/vnd.openxmlformats-officedocument.presentationml.slide+xml"/>
  <Override PartName="/ppt/slides/slide371.xml" ContentType="application/vnd.openxmlformats-officedocument.presentationml.slide+xml"/>
  <Override PartName="/ppt/slides/slide372.xml" ContentType="application/vnd.openxmlformats-officedocument.presentationml.slide+xml"/>
  <Override PartName="/ppt/slides/slide373.xml" ContentType="application/vnd.openxmlformats-officedocument.presentationml.slide+xml"/>
  <Override PartName="/ppt/slides/slide374.xml" ContentType="application/vnd.openxmlformats-officedocument.presentationml.slide+xml"/>
  <Override PartName="/ppt/slides/slide375.xml" ContentType="application/vnd.openxmlformats-officedocument.presentationml.slide+xml"/>
  <Override PartName="/ppt/slides/slide376.xml" ContentType="application/vnd.openxmlformats-officedocument.presentationml.slide+xml"/>
  <Override PartName="/ppt/slides/slide377.xml" ContentType="application/vnd.openxmlformats-officedocument.presentationml.slide+xml"/>
  <Override PartName="/ppt/slides/slide378.xml" ContentType="application/vnd.openxmlformats-officedocument.presentationml.slide+xml"/>
  <Override PartName="/ppt/slides/slide379.xml" ContentType="application/vnd.openxmlformats-officedocument.presentationml.slide+xml"/>
  <Override PartName="/ppt/slides/slide38.xml" ContentType="application/vnd.openxmlformats-officedocument.presentationml.slide+xml"/>
  <Override PartName="/ppt/slides/slide380.xml" ContentType="application/vnd.openxmlformats-officedocument.presentationml.slide+xml"/>
  <Override PartName="/ppt/slides/slide381.xml" ContentType="application/vnd.openxmlformats-officedocument.presentationml.slide+xml"/>
  <Override PartName="/ppt/slides/slide382.xml" ContentType="application/vnd.openxmlformats-officedocument.presentationml.slide+xml"/>
  <Override PartName="/ppt/slides/slide383.xml" ContentType="application/vnd.openxmlformats-officedocument.presentationml.slide+xml"/>
  <Override PartName="/ppt/slides/slide384.xml" ContentType="application/vnd.openxmlformats-officedocument.presentationml.slide+xml"/>
  <Override PartName="/ppt/slides/slide385.xml" ContentType="application/vnd.openxmlformats-officedocument.presentationml.slide+xml"/>
  <Override PartName="/ppt/slides/slide386.xml" ContentType="application/vnd.openxmlformats-officedocument.presentationml.slide+xml"/>
  <Override PartName="/ppt/slides/slide387.xml" ContentType="application/vnd.openxmlformats-officedocument.presentationml.slide+xml"/>
  <Override PartName="/ppt/slides/slide388.xml" ContentType="application/vnd.openxmlformats-officedocument.presentationml.slide+xml"/>
  <Override PartName="/ppt/slides/slide389.xml" ContentType="application/vnd.openxmlformats-officedocument.presentationml.slide+xml"/>
  <Override PartName="/ppt/slides/slide39.xml" ContentType="application/vnd.openxmlformats-officedocument.presentationml.slide+xml"/>
  <Override PartName="/ppt/slides/slide390.xml" ContentType="application/vnd.openxmlformats-officedocument.presentationml.slide+xml"/>
  <Override PartName="/ppt/slides/slide391.xml" ContentType="application/vnd.openxmlformats-officedocument.presentationml.slide+xml"/>
  <Override PartName="/ppt/slides/slide392.xml" ContentType="application/vnd.openxmlformats-officedocument.presentationml.slide+xml"/>
  <Override PartName="/ppt/slides/slide393.xml" ContentType="application/vnd.openxmlformats-officedocument.presentationml.slide+xml"/>
  <Override PartName="/ppt/slides/slide394.xml" ContentType="application/vnd.openxmlformats-officedocument.presentationml.slide+xml"/>
  <Override PartName="/ppt/slides/slide395.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2" r:id="rId4"/>
  </p:sldMasterIdLst>
  <p:notesMasterIdLst>
    <p:notesMasterId r:id="rId400"/>
  </p:notesMasterIdLst>
  <p:sldIdLst>
    <p:sldId id="2147475166" r:id="rId5"/>
    <p:sldId id="2147475167" r:id="rId6"/>
    <p:sldId id="2147475168" r:id="rId7"/>
    <p:sldId id="2147475169" r:id="rId8"/>
    <p:sldId id="2147475170" r:id="rId9"/>
    <p:sldId id="2147475171" r:id="rId10"/>
    <p:sldId id="2147475172" r:id="rId11"/>
    <p:sldId id="2147475173" r:id="rId12"/>
    <p:sldId id="2147475174" r:id="rId13"/>
    <p:sldId id="2147475175" r:id="rId14"/>
    <p:sldId id="2147475176" r:id="rId15"/>
    <p:sldId id="2147475177" r:id="rId16"/>
    <p:sldId id="2147475178" r:id="rId17"/>
    <p:sldId id="2147475179" r:id="rId18"/>
    <p:sldId id="2147475180" r:id="rId19"/>
    <p:sldId id="2147475181" r:id="rId20"/>
    <p:sldId id="2147475182" r:id="rId21"/>
    <p:sldId id="2147475183" r:id="rId22"/>
    <p:sldId id="2147475184" r:id="rId23"/>
    <p:sldId id="2147475185" r:id="rId24"/>
    <p:sldId id="2147475186" r:id="rId25"/>
    <p:sldId id="2147475187" r:id="rId26"/>
    <p:sldId id="2147475188" r:id="rId27"/>
    <p:sldId id="2147475189" r:id="rId28"/>
    <p:sldId id="2147475190" r:id="rId29"/>
    <p:sldId id="2147475191" r:id="rId30"/>
    <p:sldId id="2147475192" r:id="rId31"/>
    <p:sldId id="2147475193" r:id="rId32"/>
    <p:sldId id="2147475194" r:id="rId33"/>
    <p:sldId id="2147475195" r:id="rId34"/>
    <p:sldId id="2147475196" r:id="rId35"/>
    <p:sldId id="2147475197" r:id="rId36"/>
    <p:sldId id="2147475198" r:id="rId37"/>
    <p:sldId id="2147475199" r:id="rId38"/>
    <p:sldId id="2147475200" r:id="rId39"/>
    <p:sldId id="2147475201" r:id="rId40"/>
    <p:sldId id="2147475202" r:id="rId41"/>
    <p:sldId id="2147475203" r:id="rId42"/>
    <p:sldId id="2147475204" r:id="rId43"/>
    <p:sldId id="2147475205" r:id="rId44"/>
    <p:sldId id="2147475206" r:id="rId45"/>
    <p:sldId id="2147475207" r:id="rId46"/>
    <p:sldId id="2147475208" r:id="rId47"/>
    <p:sldId id="2147475209" r:id="rId48"/>
    <p:sldId id="2147475210" r:id="rId49"/>
    <p:sldId id="2147475211" r:id="rId50"/>
    <p:sldId id="2147475212" r:id="rId51"/>
    <p:sldId id="2147475213" r:id="rId52"/>
    <p:sldId id="2147475214" r:id="rId53"/>
    <p:sldId id="2147475215" r:id="rId54"/>
    <p:sldId id="2147475216" r:id="rId55"/>
    <p:sldId id="2147475217" r:id="rId56"/>
    <p:sldId id="2147475218" r:id="rId57"/>
    <p:sldId id="2147475219" r:id="rId58"/>
    <p:sldId id="2147475220" r:id="rId59"/>
    <p:sldId id="2147475221" r:id="rId60"/>
    <p:sldId id="2147475222" r:id="rId61"/>
    <p:sldId id="2147475223" r:id="rId62"/>
    <p:sldId id="2147475224" r:id="rId63"/>
    <p:sldId id="2147475225" r:id="rId64"/>
    <p:sldId id="2147475226" r:id="rId65"/>
    <p:sldId id="2147475227" r:id="rId66"/>
    <p:sldId id="2147475228" r:id="rId67"/>
    <p:sldId id="2147475229" r:id="rId68"/>
    <p:sldId id="2147475230" r:id="rId69"/>
    <p:sldId id="2147475231" r:id="rId70"/>
    <p:sldId id="2147475232" r:id="rId71"/>
    <p:sldId id="2147475233" r:id="rId72"/>
    <p:sldId id="2147475234" r:id="rId73"/>
    <p:sldId id="2147475235" r:id="rId74"/>
    <p:sldId id="2147475236" r:id="rId75"/>
    <p:sldId id="2147475237" r:id="rId76"/>
    <p:sldId id="2147475238" r:id="rId77"/>
    <p:sldId id="2147475239" r:id="rId78"/>
    <p:sldId id="2147475240" r:id="rId79"/>
    <p:sldId id="2147475241" r:id="rId80"/>
    <p:sldId id="2147475242" r:id="rId81"/>
    <p:sldId id="2147475243" r:id="rId82"/>
    <p:sldId id="2147475244" r:id="rId83"/>
    <p:sldId id="2147475245" r:id="rId84"/>
    <p:sldId id="2147475246" r:id="rId85"/>
    <p:sldId id="2147475247" r:id="rId86"/>
    <p:sldId id="2147475248" r:id="rId87"/>
    <p:sldId id="2147475249" r:id="rId88"/>
    <p:sldId id="2147475250" r:id="rId89"/>
    <p:sldId id="2147475251" r:id="rId90"/>
    <p:sldId id="2147475252" r:id="rId91"/>
    <p:sldId id="2147475253" r:id="rId92"/>
    <p:sldId id="2147475254" r:id="rId93"/>
    <p:sldId id="2147475255" r:id="rId94"/>
    <p:sldId id="2147475256" r:id="rId95"/>
    <p:sldId id="2147475257" r:id="rId96"/>
    <p:sldId id="2147475258" r:id="rId97"/>
    <p:sldId id="2147475259" r:id="rId98"/>
    <p:sldId id="2147475260" r:id="rId99"/>
    <p:sldId id="2147475261" r:id="rId100"/>
    <p:sldId id="2147475262" r:id="rId101"/>
    <p:sldId id="2147475263" r:id="rId102"/>
    <p:sldId id="2147475264" r:id="rId103"/>
    <p:sldId id="2147475265" r:id="rId104"/>
    <p:sldId id="2147475266" r:id="rId105"/>
    <p:sldId id="2147475267" r:id="rId106"/>
    <p:sldId id="2147475268" r:id="rId107"/>
    <p:sldId id="2147475269" r:id="rId108"/>
    <p:sldId id="2147475270" r:id="rId109"/>
    <p:sldId id="2147475271" r:id="rId110"/>
    <p:sldId id="2147475272" r:id="rId111"/>
    <p:sldId id="2147475273" r:id="rId112"/>
    <p:sldId id="2147475274" r:id="rId113"/>
    <p:sldId id="2147475275" r:id="rId114"/>
    <p:sldId id="2147475276" r:id="rId115"/>
    <p:sldId id="2147475277" r:id="rId116"/>
    <p:sldId id="2147475278" r:id="rId117"/>
    <p:sldId id="2147475279" r:id="rId118"/>
    <p:sldId id="2147475280" r:id="rId119"/>
    <p:sldId id="2147475281" r:id="rId120"/>
    <p:sldId id="2147475282" r:id="rId121"/>
    <p:sldId id="2147475283" r:id="rId122"/>
    <p:sldId id="2147475284" r:id="rId123"/>
    <p:sldId id="2147475285" r:id="rId124"/>
    <p:sldId id="2147475286" r:id="rId125"/>
    <p:sldId id="2147475287" r:id="rId126"/>
    <p:sldId id="2147475288" r:id="rId127"/>
    <p:sldId id="2147475289" r:id="rId128"/>
    <p:sldId id="2147475290" r:id="rId129"/>
    <p:sldId id="2147475291" r:id="rId130"/>
    <p:sldId id="2147475292" r:id="rId131"/>
    <p:sldId id="2147475293" r:id="rId132"/>
    <p:sldId id="2147475294" r:id="rId133"/>
    <p:sldId id="2147475295" r:id="rId134"/>
    <p:sldId id="2147475296" r:id="rId135"/>
    <p:sldId id="2147475297" r:id="rId136"/>
    <p:sldId id="2147475298" r:id="rId137"/>
    <p:sldId id="2147475299" r:id="rId138"/>
    <p:sldId id="2147475300" r:id="rId139"/>
    <p:sldId id="2147475301" r:id="rId140"/>
    <p:sldId id="2147475302" r:id="rId141"/>
    <p:sldId id="2147475303" r:id="rId142"/>
    <p:sldId id="2147475304" r:id="rId143"/>
    <p:sldId id="2147475305" r:id="rId144"/>
    <p:sldId id="2147475306" r:id="rId145"/>
    <p:sldId id="2147475307" r:id="rId146"/>
    <p:sldId id="2147475308" r:id="rId147"/>
    <p:sldId id="2147475309" r:id="rId148"/>
    <p:sldId id="2147475310" r:id="rId149"/>
    <p:sldId id="2147475311" r:id="rId150"/>
    <p:sldId id="2147475312" r:id="rId151"/>
    <p:sldId id="2147475313" r:id="rId152"/>
    <p:sldId id="2147475314" r:id="rId153"/>
    <p:sldId id="2147475315" r:id="rId154"/>
    <p:sldId id="2147475316" r:id="rId155"/>
    <p:sldId id="2147475317" r:id="rId156"/>
    <p:sldId id="2147475318" r:id="rId157"/>
    <p:sldId id="2147475319" r:id="rId158"/>
    <p:sldId id="2147475320" r:id="rId159"/>
    <p:sldId id="2147475321" r:id="rId160"/>
    <p:sldId id="2147475322" r:id="rId161"/>
    <p:sldId id="2147475323" r:id="rId162"/>
    <p:sldId id="2147475324" r:id="rId163"/>
    <p:sldId id="2147475325" r:id="rId164"/>
    <p:sldId id="2147475326" r:id="rId165"/>
    <p:sldId id="2147475327" r:id="rId166"/>
    <p:sldId id="2147475328" r:id="rId167"/>
    <p:sldId id="2147475329" r:id="rId168"/>
    <p:sldId id="2147475330" r:id="rId169"/>
    <p:sldId id="2147475331" r:id="rId170"/>
    <p:sldId id="2147475332" r:id="rId171"/>
    <p:sldId id="2147475333" r:id="rId172"/>
    <p:sldId id="2147475334" r:id="rId173"/>
    <p:sldId id="2147475335" r:id="rId174"/>
    <p:sldId id="2147475336" r:id="rId175"/>
    <p:sldId id="2147475337" r:id="rId176"/>
    <p:sldId id="2147475338" r:id="rId177"/>
    <p:sldId id="2147475339" r:id="rId178"/>
    <p:sldId id="2147475340" r:id="rId179"/>
    <p:sldId id="2147475341" r:id="rId180"/>
    <p:sldId id="2147475342" r:id="rId181"/>
    <p:sldId id="2147475343" r:id="rId182"/>
    <p:sldId id="2147475344" r:id="rId183"/>
    <p:sldId id="2147475345" r:id="rId184"/>
    <p:sldId id="2147475346" r:id="rId185"/>
    <p:sldId id="2147475347" r:id="rId186"/>
    <p:sldId id="2147475348" r:id="rId187"/>
    <p:sldId id="2147475349" r:id="rId188"/>
    <p:sldId id="2147475350" r:id="rId189"/>
    <p:sldId id="2147475351" r:id="rId190"/>
    <p:sldId id="2147475352" r:id="rId191"/>
    <p:sldId id="2147475353" r:id="rId192"/>
    <p:sldId id="2147475354" r:id="rId193"/>
    <p:sldId id="2147475355" r:id="rId194"/>
    <p:sldId id="2147475356" r:id="rId195"/>
    <p:sldId id="2147475357" r:id="rId196"/>
    <p:sldId id="2147475358" r:id="rId197"/>
    <p:sldId id="2147475359" r:id="rId198"/>
    <p:sldId id="2147475360" r:id="rId199"/>
    <p:sldId id="2147475361" r:id="rId200"/>
    <p:sldId id="2147475362" r:id="rId201"/>
    <p:sldId id="2147475363" r:id="rId202"/>
    <p:sldId id="2147475364" r:id="rId203"/>
    <p:sldId id="2147475365" r:id="rId204"/>
    <p:sldId id="2147475366" r:id="rId205"/>
    <p:sldId id="2147475367" r:id="rId206"/>
    <p:sldId id="2147475368" r:id="rId207"/>
    <p:sldId id="2147475369" r:id="rId208"/>
    <p:sldId id="2147475370" r:id="rId209"/>
    <p:sldId id="2147475371" r:id="rId210"/>
    <p:sldId id="2147475372" r:id="rId211"/>
    <p:sldId id="2147475373" r:id="rId212"/>
    <p:sldId id="2147475374" r:id="rId213"/>
    <p:sldId id="2147475375" r:id="rId214"/>
    <p:sldId id="2147475376" r:id="rId215"/>
    <p:sldId id="2147475377" r:id="rId216"/>
    <p:sldId id="2147475378" r:id="rId217"/>
    <p:sldId id="2147475379" r:id="rId218"/>
    <p:sldId id="2147475380" r:id="rId219"/>
    <p:sldId id="2147475381" r:id="rId220"/>
    <p:sldId id="2147475382" r:id="rId221"/>
    <p:sldId id="2147475383" r:id="rId222"/>
    <p:sldId id="2147475384" r:id="rId223"/>
    <p:sldId id="2147475385" r:id="rId224"/>
    <p:sldId id="2147475386" r:id="rId225"/>
    <p:sldId id="2147475387" r:id="rId226"/>
    <p:sldId id="2147475388" r:id="rId227"/>
    <p:sldId id="2147475389" r:id="rId228"/>
    <p:sldId id="2147475390" r:id="rId229"/>
    <p:sldId id="2147475391" r:id="rId230"/>
    <p:sldId id="2147475392" r:id="rId231"/>
    <p:sldId id="2147475393" r:id="rId232"/>
    <p:sldId id="2147475394" r:id="rId233"/>
    <p:sldId id="2147475395" r:id="rId234"/>
    <p:sldId id="2147475396" r:id="rId235"/>
    <p:sldId id="2147475397" r:id="rId236"/>
    <p:sldId id="2147475398" r:id="rId237"/>
    <p:sldId id="2147475399" r:id="rId238"/>
    <p:sldId id="2147475400" r:id="rId239"/>
    <p:sldId id="2147475401" r:id="rId240"/>
    <p:sldId id="2147475402" r:id="rId241"/>
    <p:sldId id="2147475403" r:id="rId242"/>
    <p:sldId id="2147475404" r:id="rId243"/>
    <p:sldId id="2147475405" r:id="rId244"/>
    <p:sldId id="2147475406" r:id="rId245"/>
    <p:sldId id="2147475407" r:id="rId246"/>
    <p:sldId id="2147475408" r:id="rId247"/>
    <p:sldId id="2147475409" r:id="rId248"/>
    <p:sldId id="2147475410" r:id="rId249"/>
    <p:sldId id="2147475411" r:id="rId250"/>
    <p:sldId id="2147475412" r:id="rId251"/>
    <p:sldId id="2147475413" r:id="rId252"/>
    <p:sldId id="2147475414" r:id="rId253"/>
    <p:sldId id="2147475415" r:id="rId254"/>
    <p:sldId id="2147475416" r:id="rId255"/>
    <p:sldId id="2147475417" r:id="rId256"/>
    <p:sldId id="2147475418" r:id="rId257"/>
    <p:sldId id="2147475419" r:id="rId258"/>
    <p:sldId id="2147475420" r:id="rId259"/>
    <p:sldId id="2147475421" r:id="rId260"/>
    <p:sldId id="2147475422" r:id="rId261"/>
    <p:sldId id="2147475423" r:id="rId262"/>
    <p:sldId id="2147475424" r:id="rId263"/>
    <p:sldId id="2147475425" r:id="rId264"/>
    <p:sldId id="2147475426" r:id="rId265"/>
    <p:sldId id="2147475427" r:id="rId266"/>
    <p:sldId id="2147475428" r:id="rId267"/>
    <p:sldId id="2147475429" r:id="rId268"/>
    <p:sldId id="2147475430" r:id="rId269"/>
    <p:sldId id="2147475431" r:id="rId270"/>
    <p:sldId id="2147475432" r:id="rId271"/>
    <p:sldId id="2147475433" r:id="rId272"/>
    <p:sldId id="2147475434" r:id="rId273"/>
    <p:sldId id="2147475435" r:id="rId274"/>
    <p:sldId id="2147475436" r:id="rId275"/>
    <p:sldId id="2147475437" r:id="rId276"/>
    <p:sldId id="2147475438" r:id="rId277"/>
    <p:sldId id="2147475439" r:id="rId278"/>
    <p:sldId id="2147475440" r:id="rId279"/>
    <p:sldId id="2147475441" r:id="rId280"/>
    <p:sldId id="2147475442" r:id="rId281"/>
    <p:sldId id="2147475443" r:id="rId282"/>
    <p:sldId id="2147475444" r:id="rId283"/>
    <p:sldId id="2147475445" r:id="rId284"/>
    <p:sldId id="2147475446" r:id="rId285"/>
    <p:sldId id="2147475447" r:id="rId286"/>
    <p:sldId id="2147475448" r:id="rId287"/>
    <p:sldId id="2147475449" r:id="rId288"/>
    <p:sldId id="2147475450" r:id="rId289"/>
    <p:sldId id="2147475451" r:id="rId290"/>
    <p:sldId id="2147475452" r:id="rId291"/>
    <p:sldId id="2147475453" r:id="rId292"/>
    <p:sldId id="2147475454" r:id="rId293"/>
    <p:sldId id="2147475455" r:id="rId294"/>
    <p:sldId id="2147475456" r:id="rId295"/>
    <p:sldId id="2147475457" r:id="rId296"/>
    <p:sldId id="2147475458" r:id="rId297"/>
    <p:sldId id="2147475459" r:id="rId298"/>
    <p:sldId id="2147475460" r:id="rId299"/>
    <p:sldId id="2147475461" r:id="rId300"/>
    <p:sldId id="2147475462" r:id="rId301"/>
    <p:sldId id="2147475463" r:id="rId302"/>
    <p:sldId id="2147475464" r:id="rId303"/>
    <p:sldId id="2147475465" r:id="rId304"/>
    <p:sldId id="2147475466" r:id="rId305"/>
    <p:sldId id="2147475467" r:id="rId306"/>
    <p:sldId id="2147475468" r:id="rId307"/>
    <p:sldId id="2147475469" r:id="rId308"/>
    <p:sldId id="2147475470" r:id="rId309"/>
    <p:sldId id="2147475471" r:id="rId310"/>
    <p:sldId id="2147475472" r:id="rId311"/>
    <p:sldId id="2147475473" r:id="rId312"/>
    <p:sldId id="2147475474" r:id="rId313"/>
    <p:sldId id="2147475475" r:id="rId314"/>
    <p:sldId id="2147475476" r:id="rId315"/>
    <p:sldId id="2147475477" r:id="rId316"/>
    <p:sldId id="2147475478" r:id="rId317"/>
    <p:sldId id="2147475479" r:id="rId318"/>
    <p:sldId id="2147475480" r:id="rId319"/>
    <p:sldId id="2147475481" r:id="rId320"/>
    <p:sldId id="2147475482" r:id="rId321"/>
    <p:sldId id="2147475483" r:id="rId322"/>
    <p:sldId id="2147475484" r:id="rId323"/>
    <p:sldId id="2147475485" r:id="rId324"/>
    <p:sldId id="2147475486" r:id="rId325"/>
    <p:sldId id="2147475487" r:id="rId326"/>
    <p:sldId id="2147475488" r:id="rId327"/>
    <p:sldId id="2147475489" r:id="rId328"/>
    <p:sldId id="2147475490" r:id="rId329"/>
    <p:sldId id="2147475491" r:id="rId330"/>
    <p:sldId id="2147475492" r:id="rId331"/>
    <p:sldId id="2147475493" r:id="rId332"/>
    <p:sldId id="2147475494" r:id="rId333"/>
    <p:sldId id="2147475495" r:id="rId334"/>
    <p:sldId id="2147475496" r:id="rId335"/>
    <p:sldId id="2147475497" r:id="rId336"/>
    <p:sldId id="2147475498" r:id="rId337"/>
    <p:sldId id="2147475499" r:id="rId338"/>
    <p:sldId id="2147475500" r:id="rId339"/>
    <p:sldId id="2147475501" r:id="rId340"/>
    <p:sldId id="2147475502" r:id="rId341"/>
    <p:sldId id="2147475503" r:id="rId342"/>
    <p:sldId id="2147475504" r:id="rId343"/>
    <p:sldId id="2147475505" r:id="rId344"/>
    <p:sldId id="2147475506" r:id="rId345"/>
    <p:sldId id="2147475507" r:id="rId346"/>
    <p:sldId id="2147475508" r:id="rId347"/>
    <p:sldId id="2147475509" r:id="rId348"/>
    <p:sldId id="2147475510" r:id="rId349"/>
    <p:sldId id="2147475511" r:id="rId350"/>
    <p:sldId id="2147475512" r:id="rId351"/>
    <p:sldId id="2147475513" r:id="rId352"/>
    <p:sldId id="2147475514" r:id="rId353"/>
    <p:sldId id="2147475515" r:id="rId354"/>
    <p:sldId id="2147475516" r:id="rId355"/>
    <p:sldId id="2147475517" r:id="rId356"/>
    <p:sldId id="2147475518" r:id="rId357"/>
    <p:sldId id="2147475519" r:id="rId358"/>
    <p:sldId id="2147475520" r:id="rId359"/>
    <p:sldId id="2147475521" r:id="rId360"/>
    <p:sldId id="2147475522" r:id="rId361"/>
    <p:sldId id="2147475523" r:id="rId362"/>
    <p:sldId id="2147475524" r:id="rId363"/>
    <p:sldId id="2147475525" r:id="rId364"/>
    <p:sldId id="2147475526" r:id="rId365"/>
    <p:sldId id="2147475527" r:id="rId366"/>
    <p:sldId id="2147475528" r:id="rId367"/>
    <p:sldId id="2147475529" r:id="rId368"/>
    <p:sldId id="2147475530" r:id="rId369"/>
    <p:sldId id="2147475531" r:id="rId370"/>
    <p:sldId id="2147475532" r:id="rId371"/>
    <p:sldId id="2147475533" r:id="rId372"/>
    <p:sldId id="2147475534" r:id="rId373"/>
    <p:sldId id="2147475535" r:id="rId374"/>
    <p:sldId id="2147475536" r:id="rId375"/>
    <p:sldId id="2147475537" r:id="rId376"/>
    <p:sldId id="2147475538" r:id="rId377"/>
    <p:sldId id="2147475539" r:id="rId378"/>
    <p:sldId id="2147475540" r:id="rId379"/>
    <p:sldId id="2147475541" r:id="rId380"/>
    <p:sldId id="2147475542" r:id="rId381"/>
    <p:sldId id="2147475543" r:id="rId382"/>
    <p:sldId id="2147475544" r:id="rId383"/>
    <p:sldId id="2147475545" r:id="rId384"/>
    <p:sldId id="2147475546" r:id="rId385"/>
    <p:sldId id="2147475547" r:id="rId386"/>
    <p:sldId id="2147475548" r:id="rId387"/>
    <p:sldId id="2147475549" r:id="rId388"/>
    <p:sldId id="2147475550" r:id="rId389"/>
    <p:sldId id="2147475551" r:id="rId390"/>
    <p:sldId id="2147475552" r:id="rId391"/>
    <p:sldId id="2147475553" r:id="rId392"/>
    <p:sldId id="2147475554" r:id="rId393"/>
    <p:sldId id="2147475555" r:id="rId394"/>
    <p:sldId id="2147475556" r:id="rId395"/>
    <p:sldId id="2147475557" r:id="rId396"/>
    <p:sldId id="2147475558" r:id="rId397"/>
    <p:sldId id="2147475559" r:id="rId398"/>
    <p:sldId id="2147475560" r:id="rId399"/>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Category Trends" id="{AD75AEC6-27CD-4EDF-92E6-073B0AAB5656}">
          <p14:sldIdLst>
            <p14:sldId id="2147475166"/>
            <p14:sldId id="2147475167"/>
            <p14:sldId id="2147475168"/>
            <p14:sldId id="2147475169"/>
            <p14:sldId id="2147475170"/>
            <p14:sldId id="2147475171"/>
            <p14:sldId id="2147475172"/>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 id="2147475239"/>
            <p14:sldId id="2147475240"/>
            <p14:sldId id="2147475241"/>
            <p14:sldId id="2147475242"/>
            <p14:sldId id="2147475243"/>
            <p14:sldId id="2147475244"/>
            <p14:sldId id="2147475245"/>
            <p14:sldId id="2147475246"/>
            <p14:sldId id="2147475247"/>
            <p14:sldId id="2147475248"/>
            <p14:sldId id="2147475249"/>
            <p14:sldId id="2147475250"/>
            <p14:sldId id="2147475251"/>
            <p14:sldId id="2147475252"/>
            <p14:sldId id="2147475253"/>
            <p14:sldId id="2147475254"/>
            <p14:sldId id="2147475255"/>
            <p14:sldId id="2147475256"/>
            <p14:sldId id="2147475257"/>
            <p14:sldId id="2147475258"/>
            <p14:sldId id="2147475259"/>
            <p14:sldId id="2147475260"/>
            <p14:sldId id="2147475261"/>
            <p14:sldId id="2147475262"/>
            <p14:sldId id="2147475263"/>
            <p14:sldId id="2147475264"/>
            <p14:sldId id="2147475265"/>
            <p14:sldId id="2147475266"/>
            <p14:sldId id="2147475267"/>
            <p14:sldId id="2147475268"/>
            <p14:sldId id="2147475269"/>
            <p14:sldId id="2147475270"/>
            <p14:sldId id="2147475271"/>
            <p14:sldId id="2147475272"/>
            <p14:sldId id="2147475273"/>
            <p14:sldId id="2147475274"/>
            <p14:sldId id="2147475275"/>
            <p14:sldId id="2147475276"/>
            <p14:sldId id="2147475277"/>
            <p14:sldId id="2147475278"/>
            <p14:sldId id="2147475279"/>
            <p14:sldId id="2147475280"/>
            <p14:sldId id="2147475281"/>
            <p14:sldId id="2147475282"/>
            <p14:sldId id="2147475283"/>
            <p14:sldId id="2147475284"/>
            <p14:sldId id="2147475285"/>
            <p14:sldId id="2147475286"/>
            <p14:sldId id="2147475287"/>
            <p14:sldId id="2147475288"/>
            <p14:sldId id="2147475289"/>
            <p14:sldId id="2147475290"/>
            <p14:sldId id="2147475291"/>
            <p14:sldId id="2147475292"/>
            <p14:sldId id="2147475293"/>
            <p14:sldId id="2147475294"/>
            <p14:sldId id="2147475295"/>
            <p14:sldId id="2147475296"/>
            <p14:sldId id="2147475297"/>
            <p14:sldId id="2147475298"/>
            <p14:sldId id="2147475299"/>
            <p14:sldId id="2147475300"/>
            <p14:sldId id="2147475301"/>
            <p14:sldId id="2147475302"/>
            <p14:sldId id="2147475303"/>
            <p14:sldId id="2147475304"/>
            <p14:sldId id="2147475305"/>
            <p14:sldId id="2147475306"/>
            <p14:sldId id="2147475307"/>
            <p14:sldId id="2147475308"/>
            <p14:sldId id="2147475309"/>
            <p14:sldId id="2147475310"/>
            <p14:sldId id="2147475311"/>
            <p14:sldId id="2147475312"/>
            <p14:sldId id="2147475313"/>
            <p14:sldId id="2147475314"/>
            <p14:sldId id="2147475315"/>
            <p14:sldId id="2147475316"/>
            <p14:sldId id="2147475317"/>
            <p14:sldId id="2147475318"/>
            <p14:sldId id="2147475319"/>
            <p14:sldId id="2147475320"/>
            <p14:sldId id="2147475321"/>
            <p14:sldId id="2147475322"/>
            <p14:sldId id="2147475323"/>
            <p14:sldId id="2147475324"/>
            <p14:sldId id="2147475325"/>
            <p14:sldId id="2147475326"/>
            <p14:sldId id="2147475327"/>
            <p14:sldId id="2147475328"/>
            <p14:sldId id="2147475329"/>
            <p14:sldId id="2147475330"/>
            <p14:sldId id="2147475331"/>
            <p14:sldId id="2147475332"/>
            <p14:sldId id="2147475333"/>
            <p14:sldId id="2147475334"/>
            <p14:sldId id="2147475335"/>
            <p14:sldId id="2147475336"/>
            <p14:sldId id="2147475337"/>
            <p14:sldId id="2147475338"/>
            <p14:sldId id="2147475339"/>
            <p14:sldId id="2147475340"/>
            <p14:sldId id="2147475341"/>
            <p14:sldId id="2147475342"/>
            <p14:sldId id="2147475343"/>
            <p14:sldId id="2147475344"/>
            <p14:sldId id="2147475345"/>
            <p14:sldId id="2147475346"/>
            <p14:sldId id="2147475347"/>
            <p14:sldId id="2147475348"/>
            <p14:sldId id="2147475349"/>
            <p14:sldId id="2147475350"/>
            <p14:sldId id="2147475351"/>
            <p14:sldId id="2147475352"/>
            <p14:sldId id="2147475353"/>
            <p14:sldId id="2147475354"/>
            <p14:sldId id="2147475355"/>
            <p14:sldId id="2147475356"/>
            <p14:sldId id="2147475357"/>
            <p14:sldId id="2147475358"/>
            <p14:sldId id="2147475359"/>
            <p14:sldId id="2147475360"/>
            <p14:sldId id="2147475361"/>
            <p14:sldId id="2147475362"/>
            <p14:sldId id="2147475363"/>
            <p14:sldId id="2147475364"/>
            <p14:sldId id="2147475365"/>
            <p14:sldId id="2147475366"/>
            <p14:sldId id="2147475367"/>
            <p14:sldId id="2147475368"/>
            <p14:sldId id="2147475369"/>
            <p14:sldId id="2147475370"/>
            <p14:sldId id="2147475371"/>
            <p14:sldId id="2147475372"/>
            <p14:sldId id="2147475373"/>
            <p14:sldId id="2147475374"/>
            <p14:sldId id="2147475375"/>
            <p14:sldId id="2147475376"/>
            <p14:sldId id="2147475377"/>
            <p14:sldId id="2147475378"/>
            <p14:sldId id="2147475379"/>
            <p14:sldId id="2147475380"/>
          </p14:sldIdLst>
        </p14:section>
        <p14:section name="Share Evolution By Brand" id="{F1B2E121-7E17-48F8-936D-8196B4EBC74F}">
          <p14:sldIdLst>
            <p14:sldId id="2147475381"/>
            <p14:sldId id="2147475382"/>
            <p14:sldId id="2147475383"/>
            <p14:sldId id="2147475384"/>
            <p14:sldId id="2147475385"/>
            <p14:sldId id="2147475386"/>
            <p14:sldId id="2147475387"/>
            <p14:sldId id="2147475388"/>
            <p14:sldId id="2147475389"/>
            <p14:sldId id="2147475390"/>
            <p14:sldId id="2147475391"/>
            <p14:sldId id="2147475392"/>
            <p14:sldId id="2147475393"/>
            <p14:sldId id="2147475394"/>
            <p14:sldId id="2147475395"/>
            <p14:sldId id="2147475396"/>
            <p14:sldId id="2147475397"/>
            <p14:sldId id="2147475398"/>
            <p14:sldId id="2147475399"/>
            <p14:sldId id="2147475400"/>
            <p14:sldId id="2147475401"/>
            <p14:sldId id="2147475402"/>
            <p14:sldId id="2147475403"/>
            <p14:sldId id="2147475404"/>
            <p14:sldId id="2147475405"/>
            <p14:sldId id="2147475406"/>
            <p14:sldId id="2147475407"/>
            <p14:sldId id="2147475408"/>
            <p14:sldId id="2147475409"/>
            <p14:sldId id="2147475410"/>
            <p14:sldId id="2147475411"/>
            <p14:sldId id="2147475412"/>
            <p14:sldId id="2147475413"/>
            <p14:sldId id="2147475414"/>
            <p14:sldId id="2147475415"/>
            <p14:sldId id="2147475416"/>
            <p14:sldId id="2147475417"/>
            <p14:sldId id="2147475418"/>
            <p14:sldId id="2147475419"/>
            <p14:sldId id="2147475420"/>
            <p14:sldId id="2147475421"/>
            <p14:sldId id="2147475422"/>
            <p14:sldId id="2147475423"/>
            <p14:sldId id="2147475424"/>
            <p14:sldId id="2147475425"/>
            <p14:sldId id="2147475426"/>
            <p14:sldId id="2147475427"/>
            <p14:sldId id="2147475428"/>
            <p14:sldId id="2147475429"/>
            <p14:sldId id="2147475430"/>
            <p14:sldId id="2147475431"/>
            <p14:sldId id="2147475432"/>
            <p14:sldId id="2147475433"/>
            <p14:sldId id="2147475434"/>
            <p14:sldId id="2147475435"/>
            <p14:sldId id="2147475436"/>
            <p14:sldId id="2147475437"/>
            <p14:sldId id="2147475438"/>
            <p14:sldId id="2147475439"/>
            <p14:sldId id="2147475440"/>
            <p14:sldId id="2147475441"/>
            <p14:sldId id="2147475442"/>
            <p14:sldId id="2147475443"/>
            <p14:sldId id="2147475444"/>
            <p14:sldId id="2147475445"/>
            <p14:sldId id="2147475446"/>
            <p14:sldId id="2147475447"/>
            <p14:sldId id="2147475448"/>
            <p14:sldId id="2147475449"/>
            <p14:sldId id="2147475450"/>
            <p14:sldId id="2147475451"/>
            <p14:sldId id="2147475452"/>
            <p14:sldId id="2147475453"/>
            <p14:sldId id="2147475454"/>
            <p14:sldId id="2147475455"/>
            <p14:sldId id="2147475456"/>
            <p14:sldId id="2147475457"/>
            <p14:sldId id="2147475458"/>
            <p14:sldId id="2147475459"/>
            <p14:sldId id="2147475460"/>
            <p14:sldId id="2147475461"/>
            <p14:sldId id="2147475462"/>
            <p14:sldId id="2147475463"/>
            <p14:sldId id="2147475464"/>
            <p14:sldId id="2147475465"/>
            <p14:sldId id="2147475466"/>
            <p14:sldId id="2147475467"/>
            <p14:sldId id="2147475468"/>
            <p14:sldId id="2147475469"/>
            <p14:sldId id="2147475470"/>
            <p14:sldId id="2147475471"/>
            <p14:sldId id="2147475472"/>
            <p14:sldId id="2147475473"/>
            <p14:sldId id="2147475474"/>
            <p14:sldId id="2147475475"/>
            <p14:sldId id="2147475476"/>
            <p14:sldId id="2147475477"/>
            <p14:sldId id="2147475478"/>
            <p14:sldId id="2147475479"/>
            <p14:sldId id="2147475480"/>
            <p14:sldId id="2147475481"/>
            <p14:sldId id="2147475482"/>
            <p14:sldId id="2147475483"/>
            <p14:sldId id="2147475484"/>
            <p14:sldId id="2147475485"/>
            <p14:sldId id="2147475486"/>
            <p14:sldId id="2147475487"/>
            <p14:sldId id="2147475488"/>
            <p14:sldId id="2147475489"/>
            <p14:sldId id="2147475490"/>
            <p14:sldId id="2147475491"/>
            <p14:sldId id="2147475492"/>
            <p14:sldId id="2147475493"/>
            <p14:sldId id="2147475494"/>
            <p14:sldId id="2147475495"/>
            <p14:sldId id="2147475496"/>
            <p14:sldId id="2147475497"/>
            <p14:sldId id="2147475498"/>
            <p14:sldId id="2147475499"/>
            <p14:sldId id="2147475500"/>
            <p14:sldId id="2147475501"/>
            <p14:sldId id="2147475502"/>
            <p14:sldId id="2147475503"/>
            <p14:sldId id="2147475504"/>
            <p14:sldId id="2147475505"/>
            <p14:sldId id="2147475506"/>
            <p14:sldId id="2147475507"/>
            <p14:sldId id="2147475508"/>
            <p14:sldId id="2147475509"/>
            <p14:sldId id="2147475510"/>
            <p14:sldId id="2147475511"/>
            <p14:sldId id="2147475512"/>
            <p14:sldId id="2147475513"/>
            <p14:sldId id="2147475514"/>
            <p14:sldId id="2147475515"/>
            <p14:sldId id="2147475516"/>
            <p14:sldId id="2147475517"/>
            <p14:sldId id="2147475518"/>
            <p14:sldId id="2147475519"/>
            <p14:sldId id="2147475520"/>
            <p14:sldId id="2147475521"/>
            <p14:sldId id="2147475522"/>
            <p14:sldId id="2147475523"/>
            <p14:sldId id="2147475524"/>
            <p14:sldId id="2147475525"/>
            <p14:sldId id="2147475526"/>
            <p14:sldId id="2147475527"/>
            <p14:sldId id="2147475528"/>
            <p14:sldId id="2147475529"/>
            <p14:sldId id="2147475530"/>
            <p14:sldId id="2147475531"/>
            <p14:sldId id="2147475532"/>
            <p14:sldId id="2147475533"/>
            <p14:sldId id="2147475534"/>
            <p14:sldId id="2147475535"/>
            <p14:sldId id="2147475536"/>
            <p14:sldId id="2147475537"/>
            <p14:sldId id="2147475538"/>
            <p14:sldId id="2147475539"/>
            <p14:sldId id="2147475540"/>
            <p14:sldId id="2147475541"/>
            <p14:sldId id="2147475542"/>
            <p14:sldId id="2147475543"/>
            <p14:sldId id="2147475544"/>
            <p14:sldId id="2147475545"/>
            <p14:sldId id="2147475546"/>
            <p14:sldId id="2147475547"/>
            <p14:sldId id="2147475548"/>
            <p14:sldId id="2147475549"/>
            <p14:sldId id="2147475550"/>
          </p14:sldIdLst>
        </p14:section>
        <p14:section name="Category Overview" id="{228977AA-68F8-46D3-B7F3-ECA30CBDCA88}">
          <p14:sldIdLst>
            <p14:sldId id="2147475551"/>
            <p14:sldId id="2147475552"/>
            <p14:sldId id="2147475553"/>
            <p14:sldId id="2147475554"/>
            <p14:sldId id="2147475555"/>
            <p14:sldId id="2147475556"/>
            <p14:sldId id="2147475557"/>
            <p14:sldId id="2147475558"/>
            <p14:sldId id="2147475559"/>
            <p14:sldId id="2147475560"/>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guide id="3" orient="horz" pos="940" userDrawn="1">
          <p15:clr>
            <a:srgbClr val="5ACBF0"/>
          </p15:clr>
        </p15:guide>
        <p15:guide id="4" orient="horz" pos="1212" userDrawn="1">
          <p15:clr>
            <a:srgbClr val="F26B43"/>
          </p15:clr>
        </p15:guide>
        <p15:guide id="5" orient="horz" pos="1121" userDrawn="1">
          <p15:clr>
            <a:srgbClr val="5ACBF0"/>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219F46E-3B23-D09F-47AD-C779851D2CA1}" name="Sophie  ZIMMERMANN" initials="SZ" userId="S::zimmermann.s@pricing.one::a3ccab47-c860-43ce-9c7d-ef7907b0df29" providerId="AD"/>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9E1EDC4-949C-4C9A-9207-A653EB98B0DF}" v="1549" dt="2024-11-19T09:09:44.42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3" d="100"/>
          <a:sy n="103" d="100"/>
        </p:scale>
        <p:origin x="874" y="77"/>
      </p:cViewPr>
      <p:guideLst>
        <p:guide orient="horz" pos="1620"/>
        <p:guide pos="2880"/>
        <p:guide orient="horz" pos="940"/>
        <p:guide orient="horz" pos="1212"/>
        <p:guide orient="horz" pos="112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slide" Target="slides/slide49.xml"/><Relationship Id="rId54" Type="http://schemas.openxmlformats.org/officeDocument/2006/relationships/slide" Target="slides/slide50.xml"/><Relationship Id="rId55" Type="http://schemas.openxmlformats.org/officeDocument/2006/relationships/slide" Target="slides/slide51.xml"/><Relationship Id="rId56" Type="http://schemas.openxmlformats.org/officeDocument/2006/relationships/slide" Target="slides/slide52.xml"/><Relationship Id="rId57" Type="http://schemas.openxmlformats.org/officeDocument/2006/relationships/slide" Target="slides/slide53.xml"/><Relationship Id="rId58" Type="http://schemas.openxmlformats.org/officeDocument/2006/relationships/slide" Target="slides/slide54.xml"/><Relationship Id="rId59" Type="http://schemas.openxmlformats.org/officeDocument/2006/relationships/slide" Target="slides/slide55.xml"/><Relationship Id="rId60" Type="http://schemas.openxmlformats.org/officeDocument/2006/relationships/slide" Target="slides/slide56.xml"/><Relationship Id="rId61" Type="http://schemas.openxmlformats.org/officeDocument/2006/relationships/slide" Target="slides/slide57.xml"/><Relationship Id="rId62" Type="http://schemas.openxmlformats.org/officeDocument/2006/relationships/slide" Target="slides/slide58.xml"/><Relationship Id="rId63" Type="http://schemas.openxmlformats.org/officeDocument/2006/relationships/slide" Target="slides/slide59.xml"/><Relationship Id="rId64" Type="http://schemas.openxmlformats.org/officeDocument/2006/relationships/slide" Target="slides/slide60.xml"/><Relationship Id="rId65" Type="http://schemas.openxmlformats.org/officeDocument/2006/relationships/slide" Target="slides/slide61.xml"/><Relationship Id="rId66" Type="http://schemas.openxmlformats.org/officeDocument/2006/relationships/slide" Target="slides/slide62.xml"/><Relationship Id="rId67" Type="http://schemas.openxmlformats.org/officeDocument/2006/relationships/slide" Target="slides/slide63.xml"/><Relationship Id="rId68" Type="http://schemas.openxmlformats.org/officeDocument/2006/relationships/slide" Target="slides/slide64.xml"/><Relationship Id="rId69" Type="http://schemas.openxmlformats.org/officeDocument/2006/relationships/slide" Target="slides/slide65.xml"/><Relationship Id="rId70" Type="http://schemas.openxmlformats.org/officeDocument/2006/relationships/slide" Target="slides/slide66.xml"/><Relationship Id="rId71" Type="http://schemas.openxmlformats.org/officeDocument/2006/relationships/slide" Target="slides/slide67.xml"/><Relationship Id="rId72" Type="http://schemas.openxmlformats.org/officeDocument/2006/relationships/slide" Target="slides/slide68.xml"/><Relationship Id="rId73" Type="http://schemas.openxmlformats.org/officeDocument/2006/relationships/slide" Target="slides/slide69.xml"/><Relationship Id="rId74" Type="http://schemas.openxmlformats.org/officeDocument/2006/relationships/slide" Target="slides/slide70.xml"/><Relationship Id="rId75" Type="http://schemas.openxmlformats.org/officeDocument/2006/relationships/slide" Target="slides/slide71.xml"/><Relationship Id="rId76" Type="http://schemas.openxmlformats.org/officeDocument/2006/relationships/slide" Target="slides/slide72.xml"/><Relationship Id="rId77" Type="http://schemas.openxmlformats.org/officeDocument/2006/relationships/slide" Target="slides/slide73.xml"/><Relationship Id="rId78" Type="http://schemas.openxmlformats.org/officeDocument/2006/relationships/slide" Target="slides/slide74.xml"/><Relationship Id="rId79" Type="http://schemas.openxmlformats.org/officeDocument/2006/relationships/slide" Target="slides/slide75.xml"/><Relationship Id="rId80" Type="http://schemas.openxmlformats.org/officeDocument/2006/relationships/slide" Target="slides/slide76.xml"/><Relationship Id="rId81" Type="http://schemas.openxmlformats.org/officeDocument/2006/relationships/slide" Target="slides/slide77.xml"/><Relationship Id="rId82" Type="http://schemas.openxmlformats.org/officeDocument/2006/relationships/slide" Target="slides/slide78.xml"/><Relationship Id="rId83" Type="http://schemas.openxmlformats.org/officeDocument/2006/relationships/slide" Target="slides/slide79.xml"/><Relationship Id="rId84" Type="http://schemas.openxmlformats.org/officeDocument/2006/relationships/slide" Target="slides/slide80.xml"/><Relationship Id="rId85" Type="http://schemas.openxmlformats.org/officeDocument/2006/relationships/slide" Target="slides/slide81.xml"/><Relationship Id="rId86" Type="http://schemas.openxmlformats.org/officeDocument/2006/relationships/slide" Target="slides/slide82.xml"/><Relationship Id="rId87" Type="http://schemas.openxmlformats.org/officeDocument/2006/relationships/slide" Target="slides/slide83.xml"/><Relationship Id="rId88" Type="http://schemas.openxmlformats.org/officeDocument/2006/relationships/slide" Target="slides/slide84.xml"/><Relationship Id="rId89" Type="http://schemas.openxmlformats.org/officeDocument/2006/relationships/slide" Target="slides/slide85.xml"/><Relationship Id="rId90" Type="http://schemas.openxmlformats.org/officeDocument/2006/relationships/slide" Target="slides/slide86.xml"/><Relationship Id="rId91" Type="http://schemas.openxmlformats.org/officeDocument/2006/relationships/slide" Target="slides/slide87.xml"/><Relationship Id="rId92" Type="http://schemas.openxmlformats.org/officeDocument/2006/relationships/slide" Target="slides/slide88.xml"/><Relationship Id="rId93" Type="http://schemas.openxmlformats.org/officeDocument/2006/relationships/slide" Target="slides/slide89.xml"/><Relationship Id="rId94" Type="http://schemas.openxmlformats.org/officeDocument/2006/relationships/slide" Target="slides/slide90.xml"/><Relationship Id="rId95" Type="http://schemas.openxmlformats.org/officeDocument/2006/relationships/slide" Target="slides/slide91.xml"/><Relationship Id="rId96" Type="http://schemas.openxmlformats.org/officeDocument/2006/relationships/slide" Target="slides/slide92.xml"/><Relationship Id="rId97" Type="http://schemas.openxmlformats.org/officeDocument/2006/relationships/slide" Target="slides/slide93.xml"/><Relationship Id="rId98" Type="http://schemas.openxmlformats.org/officeDocument/2006/relationships/slide" Target="slides/slide94.xml"/><Relationship Id="rId99" Type="http://schemas.openxmlformats.org/officeDocument/2006/relationships/slide" Target="slides/slide95.xml"/><Relationship Id="rId100" Type="http://schemas.openxmlformats.org/officeDocument/2006/relationships/slide" Target="slides/slide96.xml"/><Relationship Id="rId101" Type="http://schemas.openxmlformats.org/officeDocument/2006/relationships/slide" Target="slides/slide97.xml"/><Relationship Id="rId102" Type="http://schemas.openxmlformats.org/officeDocument/2006/relationships/slide" Target="slides/slide98.xml"/><Relationship Id="rId103" Type="http://schemas.openxmlformats.org/officeDocument/2006/relationships/slide" Target="slides/slide99.xml"/><Relationship Id="rId104" Type="http://schemas.openxmlformats.org/officeDocument/2006/relationships/slide" Target="slides/slide100.xml"/><Relationship Id="rId105" Type="http://schemas.openxmlformats.org/officeDocument/2006/relationships/slide" Target="slides/slide101.xml"/><Relationship Id="rId106" Type="http://schemas.openxmlformats.org/officeDocument/2006/relationships/slide" Target="slides/slide102.xml"/><Relationship Id="rId107" Type="http://schemas.openxmlformats.org/officeDocument/2006/relationships/slide" Target="slides/slide103.xml"/><Relationship Id="rId108" Type="http://schemas.openxmlformats.org/officeDocument/2006/relationships/slide" Target="slides/slide104.xml"/><Relationship Id="rId109" Type="http://schemas.openxmlformats.org/officeDocument/2006/relationships/slide" Target="slides/slide105.xml"/><Relationship Id="rId110" Type="http://schemas.openxmlformats.org/officeDocument/2006/relationships/slide" Target="slides/slide106.xml"/><Relationship Id="rId111" Type="http://schemas.openxmlformats.org/officeDocument/2006/relationships/slide" Target="slides/slide107.xml"/><Relationship Id="rId112" Type="http://schemas.openxmlformats.org/officeDocument/2006/relationships/slide" Target="slides/slide108.xml"/><Relationship Id="rId113" Type="http://schemas.openxmlformats.org/officeDocument/2006/relationships/slide" Target="slides/slide109.xml"/><Relationship Id="rId114" Type="http://schemas.openxmlformats.org/officeDocument/2006/relationships/slide" Target="slides/slide110.xml"/><Relationship Id="rId115" Type="http://schemas.openxmlformats.org/officeDocument/2006/relationships/slide" Target="slides/slide111.xml"/><Relationship Id="rId116" Type="http://schemas.openxmlformats.org/officeDocument/2006/relationships/slide" Target="slides/slide112.xml"/><Relationship Id="rId117" Type="http://schemas.openxmlformats.org/officeDocument/2006/relationships/slide" Target="slides/slide113.xml"/><Relationship Id="rId118" Type="http://schemas.openxmlformats.org/officeDocument/2006/relationships/slide" Target="slides/slide114.xml"/><Relationship Id="rId119" Type="http://schemas.openxmlformats.org/officeDocument/2006/relationships/slide" Target="slides/slide115.xml"/><Relationship Id="rId120" Type="http://schemas.openxmlformats.org/officeDocument/2006/relationships/slide" Target="slides/slide116.xml"/><Relationship Id="rId121" Type="http://schemas.openxmlformats.org/officeDocument/2006/relationships/slide" Target="slides/slide117.xml"/><Relationship Id="rId122" Type="http://schemas.openxmlformats.org/officeDocument/2006/relationships/slide" Target="slides/slide118.xml"/><Relationship Id="rId123" Type="http://schemas.openxmlformats.org/officeDocument/2006/relationships/slide" Target="slides/slide119.xml"/><Relationship Id="rId124" Type="http://schemas.openxmlformats.org/officeDocument/2006/relationships/slide" Target="slides/slide120.xml"/><Relationship Id="rId125" Type="http://schemas.openxmlformats.org/officeDocument/2006/relationships/slide" Target="slides/slide121.xml"/><Relationship Id="rId126" Type="http://schemas.openxmlformats.org/officeDocument/2006/relationships/slide" Target="slides/slide122.xml"/><Relationship Id="rId127" Type="http://schemas.openxmlformats.org/officeDocument/2006/relationships/slide" Target="slides/slide123.xml"/><Relationship Id="rId128" Type="http://schemas.openxmlformats.org/officeDocument/2006/relationships/slide" Target="slides/slide124.xml"/><Relationship Id="rId129" Type="http://schemas.openxmlformats.org/officeDocument/2006/relationships/slide" Target="slides/slide125.xml"/><Relationship Id="rId130" Type="http://schemas.openxmlformats.org/officeDocument/2006/relationships/slide" Target="slides/slide126.xml"/><Relationship Id="rId131" Type="http://schemas.openxmlformats.org/officeDocument/2006/relationships/slide" Target="slides/slide127.xml"/><Relationship Id="rId132" Type="http://schemas.openxmlformats.org/officeDocument/2006/relationships/slide" Target="slides/slide128.xml"/><Relationship Id="rId133" Type="http://schemas.openxmlformats.org/officeDocument/2006/relationships/slide" Target="slides/slide129.xml"/><Relationship Id="rId134" Type="http://schemas.openxmlformats.org/officeDocument/2006/relationships/slide" Target="slides/slide130.xml"/><Relationship Id="rId135" Type="http://schemas.openxmlformats.org/officeDocument/2006/relationships/slide" Target="slides/slide131.xml"/><Relationship Id="rId136" Type="http://schemas.openxmlformats.org/officeDocument/2006/relationships/slide" Target="slides/slide132.xml"/><Relationship Id="rId137" Type="http://schemas.openxmlformats.org/officeDocument/2006/relationships/slide" Target="slides/slide133.xml"/><Relationship Id="rId138" Type="http://schemas.openxmlformats.org/officeDocument/2006/relationships/slide" Target="slides/slide134.xml"/><Relationship Id="rId139" Type="http://schemas.openxmlformats.org/officeDocument/2006/relationships/slide" Target="slides/slide135.xml"/><Relationship Id="rId140" Type="http://schemas.openxmlformats.org/officeDocument/2006/relationships/slide" Target="slides/slide136.xml"/><Relationship Id="rId141" Type="http://schemas.openxmlformats.org/officeDocument/2006/relationships/slide" Target="slides/slide137.xml"/><Relationship Id="rId142" Type="http://schemas.openxmlformats.org/officeDocument/2006/relationships/slide" Target="slides/slide138.xml"/><Relationship Id="rId143" Type="http://schemas.openxmlformats.org/officeDocument/2006/relationships/slide" Target="slides/slide139.xml"/><Relationship Id="rId144" Type="http://schemas.openxmlformats.org/officeDocument/2006/relationships/slide" Target="slides/slide140.xml"/><Relationship Id="rId145" Type="http://schemas.openxmlformats.org/officeDocument/2006/relationships/slide" Target="slides/slide141.xml"/><Relationship Id="rId146" Type="http://schemas.openxmlformats.org/officeDocument/2006/relationships/slide" Target="slides/slide142.xml"/><Relationship Id="rId147" Type="http://schemas.openxmlformats.org/officeDocument/2006/relationships/slide" Target="slides/slide143.xml"/><Relationship Id="rId148" Type="http://schemas.openxmlformats.org/officeDocument/2006/relationships/slide" Target="slides/slide144.xml"/><Relationship Id="rId149" Type="http://schemas.openxmlformats.org/officeDocument/2006/relationships/slide" Target="slides/slide145.xml"/><Relationship Id="rId150" Type="http://schemas.openxmlformats.org/officeDocument/2006/relationships/slide" Target="slides/slide146.xml"/><Relationship Id="rId151" Type="http://schemas.openxmlformats.org/officeDocument/2006/relationships/slide" Target="slides/slide147.xml"/><Relationship Id="rId152" Type="http://schemas.openxmlformats.org/officeDocument/2006/relationships/slide" Target="slides/slide148.xml"/><Relationship Id="rId153" Type="http://schemas.openxmlformats.org/officeDocument/2006/relationships/slide" Target="slides/slide149.xml"/><Relationship Id="rId154" Type="http://schemas.openxmlformats.org/officeDocument/2006/relationships/slide" Target="slides/slide150.xml"/><Relationship Id="rId155" Type="http://schemas.openxmlformats.org/officeDocument/2006/relationships/slide" Target="slides/slide151.xml"/><Relationship Id="rId156" Type="http://schemas.openxmlformats.org/officeDocument/2006/relationships/slide" Target="slides/slide152.xml"/><Relationship Id="rId157" Type="http://schemas.openxmlformats.org/officeDocument/2006/relationships/slide" Target="slides/slide153.xml"/><Relationship Id="rId158" Type="http://schemas.openxmlformats.org/officeDocument/2006/relationships/slide" Target="slides/slide154.xml"/><Relationship Id="rId159" Type="http://schemas.openxmlformats.org/officeDocument/2006/relationships/slide" Target="slides/slide155.xml"/><Relationship Id="rId160" Type="http://schemas.openxmlformats.org/officeDocument/2006/relationships/slide" Target="slides/slide156.xml"/><Relationship Id="rId161" Type="http://schemas.openxmlformats.org/officeDocument/2006/relationships/slide" Target="slides/slide157.xml"/><Relationship Id="rId162" Type="http://schemas.openxmlformats.org/officeDocument/2006/relationships/slide" Target="slides/slide158.xml"/><Relationship Id="rId163" Type="http://schemas.openxmlformats.org/officeDocument/2006/relationships/slide" Target="slides/slide159.xml"/><Relationship Id="rId164" Type="http://schemas.openxmlformats.org/officeDocument/2006/relationships/slide" Target="slides/slide160.xml"/><Relationship Id="rId165" Type="http://schemas.openxmlformats.org/officeDocument/2006/relationships/slide" Target="slides/slide161.xml"/><Relationship Id="rId166" Type="http://schemas.openxmlformats.org/officeDocument/2006/relationships/slide" Target="slides/slide162.xml"/><Relationship Id="rId167" Type="http://schemas.openxmlformats.org/officeDocument/2006/relationships/slide" Target="slides/slide163.xml"/><Relationship Id="rId168" Type="http://schemas.openxmlformats.org/officeDocument/2006/relationships/slide" Target="slides/slide164.xml"/><Relationship Id="rId169" Type="http://schemas.openxmlformats.org/officeDocument/2006/relationships/slide" Target="slides/slide165.xml"/><Relationship Id="rId170" Type="http://schemas.openxmlformats.org/officeDocument/2006/relationships/slide" Target="slides/slide166.xml"/><Relationship Id="rId171" Type="http://schemas.openxmlformats.org/officeDocument/2006/relationships/slide" Target="slides/slide167.xml"/><Relationship Id="rId172" Type="http://schemas.openxmlformats.org/officeDocument/2006/relationships/slide" Target="slides/slide168.xml"/><Relationship Id="rId173" Type="http://schemas.openxmlformats.org/officeDocument/2006/relationships/slide" Target="slides/slide169.xml"/><Relationship Id="rId174" Type="http://schemas.openxmlformats.org/officeDocument/2006/relationships/slide" Target="slides/slide170.xml"/><Relationship Id="rId175" Type="http://schemas.openxmlformats.org/officeDocument/2006/relationships/slide" Target="slides/slide171.xml"/><Relationship Id="rId176" Type="http://schemas.openxmlformats.org/officeDocument/2006/relationships/slide" Target="slides/slide172.xml"/><Relationship Id="rId177" Type="http://schemas.openxmlformats.org/officeDocument/2006/relationships/slide" Target="slides/slide173.xml"/><Relationship Id="rId178" Type="http://schemas.openxmlformats.org/officeDocument/2006/relationships/slide" Target="slides/slide174.xml"/><Relationship Id="rId179" Type="http://schemas.openxmlformats.org/officeDocument/2006/relationships/slide" Target="slides/slide175.xml"/><Relationship Id="rId180" Type="http://schemas.openxmlformats.org/officeDocument/2006/relationships/slide" Target="slides/slide176.xml"/><Relationship Id="rId181" Type="http://schemas.openxmlformats.org/officeDocument/2006/relationships/slide" Target="slides/slide177.xml"/><Relationship Id="rId182" Type="http://schemas.openxmlformats.org/officeDocument/2006/relationships/slide" Target="slides/slide178.xml"/><Relationship Id="rId183" Type="http://schemas.openxmlformats.org/officeDocument/2006/relationships/slide" Target="slides/slide179.xml"/><Relationship Id="rId184" Type="http://schemas.openxmlformats.org/officeDocument/2006/relationships/slide" Target="slides/slide180.xml"/><Relationship Id="rId185" Type="http://schemas.openxmlformats.org/officeDocument/2006/relationships/slide" Target="slides/slide181.xml"/><Relationship Id="rId186" Type="http://schemas.openxmlformats.org/officeDocument/2006/relationships/slide" Target="slides/slide182.xml"/><Relationship Id="rId187" Type="http://schemas.openxmlformats.org/officeDocument/2006/relationships/slide" Target="slides/slide183.xml"/><Relationship Id="rId188" Type="http://schemas.openxmlformats.org/officeDocument/2006/relationships/slide" Target="slides/slide184.xml"/><Relationship Id="rId189" Type="http://schemas.openxmlformats.org/officeDocument/2006/relationships/slide" Target="slides/slide185.xml"/><Relationship Id="rId190" Type="http://schemas.openxmlformats.org/officeDocument/2006/relationships/slide" Target="slides/slide186.xml"/><Relationship Id="rId191" Type="http://schemas.openxmlformats.org/officeDocument/2006/relationships/slide" Target="slides/slide187.xml"/><Relationship Id="rId192" Type="http://schemas.openxmlformats.org/officeDocument/2006/relationships/slide" Target="slides/slide188.xml"/><Relationship Id="rId193" Type="http://schemas.openxmlformats.org/officeDocument/2006/relationships/slide" Target="slides/slide189.xml"/><Relationship Id="rId194" Type="http://schemas.openxmlformats.org/officeDocument/2006/relationships/slide" Target="slides/slide190.xml"/><Relationship Id="rId195" Type="http://schemas.openxmlformats.org/officeDocument/2006/relationships/slide" Target="slides/slide191.xml"/><Relationship Id="rId196" Type="http://schemas.openxmlformats.org/officeDocument/2006/relationships/slide" Target="slides/slide192.xml"/><Relationship Id="rId197" Type="http://schemas.openxmlformats.org/officeDocument/2006/relationships/slide" Target="slides/slide193.xml"/><Relationship Id="rId198" Type="http://schemas.openxmlformats.org/officeDocument/2006/relationships/slide" Target="slides/slide194.xml"/><Relationship Id="rId199" Type="http://schemas.openxmlformats.org/officeDocument/2006/relationships/slide" Target="slides/slide195.xml"/><Relationship Id="rId200" Type="http://schemas.openxmlformats.org/officeDocument/2006/relationships/slide" Target="slides/slide196.xml"/><Relationship Id="rId201" Type="http://schemas.openxmlformats.org/officeDocument/2006/relationships/slide" Target="slides/slide197.xml"/><Relationship Id="rId202" Type="http://schemas.openxmlformats.org/officeDocument/2006/relationships/slide" Target="slides/slide198.xml"/><Relationship Id="rId203" Type="http://schemas.openxmlformats.org/officeDocument/2006/relationships/slide" Target="slides/slide199.xml"/><Relationship Id="rId204" Type="http://schemas.openxmlformats.org/officeDocument/2006/relationships/slide" Target="slides/slide200.xml"/><Relationship Id="rId205" Type="http://schemas.openxmlformats.org/officeDocument/2006/relationships/slide" Target="slides/slide201.xml"/><Relationship Id="rId206" Type="http://schemas.openxmlformats.org/officeDocument/2006/relationships/slide" Target="slides/slide202.xml"/><Relationship Id="rId207" Type="http://schemas.openxmlformats.org/officeDocument/2006/relationships/slide" Target="slides/slide203.xml"/><Relationship Id="rId208" Type="http://schemas.openxmlformats.org/officeDocument/2006/relationships/slide" Target="slides/slide204.xml"/><Relationship Id="rId209" Type="http://schemas.openxmlformats.org/officeDocument/2006/relationships/slide" Target="slides/slide205.xml"/><Relationship Id="rId210" Type="http://schemas.openxmlformats.org/officeDocument/2006/relationships/slide" Target="slides/slide206.xml"/><Relationship Id="rId211" Type="http://schemas.openxmlformats.org/officeDocument/2006/relationships/slide" Target="slides/slide207.xml"/><Relationship Id="rId212" Type="http://schemas.openxmlformats.org/officeDocument/2006/relationships/slide" Target="slides/slide208.xml"/><Relationship Id="rId213" Type="http://schemas.openxmlformats.org/officeDocument/2006/relationships/slide" Target="slides/slide209.xml"/><Relationship Id="rId214" Type="http://schemas.openxmlformats.org/officeDocument/2006/relationships/slide" Target="slides/slide210.xml"/><Relationship Id="rId215" Type="http://schemas.openxmlformats.org/officeDocument/2006/relationships/slide" Target="slides/slide211.xml"/><Relationship Id="rId216" Type="http://schemas.openxmlformats.org/officeDocument/2006/relationships/slide" Target="slides/slide212.xml"/><Relationship Id="rId217" Type="http://schemas.openxmlformats.org/officeDocument/2006/relationships/slide" Target="slides/slide213.xml"/><Relationship Id="rId218" Type="http://schemas.openxmlformats.org/officeDocument/2006/relationships/slide" Target="slides/slide214.xml"/><Relationship Id="rId219" Type="http://schemas.openxmlformats.org/officeDocument/2006/relationships/slide" Target="slides/slide215.xml"/><Relationship Id="rId220" Type="http://schemas.openxmlformats.org/officeDocument/2006/relationships/slide" Target="slides/slide216.xml"/><Relationship Id="rId221" Type="http://schemas.openxmlformats.org/officeDocument/2006/relationships/slide" Target="slides/slide217.xml"/><Relationship Id="rId222" Type="http://schemas.openxmlformats.org/officeDocument/2006/relationships/slide" Target="slides/slide218.xml"/><Relationship Id="rId223" Type="http://schemas.openxmlformats.org/officeDocument/2006/relationships/slide" Target="slides/slide219.xml"/><Relationship Id="rId224" Type="http://schemas.openxmlformats.org/officeDocument/2006/relationships/slide" Target="slides/slide220.xml"/><Relationship Id="rId225" Type="http://schemas.openxmlformats.org/officeDocument/2006/relationships/slide" Target="slides/slide221.xml"/><Relationship Id="rId226" Type="http://schemas.openxmlformats.org/officeDocument/2006/relationships/slide" Target="slides/slide222.xml"/><Relationship Id="rId227" Type="http://schemas.openxmlformats.org/officeDocument/2006/relationships/slide" Target="slides/slide223.xml"/><Relationship Id="rId228" Type="http://schemas.openxmlformats.org/officeDocument/2006/relationships/slide" Target="slides/slide224.xml"/><Relationship Id="rId229" Type="http://schemas.openxmlformats.org/officeDocument/2006/relationships/slide" Target="slides/slide225.xml"/><Relationship Id="rId230" Type="http://schemas.openxmlformats.org/officeDocument/2006/relationships/slide" Target="slides/slide226.xml"/><Relationship Id="rId231" Type="http://schemas.openxmlformats.org/officeDocument/2006/relationships/slide" Target="slides/slide227.xml"/><Relationship Id="rId232" Type="http://schemas.openxmlformats.org/officeDocument/2006/relationships/slide" Target="slides/slide228.xml"/><Relationship Id="rId233" Type="http://schemas.openxmlformats.org/officeDocument/2006/relationships/slide" Target="slides/slide229.xml"/><Relationship Id="rId234" Type="http://schemas.openxmlformats.org/officeDocument/2006/relationships/slide" Target="slides/slide230.xml"/><Relationship Id="rId235" Type="http://schemas.openxmlformats.org/officeDocument/2006/relationships/slide" Target="slides/slide231.xml"/><Relationship Id="rId236" Type="http://schemas.openxmlformats.org/officeDocument/2006/relationships/slide" Target="slides/slide232.xml"/><Relationship Id="rId237" Type="http://schemas.openxmlformats.org/officeDocument/2006/relationships/slide" Target="slides/slide233.xml"/><Relationship Id="rId238" Type="http://schemas.openxmlformats.org/officeDocument/2006/relationships/slide" Target="slides/slide234.xml"/><Relationship Id="rId239" Type="http://schemas.openxmlformats.org/officeDocument/2006/relationships/slide" Target="slides/slide235.xml"/><Relationship Id="rId240" Type="http://schemas.openxmlformats.org/officeDocument/2006/relationships/slide" Target="slides/slide236.xml"/><Relationship Id="rId241" Type="http://schemas.openxmlformats.org/officeDocument/2006/relationships/slide" Target="slides/slide237.xml"/><Relationship Id="rId242" Type="http://schemas.openxmlformats.org/officeDocument/2006/relationships/slide" Target="slides/slide238.xml"/><Relationship Id="rId243" Type="http://schemas.openxmlformats.org/officeDocument/2006/relationships/slide" Target="slides/slide239.xml"/><Relationship Id="rId244" Type="http://schemas.openxmlformats.org/officeDocument/2006/relationships/slide" Target="slides/slide240.xml"/><Relationship Id="rId245" Type="http://schemas.openxmlformats.org/officeDocument/2006/relationships/slide" Target="slides/slide241.xml"/><Relationship Id="rId246" Type="http://schemas.openxmlformats.org/officeDocument/2006/relationships/slide" Target="slides/slide242.xml"/><Relationship Id="rId247" Type="http://schemas.openxmlformats.org/officeDocument/2006/relationships/slide" Target="slides/slide243.xml"/><Relationship Id="rId248" Type="http://schemas.openxmlformats.org/officeDocument/2006/relationships/slide" Target="slides/slide244.xml"/><Relationship Id="rId249" Type="http://schemas.openxmlformats.org/officeDocument/2006/relationships/slide" Target="slides/slide245.xml"/><Relationship Id="rId250" Type="http://schemas.openxmlformats.org/officeDocument/2006/relationships/slide" Target="slides/slide246.xml"/><Relationship Id="rId251" Type="http://schemas.openxmlformats.org/officeDocument/2006/relationships/slide" Target="slides/slide247.xml"/><Relationship Id="rId252" Type="http://schemas.openxmlformats.org/officeDocument/2006/relationships/slide" Target="slides/slide248.xml"/><Relationship Id="rId253" Type="http://schemas.openxmlformats.org/officeDocument/2006/relationships/slide" Target="slides/slide249.xml"/><Relationship Id="rId254" Type="http://schemas.openxmlformats.org/officeDocument/2006/relationships/slide" Target="slides/slide250.xml"/><Relationship Id="rId255" Type="http://schemas.openxmlformats.org/officeDocument/2006/relationships/slide" Target="slides/slide251.xml"/><Relationship Id="rId256" Type="http://schemas.openxmlformats.org/officeDocument/2006/relationships/slide" Target="slides/slide252.xml"/><Relationship Id="rId257" Type="http://schemas.openxmlformats.org/officeDocument/2006/relationships/slide" Target="slides/slide253.xml"/><Relationship Id="rId258" Type="http://schemas.openxmlformats.org/officeDocument/2006/relationships/slide" Target="slides/slide254.xml"/><Relationship Id="rId259" Type="http://schemas.openxmlformats.org/officeDocument/2006/relationships/slide" Target="slides/slide255.xml"/><Relationship Id="rId260" Type="http://schemas.openxmlformats.org/officeDocument/2006/relationships/slide" Target="slides/slide256.xml"/><Relationship Id="rId261" Type="http://schemas.openxmlformats.org/officeDocument/2006/relationships/slide" Target="slides/slide257.xml"/><Relationship Id="rId262" Type="http://schemas.openxmlformats.org/officeDocument/2006/relationships/slide" Target="slides/slide258.xml"/><Relationship Id="rId263" Type="http://schemas.openxmlformats.org/officeDocument/2006/relationships/slide" Target="slides/slide259.xml"/><Relationship Id="rId264" Type="http://schemas.openxmlformats.org/officeDocument/2006/relationships/slide" Target="slides/slide260.xml"/><Relationship Id="rId265" Type="http://schemas.openxmlformats.org/officeDocument/2006/relationships/slide" Target="slides/slide261.xml"/><Relationship Id="rId266" Type="http://schemas.openxmlformats.org/officeDocument/2006/relationships/slide" Target="slides/slide262.xml"/><Relationship Id="rId267" Type="http://schemas.openxmlformats.org/officeDocument/2006/relationships/slide" Target="slides/slide263.xml"/><Relationship Id="rId268" Type="http://schemas.openxmlformats.org/officeDocument/2006/relationships/slide" Target="slides/slide264.xml"/><Relationship Id="rId269" Type="http://schemas.openxmlformats.org/officeDocument/2006/relationships/slide" Target="slides/slide265.xml"/><Relationship Id="rId270" Type="http://schemas.openxmlformats.org/officeDocument/2006/relationships/slide" Target="slides/slide266.xml"/><Relationship Id="rId271" Type="http://schemas.openxmlformats.org/officeDocument/2006/relationships/slide" Target="slides/slide267.xml"/><Relationship Id="rId272" Type="http://schemas.openxmlformats.org/officeDocument/2006/relationships/slide" Target="slides/slide268.xml"/><Relationship Id="rId273" Type="http://schemas.openxmlformats.org/officeDocument/2006/relationships/slide" Target="slides/slide269.xml"/><Relationship Id="rId274" Type="http://schemas.openxmlformats.org/officeDocument/2006/relationships/slide" Target="slides/slide270.xml"/><Relationship Id="rId275" Type="http://schemas.openxmlformats.org/officeDocument/2006/relationships/slide" Target="slides/slide271.xml"/><Relationship Id="rId276" Type="http://schemas.openxmlformats.org/officeDocument/2006/relationships/slide" Target="slides/slide272.xml"/><Relationship Id="rId277" Type="http://schemas.openxmlformats.org/officeDocument/2006/relationships/slide" Target="slides/slide273.xml"/><Relationship Id="rId278" Type="http://schemas.openxmlformats.org/officeDocument/2006/relationships/slide" Target="slides/slide274.xml"/><Relationship Id="rId279" Type="http://schemas.openxmlformats.org/officeDocument/2006/relationships/slide" Target="slides/slide275.xml"/><Relationship Id="rId280" Type="http://schemas.openxmlformats.org/officeDocument/2006/relationships/slide" Target="slides/slide276.xml"/><Relationship Id="rId281" Type="http://schemas.openxmlformats.org/officeDocument/2006/relationships/slide" Target="slides/slide277.xml"/><Relationship Id="rId282" Type="http://schemas.openxmlformats.org/officeDocument/2006/relationships/slide" Target="slides/slide278.xml"/><Relationship Id="rId283" Type="http://schemas.openxmlformats.org/officeDocument/2006/relationships/slide" Target="slides/slide279.xml"/><Relationship Id="rId284" Type="http://schemas.openxmlformats.org/officeDocument/2006/relationships/slide" Target="slides/slide280.xml"/><Relationship Id="rId285" Type="http://schemas.openxmlformats.org/officeDocument/2006/relationships/slide" Target="slides/slide281.xml"/><Relationship Id="rId286" Type="http://schemas.openxmlformats.org/officeDocument/2006/relationships/slide" Target="slides/slide282.xml"/><Relationship Id="rId287" Type="http://schemas.openxmlformats.org/officeDocument/2006/relationships/slide" Target="slides/slide283.xml"/><Relationship Id="rId288" Type="http://schemas.openxmlformats.org/officeDocument/2006/relationships/slide" Target="slides/slide284.xml"/><Relationship Id="rId289" Type="http://schemas.openxmlformats.org/officeDocument/2006/relationships/slide" Target="slides/slide285.xml"/><Relationship Id="rId290" Type="http://schemas.openxmlformats.org/officeDocument/2006/relationships/slide" Target="slides/slide286.xml"/><Relationship Id="rId291" Type="http://schemas.openxmlformats.org/officeDocument/2006/relationships/slide" Target="slides/slide287.xml"/><Relationship Id="rId292" Type="http://schemas.openxmlformats.org/officeDocument/2006/relationships/slide" Target="slides/slide288.xml"/><Relationship Id="rId293" Type="http://schemas.openxmlformats.org/officeDocument/2006/relationships/slide" Target="slides/slide289.xml"/><Relationship Id="rId294" Type="http://schemas.openxmlformats.org/officeDocument/2006/relationships/slide" Target="slides/slide290.xml"/><Relationship Id="rId295" Type="http://schemas.openxmlformats.org/officeDocument/2006/relationships/slide" Target="slides/slide291.xml"/><Relationship Id="rId296" Type="http://schemas.openxmlformats.org/officeDocument/2006/relationships/slide" Target="slides/slide292.xml"/><Relationship Id="rId297" Type="http://schemas.openxmlformats.org/officeDocument/2006/relationships/slide" Target="slides/slide293.xml"/><Relationship Id="rId298" Type="http://schemas.openxmlformats.org/officeDocument/2006/relationships/slide" Target="slides/slide294.xml"/><Relationship Id="rId299" Type="http://schemas.openxmlformats.org/officeDocument/2006/relationships/slide" Target="slides/slide295.xml"/><Relationship Id="rId300" Type="http://schemas.openxmlformats.org/officeDocument/2006/relationships/slide" Target="slides/slide296.xml"/><Relationship Id="rId301" Type="http://schemas.openxmlformats.org/officeDocument/2006/relationships/slide" Target="slides/slide297.xml"/><Relationship Id="rId302" Type="http://schemas.openxmlformats.org/officeDocument/2006/relationships/slide" Target="slides/slide298.xml"/><Relationship Id="rId303" Type="http://schemas.openxmlformats.org/officeDocument/2006/relationships/slide" Target="slides/slide299.xml"/><Relationship Id="rId304" Type="http://schemas.openxmlformats.org/officeDocument/2006/relationships/slide" Target="slides/slide300.xml"/><Relationship Id="rId305" Type="http://schemas.openxmlformats.org/officeDocument/2006/relationships/slide" Target="slides/slide301.xml"/><Relationship Id="rId306" Type="http://schemas.openxmlformats.org/officeDocument/2006/relationships/slide" Target="slides/slide302.xml"/><Relationship Id="rId307" Type="http://schemas.openxmlformats.org/officeDocument/2006/relationships/slide" Target="slides/slide303.xml"/><Relationship Id="rId308" Type="http://schemas.openxmlformats.org/officeDocument/2006/relationships/slide" Target="slides/slide304.xml"/><Relationship Id="rId309" Type="http://schemas.openxmlformats.org/officeDocument/2006/relationships/slide" Target="slides/slide305.xml"/><Relationship Id="rId310" Type="http://schemas.openxmlformats.org/officeDocument/2006/relationships/slide" Target="slides/slide306.xml"/><Relationship Id="rId311" Type="http://schemas.openxmlformats.org/officeDocument/2006/relationships/slide" Target="slides/slide307.xml"/><Relationship Id="rId312" Type="http://schemas.openxmlformats.org/officeDocument/2006/relationships/slide" Target="slides/slide308.xml"/><Relationship Id="rId313" Type="http://schemas.openxmlformats.org/officeDocument/2006/relationships/slide" Target="slides/slide309.xml"/><Relationship Id="rId314" Type="http://schemas.openxmlformats.org/officeDocument/2006/relationships/slide" Target="slides/slide310.xml"/><Relationship Id="rId315" Type="http://schemas.openxmlformats.org/officeDocument/2006/relationships/slide" Target="slides/slide311.xml"/><Relationship Id="rId316" Type="http://schemas.openxmlformats.org/officeDocument/2006/relationships/slide" Target="slides/slide312.xml"/><Relationship Id="rId317" Type="http://schemas.openxmlformats.org/officeDocument/2006/relationships/slide" Target="slides/slide313.xml"/><Relationship Id="rId318" Type="http://schemas.openxmlformats.org/officeDocument/2006/relationships/slide" Target="slides/slide314.xml"/><Relationship Id="rId319" Type="http://schemas.openxmlformats.org/officeDocument/2006/relationships/slide" Target="slides/slide315.xml"/><Relationship Id="rId320" Type="http://schemas.openxmlformats.org/officeDocument/2006/relationships/slide" Target="slides/slide316.xml"/><Relationship Id="rId321" Type="http://schemas.openxmlformats.org/officeDocument/2006/relationships/slide" Target="slides/slide317.xml"/><Relationship Id="rId322" Type="http://schemas.openxmlformats.org/officeDocument/2006/relationships/slide" Target="slides/slide318.xml"/><Relationship Id="rId323" Type="http://schemas.openxmlformats.org/officeDocument/2006/relationships/slide" Target="slides/slide319.xml"/><Relationship Id="rId324" Type="http://schemas.openxmlformats.org/officeDocument/2006/relationships/slide" Target="slides/slide320.xml"/><Relationship Id="rId325" Type="http://schemas.openxmlformats.org/officeDocument/2006/relationships/slide" Target="slides/slide321.xml"/><Relationship Id="rId326" Type="http://schemas.openxmlformats.org/officeDocument/2006/relationships/slide" Target="slides/slide322.xml"/><Relationship Id="rId327" Type="http://schemas.openxmlformats.org/officeDocument/2006/relationships/slide" Target="slides/slide323.xml"/><Relationship Id="rId328" Type="http://schemas.openxmlformats.org/officeDocument/2006/relationships/slide" Target="slides/slide324.xml"/><Relationship Id="rId329" Type="http://schemas.openxmlformats.org/officeDocument/2006/relationships/slide" Target="slides/slide325.xml"/><Relationship Id="rId330" Type="http://schemas.openxmlformats.org/officeDocument/2006/relationships/slide" Target="slides/slide326.xml"/><Relationship Id="rId331" Type="http://schemas.openxmlformats.org/officeDocument/2006/relationships/slide" Target="slides/slide327.xml"/><Relationship Id="rId332" Type="http://schemas.openxmlformats.org/officeDocument/2006/relationships/slide" Target="slides/slide328.xml"/><Relationship Id="rId333" Type="http://schemas.openxmlformats.org/officeDocument/2006/relationships/slide" Target="slides/slide329.xml"/><Relationship Id="rId334" Type="http://schemas.openxmlformats.org/officeDocument/2006/relationships/slide" Target="slides/slide330.xml"/><Relationship Id="rId335" Type="http://schemas.openxmlformats.org/officeDocument/2006/relationships/slide" Target="slides/slide331.xml"/><Relationship Id="rId336" Type="http://schemas.openxmlformats.org/officeDocument/2006/relationships/slide" Target="slides/slide332.xml"/><Relationship Id="rId337" Type="http://schemas.openxmlformats.org/officeDocument/2006/relationships/slide" Target="slides/slide333.xml"/><Relationship Id="rId338" Type="http://schemas.openxmlformats.org/officeDocument/2006/relationships/slide" Target="slides/slide334.xml"/><Relationship Id="rId339" Type="http://schemas.openxmlformats.org/officeDocument/2006/relationships/slide" Target="slides/slide335.xml"/><Relationship Id="rId340" Type="http://schemas.openxmlformats.org/officeDocument/2006/relationships/slide" Target="slides/slide336.xml"/><Relationship Id="rId341" Type="http://schemas.openxmlformats.org/officeDocument/2006/relationships/slide" Target="slides/slide337.xml"/><Relationship Id="rId342" Type="http://schemas.openxmlformats.org/officeDocument/2006/relationships/slide" Target="slides/slide338.xml"/><Relationship Id="rId343" Type="http://schemas.openxmlformats.org/officeDocument/2006/relationships/slide" Target="slides/slide339.xml"/><Relationship Id="rId344" Type="http://schemas.openxmlformats.org/officeDocument/2006/relationships/slide" Target="slides/slide340.xml"/><Relationship Id="rId345" Type="http://schemas.openxmlformats.org/officeDocument/2006/relationships/slide" Target="slides/slide341.xml"/><Relationship Id="rId346" Type="http://schemas.openxmlformats.org/officeDocument/2006/relationships/slide" Target="slides/slide342.xml"/><Relationship Id="rId347" Type="http://schemas.openxmlformats.org/officeDocument/2006/relationships/slide" Target="slides/slide343.xml"/><Relationship Id="rId348" Type="http://schemas.openxmlformats.org/officeDocument/2006/relationships/slide" Target="slides/slide344.xml"/><Relationship Id="rId349" Type="http://schemas.openxmlformats.org/officeDocument/2006/relationships/slide" Target="slides/slide345.xml"/><Relationship Id="rId350" Type="http://schemas.openxmlformats.org/officeDocument/2006/relationships/slide" Target="slides/slide346.xml"/><Relationship Id="rId351" Type="http://schemas.openxmlformats.org/officeDocument/2006/relationships/slide" Target="slides/slide347.xml"/><Relationship Id="rId352" Type="http://schemas.openxmlformats.org/officeDocument/2006/relationships/slide" Target="slides/slide348.xml"/><Relationship Id="rId353" Type="http://schemas.openxmlformats.org/officeDocument/2006/relationships/slide" Target="slides/slide349.xml"/><Relationship Id="rId354" Type="http://schemas.openxmlformats.org/officeDocument/2006/relationships/slide" Target="slides/slide350.xml"/><Relationship Id="rId355" Type="http://schemas.openxmlformats.org/officeDocument/2006/relationships/slide" Target="slides/slide351.xml"/><Relationship Id="rId356" Type="http://schemas.openxmlformats.org/officeDocument/2006/relationships/slide" Target="slides/slide352.xml"/><Relationship Id="rId357" Type="http://schemas.openxmlformats.org/officeDocument/2006/relationships/slide" Target="slides/slide353.xml"/><Relationship Id="rId358" Type="http://schemas.openxmlformats.org/officeDocument/2006/relationships/slide" Target="slides/slide354.xml"/><Relationship Id="rId359" Type="http://schemas.openxmlformats.org/officeDocument/2006/relationships/slide" Target="slides/slide355.xml"/><Relationship Id="rId360" Type="http://schemas.openxmlformats.org/officeDocument/2006/relationships/slide" Target="slides/slide356.xml"/><Relationship Id="rId361" Type="http://schemas.openxmlformats.org/officeDocument/2006/relationships/slide" Target="slides/slide357.xml"/><Relationship Id="rId362" Type="http://schemas.openxmlformats.org/officeDocument/2006/relationships/slide" Target="slides/slide358.xml"/><Relationship Id="rId363" Type="http://schemas.openxmlformats.org/officeDocument/2006/relationships/slide" Target="slides/slide359.xml"/><Relationship Id="rId364" Type="http://schemas.openxmlformats.org/officeDocument/2006/relationships/slide" Target="slides/slide360.xml"/><Relationship Id="rId365" Type="http://schemas.openxmlformats.org/officeDocument/2006/relationships/slide" Target="slides/slide361.xml"/><Relationship Id="rId366" Type="http://schemas.openxmlformats.org/officeDocument/2006/relationships/slide" Target="slides/slide362.xml"/><Relationship Id="rId367" Type="http://schemas.openxmlformats.org/officeDocument/2006/relationships/slide" Target="slides/slide363.xml"/><Relationship Id="rId368" Type="http://schemas.openxmlformats.org/officeDocument/2006/relationships/slide" Target="slides/slide364.xml"/><Relationship Id="rId369" Type="http://schemas.openxmlformats.org/officeDocument/2006/relationships/slide" Target="slides/slide365.xml"/><Relationship Id="rId370" Type="http://schemas.openxmlformats.org/officeDocument/2006/relationships/slide" Target="slides/slide366.xml"/><Relationship Id="rId371" Type="http://schemas.openxmlformats.org/officeDocument/2006/relationships/slide" Target="slides/slide367.xml"/><Relationship Id="rId372" Type="http://schemas.openxmlformats.org/officeDocument/2006/relationships/slide" Target="slides/slide368.xml"/><Relationship Id="rId373" Type="http://schemas.openxmlformats.org/officeDocument/2006/relationships/slide" Target="slides/slide369.xml"/><Relationship Id="rId374" Type="http://schemas.openxmlformats.org/officeDocument/2006/relationships/slide" Target="slides/slide370.xml"/><Relationship Id="rId375" Type="http://schemas.openxmlformats.org/officeDocument/2006/relationships/slide" Target="slides/slide371.xml"/><Relationship Id="rId376" Type="http://schemas.openxmlformats.org/officeDocument/2006/relationships/slide" Target="slides/slide372.xml"/><Relationship Id="rId377" Type="http://schemas.openxmlformats.org/officeDocument/2006/relationships/slide" Target="slides/slide373.xml"/><Relationship Id="rId378" Type="http://schemas.openxmlformats.org/officeDocument/2006/relationships/slide" Target="slides/slide374.xml"/><Relationship Id="rId379" Type="http://schemas.openxmlformats.org/officeDocument/2006/relationships/slide" Target="slides/slide375.xml"/><Relationship Id="rId380" Type="http://schemas.openxmlformats.org/officeDocument/2006/relationships/slide" Target="slides/slide376.xml"/><Relationship Id="rId381" Type="http://schemas.openxmlformats.org/officeDocument/2006/relationships/slide" Target="slides/slide377.xml"/><Relationship Id="rId382" Type="http://schemas.openxmlformats.org/officeDocument/2006/relationships/slide" Target="slides/slide378.xml"/><Relationship Id="rId383" Type="http://schemas.openxmlformats.org/officeDocument/2006/relationships/slide" Target="slides/slide379.xml"/><Relationship Id="rId384" Type="http://schemas.openxmlformats.org/officeDocument/2006/relationships/slide" Target="slides/slide380.xml"/><Relationship Id="rId385" Type="http://schemas.openxmlformats.org/officeDocument/2006/relationships/slide" Target="slides/slide381.xml"/><Relationship Id="rId386" Type="http://schemas.openxmlformats.org/officeDocument/2006/relationships/slide" Target="slides/slide382.xml"/><Relationship Id="rId387" Type="http://schemas.openxmlformats.org/officeDocument/2006/relationships/slide" Target="slides/slide383.xml"/><Relationship Id="rId388" Type="http://schemas.openxmlformats.org/officeDocument/2006/relationships/slide" Target="slides/slide384.xml"/><Relationship Id="rId389" Type="http://schemas.openxmlformats.org/officeDocument/2006/relationships/slide" Target="slides/slide385.xml"/><Relationship Id="rId390" Type="http://schemas.openxmlformats.org/officeDocument/2006/relationships/slide" Target="slides/slide386.xml"/><Relationship Id="rId391" Type="http://schemas.openxmlformats.org/officeDocument/2006/relationships/slide" Target="slides/slide387.xml"/><Relationship Id="rId392" Type="http://schemas.openxmlformats.org/officeDocument/2006/relationships/slide" Target="slides/slide388.xml"/><Relationship Id="rId393" Type="http://schemas.openxmlformats.org/officeDocument/2006/relationships/slide" Target="slides/slide389.xml"/><Relationship Id="rId394" Type="http://schemas.openxmlformats.org/officeDocument/2006/relationships/slide" Target="slides/slide390.xml"/><Relationship Id="rId395" Type="http://schemas.openxmlformats.org/officeDocument/2006/relationships/slide" Target="slides/slide391.xml"/><Relationship Id="rId396" Type="http://schemas.openxmlformats.org/officeDocument/2006/relationships/slide" Target="slides/slide392.xml"/><Relationship Id="rId397" Type="http://schemas.openxmlformats.org/officeDocument/2006/relationships/slide" Target="slides/slide393.xml"/><Relationship Id="rId398" Type="http://schemas.openxmlformats.org/officeDocument/2006/relationships/slide" Target="slides/slide394.xml"/><Relationship Id="rId399" Type="http://schemas.openxmlformats.org/officeDocument/2006/relationships/slide" Target="slides/slide395.xml"/><Relationship Id="rId400" Type="http://schemas.openxmlformats.org/officeDocument/2006/relationships/notesMaster" Target="notesMasters/notesMaster1.xml"/><Relationship Id="rId401" Type="http://schemas.openxmlformats.org/officeDocument/2006/relationships/presProps" Target="presProps.xml"/><Relationship Id="rId402" Type="http://schemas.openxmlformats.org/officeDocument/2006/relationships/viewProps" Target="viewProps.xml"/><Relationship Id="rId403" Type="http://schemas.openxmlformats.org/officeDocument/2006/relationships/theme" Target="theme/theme1.xml"/><Relationship Id="rId404" Type="http://schemas.openxmlformats.org/officeDocument/2006/relationships/tableStyles" Target="tableStyles.xml"/><Relationship Id="rId405" Type="http://schemas.microsoft.com/office/2015/10/relationships/revisionInfo" Target="revisionInfo.xml"/><Relationship Id="rId406"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microsoft.com/office/2011/relationships/chartStyle" Target="style2.xml"/><Relationship Id="rId2" Type="http://schemas.microsoft.com/office/2011/relationships/chartColorStyle" Target="colors2.xml"/><Relationship Id="rId3"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microsoft.com/office/2011/relationships/chartStyle" Target="style3.xml"/><Relationship Id="rId2" Type="http://schemas.microsoft.com/office/2011/relationships/chartColorStyle" Target="colors3.xml"/><Relationship Id="rId3"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microsoft.com/office/2011/relationships/chartStyle" Target="style4.xml"/><Relationship Id="rId2" Type="http://schemas.microsoft.com/office/2011/relationships/chartColorStyle" Target="colors4.xml"/><Relationship Id="rId3"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microsoft.com/office/2011/relationships/chartStyle" Target="style5.xml"/><Relationship Id="rId2" Type="http://schemas.microsoft.com/office/2011/relationships/chartColorStyle" Target="colors5.xml"/><Relationship Id="rId3"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microsoft.com/office/2011/relationships/chartStyle" Target="style6.xml"/><Relationship Id="rId2" Type="http://schemas.microsoft.com/office/2011/relationships/chartColorStyle" Target="colors6.xml"/><Relationship Id="rId3"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microsoft.com/office/2011/relationships/chartStyle" Target="style7.xml"/><Relationship Id="rId2" Type="http://schemas.microsoft.com/office/2011/relationships/chartColorStyle" Target="colors7.xml"/><Relationship Id="rId3"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microsoft.com/office/2011/relationships/chartStyle" Target="style8.xml"/><Relationship Id="rId2" Type="http://schemas.microsoft.com/office/2011/relationships/chartColorStyle" Target="colors8.xml"/><Relationship Id="rId3"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microsoft.com/office/2011/relationships/chartStyle" Target="style9.xml"/><Relationship Id="rId2" Type="http://schemas.microsoft.com/office/2011/relationships/chartColorStyle" Target="colors9.xml"/><Relationship Id="rId3"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microsoft.com/office/2011/relationships/chartStyle" Target="style10.xml"/><Relationship Id="rId2" Type="http://schemas.microsoft.com/office/2011/relationships/chartColorStyle" Target="colors10.xml"/><Relationship Id="rId3"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microsoft.com/office/2011/relationships/chartStyle" Target="style11.xml"/><Relationship Id="rId2" Type="http://schemas.microsoft.com/office/2011/relationships/chartColorStyle" Target="colors11.xml"/><Relationship Id="rId3"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microsoft.com/office/2011/relationships/chartStyle" Target="style12.xml"/><Relationship Id="rId2" Type="http://schemas.microsoft.com/office/2011/relationships/chartColorStyle" Target="colors12.xml"/><Relationship Id="rId3"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microsoft.com/office/2011/relationships/chartStyle" Target="style13.xml"/><Relationship Id="rId2" Type="http://schemas.microsoft.com/office/2011/relationships/chartColorStyle" Target="colors13.xml"/><Relationship Id="rId3"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microsoft.com/office/2011/relationships/chartStyle" Target="style14.xml"/><Relationship Id="rId2" Type="http://schemas.microsoft.com/office/2011/relationships/chartColorStyle" Target="colors14.xml"/><Relationship Id="rId3"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microsoft.com/office/2011/relationships/chartStyle" Target="style15.xml"/><Relationship Id="rId2" Type="http://schemas.microsoft.com/office/2011/relationships/chartColorStyle" Target="colors15.xml"/><Relationship Id="rId3"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microsoft.com/office/2011/relationships/chartStyle" Target="style16.xml"/><Relationship Id="rId2" Type="http://schemas.microsoft.com/office/2011/relationships/chartColorStyle" Target="colors16.xml"/><Relationship Id="rId3"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microsoft.com/office/2011/relationships/chartStyle" Target="style17.xml"/><Relationship Id="rId2" Type="http://schemas.microsoft.com/office/2011/relationships/chartColorStyle" Target="colors17.xml"/><Relationship Id="rId3"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microsoft.com/office/2011/relationships/chartStyle" Target="style18.xml"/><Relationship Id="rId2" Type="http://schemas.microsoft.com/office/2011/relationships/chartColorStyle" Target="colors18.xml"/><Relationship Id="rId3"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microsoft.com/office/2011/relationships/chartStyle" Target="style19.xml"/><Relationship Id="rId2" Type="http://schemas.microsoft.com/office/2011/relationships/chartColorStyle" Target="colors19.xml"/><Relationship Id="rId3"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microsoft.com/office/2011/relationships/chartStyle" Target="style20.xml"/><Relationship Id="rId2" Type="http://schemas.microsoft.com/office/2011/relationships/chartColorStyle" Target="colors20.xml"/><Relationship Id="rId3"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microsoft.com/office/2011/relationships/chartStyle" Target="style21.xml"/><Relationship Id="rId2" Type="http://schemas.microsoft.com/office/2011/relationships/chartColorStyle" Target="colors21.xml"/><Relationship Id="rId3"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microsoft.com/office/2011/relationships/chartStyle" Target="style22.xml"/><Relationship Id="rId2" Type="http://schemas.microsoft.com/office/2011/relationships/chartColorStyle" Target="colors22.xml"/><Relationship Id="rId3"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microsoft.com/office/2011/relationships/chartStyle" Target="style23.xml"/><Relationship Id="rId2" Type="http://schemas.microsoft.com/office/2011/relationships/chartColorStyle" Target="colors23.xml"/><Relationship Id="rId3"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microsoft.com/office/2011/relationships/chartStyle" Target="style24.xml"/><Relationship Id="rId2" Type="http://schemas.microsoft.com/office/2011/relationships/chartColorStyle" Target="colors24.xml"/><Relationship Id="rId3"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microsoft.com/office/2011/relationships/chartStyle" Target="style25.xml"/><Relationship Id="rId2" Type="http://schemas.microsoft.com/office/2011/relationships/chartColorStyle" Target="colors25.xml"/><Relationship Id="rId3"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microsoft.com/office/2011/relationships/chartStyle" Target="style26.xml"/><Relationship Id="rId2" Type="http://schemas.microsoft.com/office/2011/relationships/chartColorStyle" Target="colors26.xml"/><Relationship Id="rId3"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microsoft.com/office/2011/relationships/chartStyle" Target="style27.xml"/><Relationship Id="rId2" Type="http://schemas.microsoft.com/office/2011/relationships/chartColorStyle" Target="colors27.xml"/><Relationship Id="rId3"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microsoft.com/office/2011/relationships/chartStyle" Target="style28.xml"/><Relationship Id="rId2" Type="http://schemas.microsoft.com/office/2011/relationships/chartColorStyle" Target="colors28.xml"/><Relationship Id="rId3"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microsoft.com/office/2011/relationships/chartStyle" Target="style29.xml"/><Relationship Id="rId2" Type="http://schemas.microsoft.com/office/2011/relationships/chartColorStyle" Target="colors29.xml"/><Relationship Id="rId3"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microsoft.com/office/2011/relationships/chartStyle" Target="style30.xml"/><Relationship Id="rId2" Type="http://schemas.microsoft.com/office/2011/relationships/chartColorStyle" Target="colors30.xml"/><Relationship Id="rId3"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microsoft.com/office/2011/relationships/chartStyle" Target="style31.xml"/><Relationship Id="rId2" Type="http://schemas.microsoft.com/office/2011/relationships/chartColorStyle" Target="colors31.xml"/><Relationship Id="rId3"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microsoft.com/office/2011/relationships/chartStyle" Target="style32.xml"/><Relationship Id="rId2" Type="http://schemas.microsoft.com/office/2011/relationships/chartColorStyle" Target="colors32.xml"/><Relationship Id="rId3"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microsoft.com/office/2011/relationships/chartStyle" Target="style33.xml"/><Relationship Id="rId2" Type="http://schemas.microsoft.com/office/2011/relationships/chartColorStyle" Target="colors33.xml"/><Relationship Id="rId3"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microsoft.com/office/2011/relationships/chartStyle" Target="style34.xml"/><Relationship Id="rId2" Type="http://schemas.microsoft.com/office/2011/relationships/chartColorStyle" Target="colors34.xml"/><Relationship Id="rId3"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microsoft.com/office/2011/relationships/chartStyle" Target="style35.xml"/><Relationship Id="rId2" Type="http://schemas.microsoft.com/office/2011/relationships/chartColorStyle" Target="colors35.xml"/><Relationship Id="rId3"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microsoft.com/office/2011/relationships/chartStyle" Target="style36.xml"/><Relationship Id="rId2" Type="http://schemas.microsoft.com/office/2011/relationships/chartColorStyle" Target="colors36.xml"/><Relationship Id="rId3"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microsoft.com/office/2011/relationships/chartStyle" Target="style37.xml"/><Relationship Id="rId2" Type="http://schemas.microsoft.com/office/2011/relationships/chartColorStyle" Target="colors37.xml"/><Relationship Id="rId3"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microsoft.com/office/2011/relationships/chartStyle" Target="style38.xml"/><Relationship Id="rId2" Type="http://schemas.microsoft.com/office/2011/relationships/chartColorStyle" Target="colors38.xml"/><Relationship Id="rId3"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microsoft.com/office/2011/relationships/chartStyle" Target="style39.xml"/><Relationship Id="rId2" Type="http://schemas.microsoft.com/office/2011/relationships/chartColorStyle" Target="colors39.xml"/><Relationship Id="rId3"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microsoft.com/office/2011/relationships/chartStyle" Target="style40.xml"/><Relationship Id="rId2" Type="http://schemas.microsoft.com/office/2011/relationships/chartColorStyle" Target="colors40.xml"/><Relationship Id="rId3"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microsoft.com/office/2011/relationships/chartStyle" Target="style41.xml"/><Relationship Id="rId2" Type="http://schemas.microsoft.com/office/2011/relationships/chartColorStyle" Target="colors41.xml"/><Relationship Id="rId3"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microsoft.com/office/2011/relationships/chartStyle" Target="style42.xml"/><Relationship Id="rId2" Type="http://schemas.microsoft.com/office/2011/relationships/chartColorStyle" Target="colors42.xml"/><Relationship Id="rId3"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microsoft.com/office/2011/relationships/chartStyle" Target="style43.xml"/><Relationship Id="rId2" Type="http://schemas.microsoft.com/office/2011/relationships/chartColorStyle" Target="colors43.xml"/><Relationship Id="rId3"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microsoft.com/office/2011/relationships/chartStyle" Target="style44.xml"/><Relationship Id="rId2" Type="http://schemas.microsoft.com/office/2011/relationships/chartColorStyle" Target="colors44.xml"/><Relationship Id="rId3"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microsoft.com/office/2011/relationships/chartStyle" Target="style45.xml"/><Relationship Id="rId2" Type="http://schemas.microsoft.com/office/2011/relationships/chartColorStyle" Target="colors45.xml"/><Relationship Id="rId3"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microsoft.com/office/2011/relationships/chartStyle" Target="style46.xml"/><Relationship Id="rId2" Type="http://schemas.microsoft.com/office/2011/relationships/chartColorStyle" Target="colors46.xml"/><Relationship Id="rId3"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microsoft.com/office/2011/relationships/chartStyle" Target="style47.xml"/><Relationship Id="rId2" Type="http://schemas.microsoft.com/office/2011/relationships/chartColorStyle" Target="colors47.xml"/><Relationship Id="rId3"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microsoft.com/office/2011/relationships/chartStyle" Target="style48.xml"/><Relationship Id="rId2" Type="http://schemas.microsoft.com/office/2011/relationships/chartColorStyle" Target="colors48.xml"/><Relationship Id="rId3"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microsoft.com/office/2011/relationships/chartStyle" Target="style49.xml"/><Relationship Id="rId2" Type="http://schemas.microsoft.com/office/2011/relationships/chartColorStyle" Target="colors49.xml"/><Relationship Id="rId3"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microsoft.com/office/2011/relationships/chartStyle" Target="style50.xml"/><Relationship Id="rId2" Type="http://schemas.microsoft.com/office/2011/relationships/chartColorStyle" Target="colors50.xml"/><Relationship Id="rId3"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microsoft.com/office/2011/relationships/chartStyle" Target="style51.xml"/><Relationship Id="rId2" Type="http://schemas.microsoft.com/office/2011/relationships/chartColorStyle" Target="colors51.xml"/><Relationship Id="rId3"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microsoft.com/office/2011/relationships/chartStyle" Target="style52.xml"/><Relationship Id="rId2" Type="http://schemas.microsoft.com/office/2011/relationships/chartColorStyle" Target="colors52.xml"/><Relationship Id="rId3"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microsoft.com/office/2011/relationships/chartStyle" Target="style53.xml"/><Relationship Id="rId2" Type="http://schemas.microsoft.com/office/2011/relationships/chartColorStyle" Target="colors53.xml"/><Relationship Id="rId3"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microsoft.com/office/2011/relationships/chartStyle" Target="style54.xml"/><Relationship Id="rId2" Type="http://schemas.microsoft.com/office/2011/relationships/chartColorStyle" Target="colors54.xml"/><Relationship Id="rId3"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microsoft.com/office/2011/relationships/chartStyle" Target="style55.xml"/><Relationship Id="rId2" Type="http://schemas.microsoft.com/office/2011/relationships/chartColorStyle" Target="colors55.xml"/><Relationship Id="rId3"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microsoft.com/office/2011/relationships/chartStyle" Target="style56.xml"/><Relationship Id="rId2" Type="http://schemas.microsoft.com/office/2011/relationships/chartColorStyle" Target="colors56.xml"/><Relationship Id="rId3"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microsoft.com/office/2011/relationships/chartStyle" Target="style57.xml"/><Relationship Id="rId2" Type="http://schemas.microsoft.com/office/2011/relationships/chartColorStyle" Target="colors57.xml"/><Relationship Id="rId3"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microsoft.com/office/2011/relationships/chartStyle" Target="style58.xml"/><Relationship Id="rId2" Type="http://schemas.microsoft.com/office/2011/relationships/chartColorStyle" Target="colors58.xml"/><Relationship Id="rId3"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microsoft.com/office/2011/relationships/chartStyle" Target="style59.xml"/><Relationship Id="rId2" Type="http://schemas.microsoft.com/office/2011/relationships/chartColorStyle" Target="colors59.xml"/><Relationship Id="rId3"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microsoft.com/office/2011/relationships/chartStyle" Target="style60.xml"/><Relationship Id="rId2" Type="http://schemas.microsoft.com/office/2011/relationships/chartColorStyle" Target="colors60.xml"/><Relationship Id="rId3"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microsoft.com/office/2011/relationships/chartStyle" Target="style61.xml"/><Relationship Id="rId2" Type="http://schemas.microsoft.com/office/2011/relationships/chartColorStyle" Target="colors61.xml"/><Relationship Id="rId3"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microsoft.com/office/2011/relationships/chartStyle" Target="style62.xml"/><Relationship Id="rId2" Type="http://schemas.microsoft.com/office/2011/relationships/chartColorStyle" Target="colors62.xml"/><Relationship Id="rId3"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microsoft.com/office/2011/relationships/chartStyle" Target="style63.xml"/><Relationship Id="rId2" Type="http://schemas.microsoft.com/office/2011/relationships/chartColorStyle" Target="colors63.xml"/><Relationship Id="rId3"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microsoft.com/office/2011/relationships/chartStyle" Target="style64.xml"/><Relationship Id="rId2" Type="http://schemas.microsoft.com/office/2011/relationships/chartColorStyle" Target="colors64.xml"/><Relationship Id="rId3"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microsoft.com/office/2011/relationships/chartStyle" Target="style65.xml"/><Relationship Id="rId2" Type="http://schemas.microsoft.com/office/2011/relationships/chartColorStyle" Target="colors65.xml"/><Relationship Id="rId3"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microsoft.com/office/2011/relationships/chartStyle" Target="style66.xml"/><Relationship Id="rId2" Type="http://schemas.microsoft.com/office/2011/relationships/chartColorStyle" Target="colors66.xml"/><Relationship Id="rId3"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microsoft.com/office/2011/relationships/chartStyle" Target="style67.xml"/><Relationship Id="rId2" Type="http://schemas.microsoft.com/office/2011/relationships/chartColorStyle" Target="colors67.xml"/><Relationship Id="rId3"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microsoft.com/office/2011/relationships/chartStyle" Target="style68.xml"/><Relationship Id="rId2" Type="http://schemas.microsoft.com/office/2011/relationships/chartColorStyle" Target="colors68.xml"/><Relationship Id="rId3"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microsoft.com/office/2011/relationships/chartStyle" Target="style69.xml"/><Relationship Id="rId2" Type="http://schemas.microsoft.com/office/2011/relationships/chartColorStyle" Target="colors69.xml"/><Relationship Id="rId3"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microsoft.com/office/2011/relationships/chartStyle" Target="style70.xml"/><Relationship Id="rId2" Type="http://schemas.microsoft.com/office/2011/relationships/chartColorStyle" Target="colors70.xml"/><Relationship Id="rId3"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microsoft.com/office/2011/relationships/chartStyle" Target="style71.xml"/><Relationship Id="rId2" Type="http://schemas.microsoft.com/office/2011/relationships/chartColorStyle" Target="colors71.xml"/><Relationship Id="rId3"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microsoft.com/office/2011/relationships/chartStyle" Target="style72.xml"/><Relationship Id="rId2" Type="http://schemas.microsoft.com/office/2011/relationships/chartColorStyle" Target="colors72.xml"/><Relationship Id="rId3"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microsoft.com/office/2011/relationships/chartStyle" Target="style73.xml"/><Relationship Id="rId2" Type="http://schemas.microsoft.com/office/2011/relationships/chartColorStyle" Target="colors73.xml"/><Relationship Id="rId3"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microsoft.com/office/2011/relationships/chartStyle" Target="style74.xml"/><Relationship Id="rId2" Type="http://schemas.microsoft.com/office/2011/relationships/chartColorStyle" Target="colors74.xml"/><Relationship Id="rId3"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microsoft.com/office/2011/relationships/chartStyle" Target="style75.xml"/><Relationship Id="rId2" Type="http://schemas.microsoft.com/office/2011/relationships/chartColorStyle" Target="colors75.xml"/><Relationship Id="rId3"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microsoft.com/office/2011/relationships/chartStyle" Target="style76.xml"/><Relationship Id="rId2" Type="http://schemas.microsoft.com/office/2011/relationships/chartColorStyle" Target="colors76.xml"/><Relationship Id="rId3"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microsoft.com/office/2011/relationships/chartStyle" Target="style77.xml"/><Relationship Id="rId2" Type="http://schemas.microsoft.com/office/2011/relationships/chartColorStyle" Target="colors77.xml"/><Relationship Id="rId3"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microsoft.com/office/2011/relationships/chartStyle" Target="style78.xml"/><Relationship Id="rId2" Type="http://schemas.microsoft.com/office/2011/relationships/chartColorStyle" Target="colors78.xml"/><Relationship Id="rId3"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microsoft.com/office/2011/relationships/chartStyle" Target="style79.xml"/><Relationship Id="rId2" Type="http://schemas.microsoft.com/office/2011/relationships/chartColorStyle" Target="colors79.xml"/><Relationship Id="rId3"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microsoft.com/office/2011/relationships/chartStyle" Target="style80.xml"/><Relationship Id="rId2" Type="http://schemas.microsoft.com/office/2011/relationships/chartColorStyle" Target="colors80.xml"/><Relationship Id="rId3"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microsoft.com/office/2011/relationships/chartStyle" Target="style81.xml"/><Relationship Id="rId2" Type="http://schemas.microsoft.com/office/2011/relationships/chartColorStyle" Target="colors81.xml"/><Relationship Id="rId3"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microsoft.com/office/2011/relationships/chartStyle" Target="style82.xml"/><Relationship Id="rId2" Type="http://schemas.microsoft.com/office/2011/relationships/chartColorStyle" Target="colors82.xml"/><Relationship Id="rId3"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microsoft.com/office/2011/relationships/chartStyle" Target="style83.xml"/><Relationship Id="rId2" Type="http://schemas.microsoft.com/office/2011/relationships/chartColorStyle" Target="colors83.xml"/><Relationship Id="rId3"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microsoft.com/office/2011/relationships/chartStyle" Target="style84.xml"/><Relationship Id="rId2" Type="http://schemas.microsoft.com/office/2011/relationships/chartColorStyle" Target="colors84.xml"/><Relationship Id="rId3"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microsoft.com/office/2011/relationships/chartStyle" Target="style85.xml"/><Relationship Id="rId2" Type="http://schemas.microsoft.com/office/2011/relationships/chartColorStyle" Target="colors85.xml"/><Relationship Id="rId3"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microsoft.com/office/2011/relationships/chartStyle" Target="style86.xml"/><Relationship Id="rId2" Type="http://schemas.microsoft.com/office/2011/relationships/chartColorStyle" Target="colors86.xml"/><Relationship Id="rId3"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microsoft.com/office/2011/relationships/chartStyle" Target="style87.xml"/><Relationship Id="rId2" Type="http://schemas.microsoft.com/office/2011/relationships/chartColorStyle" Target="colors87.xml"/><Relationship Id="rId3"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microsoft.com/office/2011/relationships/chartStyle" Target="style88.xml"/><Relationship Id="rId2" Type="http://schemas.microsoft.com/office/2011/relationships/chartColorStyle" Target="colors88.xml"/><Relationship Id="rId3"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microsoft.com/office/2011/relationships/chartStyle" Target="style89.xml"/><Relationship Id="rId2" Type="http://schemas.microsoft.com/office/2011/relationships/chartColorStyle" Target="colors89.xml"/><Relationship Id="rId3"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microsoft.com/office/2011/relationships/chartStyle" Target="style90.xml"/><Relationship Id="rId2" Type="http://schemas.microsoft.com/office/2011/relationships/chartColorStyle" Target="colors90.xml"/><Relationship Id="rId3"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microsoft.com/office/2011/relationships/chartStyle" Target="style91.xml"/><Relationship Id="rId2" Type="http://schemas.microsoft.com/office/2011/relationships/chartColorStyle" Target="colors91.xml"/><Relationship Id="rId3"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1" Type="http://schemas.microsoft.com/office/2011/relationships/chartStyle" Target="style92.xml"/><Relationship Id="rId2" Type="http://schemas.microsoft.com/office/2011/relationships/chartColorStyle" Target="colors92.xml"/><Relationship Id="rId3"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microsoft.com/office/2011/relationships/chartStyle" Target="style93.xml"/><Relationship Id="rId2" Type="http://schemas.microsoft.com/office/2011/relationships/chartColorStyle" Target="colors93.xml"/><Relationship Id="rId3" Type="http://schemas.openxmlformats.org/officeDocument/2006/relationships/package" Target="../embeddings/Microsoft_Excel_Worksheet307.xlsx"/></Relationships>
</file>

<file path=ppt/charts/_rels/chart309.xml.rels><?xml version='1.0' encoding='UTF-8' standalone='yes'?>
<Relationships xmlns="http://schemas.openxmlformats.org/package/2006/relationships"><Relationship Id="rId1" Type="http://schemas.microsoft.com/office/2011/relationships/chartStyle" Target="style94.xml"/><Relationship Id="rId2" Type="http://schemas.microsoft.com/office/2011/relationships/chartColorStyle" Target="colors94.xml"/><Relationship Id="rId3"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microsoft.com/office/2011/relationships/chartStyle" Target="style95.xml"/><Relationship Id="rId2" Type="http://schemas.microsoft.com/office/2011/relationships/chartColorStyle" Target="colors95.xml"/><Relationship Id="rId3"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microsoft.com/office/2011/relationships/chartStyle" Target="style96.xml"/><Relationship Id="rId2" Type="http://schemas.microsoft.com/office/2011/relationships/chartColorStyle" Target="colors96.xml"/><Relationship Id="rId3"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microsoft.com/office/2011/relationships/chartStyle" Target="style97.xml"/><Relationship Id="rId2" Type="http://schemas.microsoft.com/office/2011/relationships/chartColorStyle" Target="colors97.xml"/><Relationship Id="rId3"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microsoft.com/office/2011/relationships/chartStyle" Target="style98.xml"/><Relationship Id="rId2" Type="http://schemas.microsoft.com/office/2011/relationships/chartColorStyle" Target="colors98.xml"/><Relationship Id="rId3"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microsoft.com/office/2011/relationships/chartStyle" Target="style99.xml"/><Relationship Id="rId2" Type="http://schemas.microsoft.com/office/2011/relationships/chartColorStyle" Target="colors99.xml"/><Relationship Id="rId3"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microsoft.com/office/2011/relationships/chartStyle" Target="style100.xml"/><Relationship Id="rId2" Type="http://schemas.microsoft.com/office/2011/relationships/chartColorStyle" Target="colors100.xml"/><Relationship Id="rId3"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microsoft.com/office/2011/relationships/chartStyle" Target="style101.xml"/><Relationship Id="rId2" Type="http://schemas.microsoft.com/office/2011/relationships/chartColorStyle" Target="colors101.xml"/><Relationship Id="rId3"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microsoft.com/office/2011/relationships/chartStyle" Target="style102.xml"/><Relationship Id="rId2" Type="http://schemas.microsoft.com/office/2011/relationships/chartColorStyle" Target="colors102.xml"/><Relationship Id="rId3"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microsoft.com/office/2011/relationships/chartStyle" Target="style103.xml"/><Relationship Id="rId2" Type="http://schemas.microsoft.com/office/2011/relationships/chartColorStyle" Target="colors103.xml"/><Relationship Id="rId3"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microsoft.com/office/2011/relationships/chartStyle" Target="style104.xml"/><Relationship Id="rId2" Type="http://schemas.microsoft.com/office/2011/relationships/chartColorStyle" Target="colors104.xml"/><Relationship Id="rId3"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microsoft.com/office/2011/relationships/chartStyle" Target="style105.xml"/><Relationship Id="rId2" Type="http://schemas.microsoft.com/office/2011/relationships/chartColorStyle" Target="colors105.xml"/><Relationship Id="rId3"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microsoft.com/office/2011/relationships/chartStyle" Target="style106.xml"/><Relationship Id="rId2" Type="http://schemas.microsoft.com/office/2011/relationships/chartColorStyle" Target="colors106.xml"/><Relationship Id="rId3"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microsoft.com/office/2011/relationships/chartStyle" Target="style107.xml"/><Relationship Id="rId2" Type="http://schemas.microsoft.com/office/2011/relationships/chartColorStyle" Target="colors107.xml"/><Relationship Id="rId3"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microsoft.com/office/2011/relationships/chartStyle" Target="style108.xml"/><Relationship Id="rId2" Type="http://schemas.microsoft.com/office/2011/relationships/chartColorStyle" Target="colors108.xml"/><Relationship Id="rId3"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microsoft.com/office/2011/relationships/chartStyle" Target="style109.xml"/><Relationship Id="rId2" Type="http://schemas.microsoft.com/office/2011/relationships/chartColorStyle" Target="colors109.xml"/><Relationship Id="rId3" Type="http://schemas.openxmlformats.org/officeDocument/2006/relationships/package" Target="../embeddings/Microsoft_Excel_Worksheet323.xlsx"/></Relationships>
</file>

<file path=ppt/charts/_rels/chart325.xml.rels><?xml version='1.0' encoding='UTF-8' standalone='yes'?>
<Relationships xmlns="http://schemas.openxmlformats.org/package/2006/relationships"><Relationship Id="rId1" Type="http://schemas.microsoft.com/office/2011/relationships/chartStyle" Target="style110.xml"/><Relationship Id="rId2" Type="http://schemas.microsoft.com/office/2011/relationships/chartColorStyle" Target="colors110.xml"/><Relationship Id="rId3" Type="http://schemas.openxmlformats.org/officeDocument/2006/relationships/package" Target="../embeddings/Microsoft_Excel_Worksheet324.xlsx"/></Relationships>
</file>

<file path=ppt/charts/_rels/chart326.xml.rels><?xml version='1.0' encoding='UTF-8' standalone='yes'?>
<Relationships xmlns="http://schemas.openxmlformats.org/package/2006/relationships"><Relationship Id="rId1" Type="http://schemas.microsoft.com/office/2011/relationships/chartStyle" Target="style111.xml"/><Relationship Id="rId2" Type="http://schemas.microsoft.com/office/2011/relationships/chartColorStyle" Target="colors111.xml"/><Relationship Id="rId3" Type="http://schemas.openxmlformats.org/officeDocument/2006/relationships/package" Target="../embeddings/Microsoft_Excel_Worksheet325.xlsx"/></Relationships>
</file>

<file path=ppt/charts/_rels/chart327.xml.rels><?xml version='1.0' encoding='UTF-8' standalone='yes'?>
<Relationships xmlns="http://schemas.openxmlformats.org/package/2006/relationships"><Relationship Id="rId1" Type="http://schemas.microsoft.com/office/2011/relationships/chartStyle" Target="style112.xml"/><Relationship Id="rId2" Type="http://schemas.microsoft.com/office/2011/relationships/chartColorStyle" Target="colors112.xml"/><Relationship Id="rId3" Type="http://schemas.openxmlformats.org/officeDocument/2006/relationships/package" Target="../embeddings/Microsoft_Excel_Worksheet326.xlsx"/></Relationships>
</file>

<file path=ppt/charts/_rels/chart328.xml.rels><?xml version='1.0' encoding='UTF-8' standalone='yes'?>
<Relationships xmlns="http://schemas.openxmlformats.org/package/2006/relationships"><Relationship Id="rId1" Type="http://schemas.microsoft.com/office/2011/relationships/chartStyle" Target="style113.xml"/><Relationship Id="rId2" Type="http://schemas.microsoft.com/office/2011/relationships/chartColorStyle" Target="colors113.xml"/><Relationship Id="rId3" Type="http://schemas.openxmlformats.org/officeDocument/2006/relationships/package" Target="../embeddings/Microsoft_Excel_Worksheet327.xlsx"/></Relationships>
</file>

<file path=ppt/charts/_rels/chart329.xml.rels><?xml version='1.0' encoding='UTF-8' standalone='yes'?>
<Relationships xmlns="http://schemas.openxmlformats.org/package/2006/relationships"><Relationship Id="rId1" Type="http://schemas.microsoft.com/office/2011/relationships/chartStyle" Target="style114.xml"/><Relationship Id="rId2" Type="http://schemas.microsoft.com/office/2011/relationships/chartColorStyle" Target="colors114.xml"/><Relationship Id="rId3" Type="http://schemas.openxmlformats.org/officeDocument/2006/relationships/package" Target="../embeddings/Microsoft_Excel_Worksheet328.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30.xml.rels><?xml version='1.0' encoding='UTF-8' standalone='yes'?>
<Relationships xmlns="http://schemas.openxmlformats.org/package/2006/relationships"><Relationship Id="rId1" Type="http://schemas.microsoft.com/office/2011/relationships/chartStyle" Target="style115.xml"/><Relationship Id="rId2" Type="http://schemas.microsoft.com/office/2011/relationships/chartColorStyle" Target="colors115.xml"/><Relationship Id="rId3" Type="http://schemas.openxmlformats.org/officeDocument/2006/relationships/package" Target="../embeddings/Microsoft_Excel_Worksheet329.xlsx"/></Relationships>
</file>

<file path=ppt/charts/_rels/chart331.xml.rels><?xml version='1.0' encoding='UTF-8' standalone='yes'?>
<Relationships xmlns="http://schemas.openxmlformats.org/package/2006/relationships"><Relationship Id="rId1" Type="http://schemas.microsoft.com/office/2011/relationships/chartStyle" Target="style116.xml"/><Relationship Id="rId2" Type="http://schemas.microsoft.com/office/2011/relationships/chartColorStyle" Target="colors116.xml"/><Relationship Id="rId3" Type="http://schemas.openxmlformats.org/officeDocument/2006/relationships/package" Target="../embeddings/Microsoft_Excel_Worksheet330.xlsx"/></Relationships>
</file>

<file path=ppt/charts/_rels/chart332.xml.rels><?xml version='1.0' encoding='UTF-8' standalone='yes'?>
<Relationships xmlns="http://schemas.openxmlformats.org/package/2006/relationships"><Relationship Id="rId1" Type="http://schemas.microsoft.com/office/2011/relationships/chartStyle" Target="style117.xml"/><Relationship Id="rId2" Type="http://schemas.microsoft.com/office/2011/relationships/chartColorStyle" Target="colors117.xml"/><Relationship Id="rId3" Type="http://schemas.openxmlformats.org/officeDocument/2006/relationships/package" Target="../embeddings/Microsoft_Excel_Worksheet331.xlsx"/></Relationships>
</file>

<file path=ppt/charts/_rels/chart333.xml.rels><?xml version='1.0' encoding='UTF-8' standalone='yes'?>
<Relationships xmlns="http://schemas.openxmlformats.org/package/2006/relationships"><Relationship Id="rId1" Type="http://schemas.microsoft.com/office/2011/relationships/chartStyle" Target="style118.xml"/><Relationship Id="rId2" Type="http://schemas.microsoft.com/office/2011/relationships/chartColorStyle" Target="colors118.xml"/><Relationship Id="rId3" Type="http://schemas.openxmlformats.org/officeDocument/2006/relationships/package" Target="../embeddings/Microsoft_Excel_Worksheet332.xlsx"/></Relationships>
</file>

<file path=ppt/charts/_rels/chart334.xml.rels><?xml version='1.0' encoding='UTF-8' standalone='yes'?>
<Relationships xmlns="http://schemas.openxmlformats.org/package/2006/relationships"><Relationship Id="rId1" Type="http://schemas.microsoft.com/office/2011/relationships/chartStyle" Target="style119.xml"/><Relationship Id="rId2" Type="http://schemas.microsoft.com/office/2011/relationships/chartColorStyle" Target="colors119.xml"/><Relationship Id="rId3" Type="http://schemas.openxmlformats.org/officeDocument/2006/relationships/package" Target="../embeddings/Microsoft_Excel_Worksheet333.xlsx"/></Relationships>
</file>

<file path=ppt/charts/_rels/chart335.xml.rels><?xml version='1.0' encoding='UTF-8' standalone='yes'?>
<Relationships xmlns="http://schemas.openxmlformats.org/package/2006/relationships"><Relationship Id="rId1" Type="http://schemas.microsoft.com/office/2011/relationships/chartStyle" Target="style120.xml"/><Relationship Id="rId2" Type="http://schemas.microsoft.com/office/2011/relationships/chartColorStyle" Target="colors120.xml"/><Relationship Id="rId3" Type="http://schemas.openxmlformats.org/officeDocument/2006/relationships/package" Target="../embeddings/Microsoft_Excel_Worksheet334.xlsx"/></Relationships>
</file>

<file path=ppt/charts/_rels/chart336.xml.rels><?xml version='1.0' encoding='UTF-8' standalone='yes'?>
<Relationships xmlns="http://schemas.openxmlformats.org/package/2006/relationships"><Relationship Id="rId1" Type="http://schemas.microsoft.com/office/2011/relationships/chartStyle" Target="style121.xml"/><Relationship Id="rId2" Type="http://schemas.microsoft.com/office/2011/relationships/chartColorStyle" Target="colors121.xml"/><Relationship Id="rId3" Type="http://schemas.openxmlformats.org/officeDocument/2006/relationships/package" Target="../embeddings/Microsoft_Excel_Worksheet335.xlsx"/></Relationships>
</file>

<file path=ppt/charts/_rels/chart337.xml.rels><?xml version='1.0' encoding='UTF-8' standalone='yes'?>
<Relationships xmlns="http://schemas.openxmlformats.org/package/2006/relationships"><Relationship Id="rId1" Type="http://schemas.microsoft.com/office/2011/relationships/chartStyle" Target="style122.xml"/><Relationship Id="rId2" Type="http://schemas.microsoft.com/office/2011/relationships/chartColorStyle" Target="colors122.xml"/><Relationship Id="rId3" Type="http://schemas.openxmlformats.org/officeDocument/2006/relationships/package" Target="../embeddings/Microsoft_Excel_Worksheet336.xlsx"/></Relationships>
</file>

<file path=ppt/charts/_rels/chart338.xml.rels><?xml version='1.0' encoding='UTF-8' standalone='yes'?>
<Relationships xmlns="http://schemas.openxmlformats.org/package/2006/relationships"><Relationship Id="rId1" Type="http://schemas.microsoft.com/office/2011/relationships/chartStyle" Target="style123.xml"/><Relationship Id="rId2" Type="http://schemas.microsoft.com/office/2011/relationships/chartColorStyle" Target="colors123.xml"/><Relationship Id="rId3" Type="http://schemas.openxmlformats.org/officeDocument/2006/relationships/package" Target="../embeddings/Microsoft_Excel_Worksheet337.xlsx"/></Relationships>
</file>

<file path=ppt/charts/_rels/chart339.xml.rels><?xml version='1.0' encoding='UTF-8' standalone='yes'?>
<Relationships xmlns="http://schemas.openxmlformats.org/package/2006/relationships"><Relationship Id="rId1" Type="http://schemas.microsoft.com/office/2011/relationships/chartStyle" Target="style124.xml"/><Relationship Id="rId2" Type="http://schemas.microsoft.com/office/2011/relationships/chartColorStyle" Target="colors124.xml"/><Relationship Id="rId3" Type="http://schemas.openxmlformats.org/officeDocument/2006/relationships/package" Target="../embeddings/Microsoft_Excel_Worksheet338.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40.xml.rels><?xml version='1.0' encoding='UTF-8' standalone='yes'?>
<Relationships xmlns="http://schemas.openxmlformats.org/package/2006/relationships"><Relationship Id="rId1" Type="http://schemas.microsoft.com/office/2011/relationships/chartStyle" Target="style125.xml"/><Relationship Id="rId2" Type="http://schemas.microsoft.com/office/2011/relationships/chartColorStyle" Target="colors125.xml"/><Relationship Id="rId3" Type="http://schemas.openxmlformats.org/officeDocument/2006/relationships/package" Target="../embeddings/Microsoft_Excel_Worksheet339.xlsx"/></Relationships>
</file>

<file path=ppt/charts/_rels/chart341.xml.rels><?xml version='1.0' encoding='UTF-8' standalone='yes'?>
<Relationships xmlns="http://schemas.openxmlformats.org/package/2006/relationships"><Relationship Id="rId1" Type="http://schemas.microsoft.com/office/2011/relationships/chartStyle" Target="style126.xml"/><Relationship Id="rId2" Type="http://schemas.microsoft.com/office/2011/relationships/chartColorStyle" Target="colors126.xml"/><Relationship Id="rId3" Type="http://schemas.openxmlformats.org/officeDocument/2006/relationships/package" Target="../embeddings/Microsoft_Excel_Worksheet340.xlsx"/></Relationships>
</file>

<file path=ppt/charts/_rels/chart342.xml.rels><?xml version='1.0' encoding='UTF-8' standalone='yes'?>
<Relationships xmlns="http://schemas.openxmlformats.org/package/2006/relationships"><Relationship Id="rId1" Type="http://schemas.microsoft.com/office/2011/relationships/chartStyle" Target="style127.xml"/><Relationship Id="rId2" Type="http://schemas.microsoft.com/office/2011/relationships/chartColorStyle" Target="colors127.xml"/><Relationship Id="rId3" Type="http://schemas.openxmlformats.org/officeDocument/2006/relationships/package" Target="../embeddings/Microsoft_Excel_Worksheet341.xlsx"/></Relationships>
</file>

<file path=ppt/charts/_rels/chart343.xml.rels><?xml version='1.0' encoding='UTF-8' standalone='yes'?>
<Relationships xmlns="http://schemas.openxmlformats.org/package/2006/relationships"><Relationship Id="rId1" Type="http://schemas.microsoft.com/office/2011/relationships/chartStyle" Target="style128.xml"/><Relationship Id="rId2" Type="http://schemas.microsoft.com/office/2011/relationships/chartColorStyle" Target="colors128.xml"/><Relationship Id="rId3" Type="http://schemas.openxmlformats.org/officeDocument/2006/relationships/package" Target="../embeddings/Microsoft_Excel_Worksheet342.xlsx"/></Relationships>
</file>

<file path=ppt/charts/_rels/chart344.xml.rels><?xml version='1.0' encoding='UTF-8' standalone='yes'?>
<Relationships xmlns="http://schemas.openxmlformats.org/package/2006/relationships"><Relationship Id="rId1" Type="http://schemas.microsoft.com/office/2011/relationships/chartStyle" Target="style129.xml"/><Relationship Id="rId2" Type="http://schemas.microsoft.com/office/2011/relationships/chartColorStyle" Target="colors129.xml"/><Relationship Id="rId3" Type="http://schemas.openxmlformats.org/officeDocument/2006/relationships/package" Target="../embeddings/Microsoft_Excel_Worksheet343.xlsx"/></Relationships>
</file>

<file path=ppt/charts/_rels/chart345.xml.rels><?xml version='1.0' encoding='UTF-8' standalone='yes'?>
<Relationships xmlns="http://schemas.openxmlformats.org/package/2006/relationships"><Relationship Id="rId1" Type="http://schemas.microsoft.com/office/2011/relationships/chartStyle" Target="style130.xml"/><Relationship Id="rId2" Type="http://schemas.microsoft.com/office/2011/relationships/chartColorStyle" Target="colors130.xml"/><Relationship Id="rId3" Type="http://schemas.openxmlformats.org/officeDocument/2006/relationships/package" Target="../embeddings/Microsoft_Excel_Worksheet344.xlsx"/></Relationships>
</file>

<file path=ppt/charts/_rels/chart346.xml.rels><?xml version='1.0' encoding='UTF-8' standalone='yes'?>
<Relationships xmlns="http://schemas.openxmlformats.org/package/2006/relationships"><Relationship Id="rId1" Type="http://schemas.microsoft.com/office/2011/relationships/chartStyle" Target="style131.xml"/><Relationship Id="rId2" Type="http://schemas.microsoft.com/office/2011/relationships/chartColorStyle" Target="colors131.xml"/><Relationship Id="rId3" Type="http://schemas.openxmlformats.org/officeDocument/2006/relationships/package" Target="../embeddings/Microsoft_Excel_Worksheet345.xlsx"/></Relationships>
</file>

<file path=ppt/charts/_rels/chart347.xml.rels><?xml version='1.0' encoding='UTF-8' standalone='yes'?>
<Relationships xmlns="http://schemas.openxmlformats.org/package/2006/relationships"><Relationship Id="rId1" Type="http://schemas.microsoft.com/office/2011/relationships/chartStyle" Target="style132.xml"/><Relationship Id="rId2" Type="http://schemas.microsoft.com/office/2011/relationships/chartColorStyle" Target="colors132.xml"/><Relationship Id="rId3" Type="http://schemas.openxmlformats.org/officeDocument/2006/relationships/package" Target="../embeddings/Microsoft_Excel_Worksheet346.xlsx"/></Relationships>
</file>

<file path=ppt/charts/_rels/chart348.xml.rels><?xml version='1.0' encoding='UTF-8' standalone='yes'?>
<Relationships xmlns="http://schemas.openxmlformats.org/package/2006/relationships"><Relationship Id="rId1" Type="http://schemas.microsoft.com/office/2011/relationships/chartStyle" Target="style133.xml"/><Relationship Id="rId2" Type="http://schemas.microsoft.com/office/2011/relationships/chartColorStyle" Target="colors133.xml"/><Relationship Id="rId3" Type="http://schemas.openxmlformats.org/officeDocument/2006/relationships/package" Target="../embeddings/Microsoft_Excel_Worksheet347.xlsx"/></Relationships>
</file>

<file path=ppt/charts/_rels/chart349.xml.rels><?xml version='1.0' encoding='UTF-8' standalone='yes'?>
<Relationships xmlns="http://schemas.openxmlformats.org/package/2006/relationships"><Relationship Id="rId1" Type="http://schemas.microsoft.com/office/2011/relationships/chartStyle" Target="style134.xml"/><Relationship Id="rId2" Type="http://schemas.microsoft.com/office/2011/relationships/chartColorStyle" Target="colors134.xml"/><Relationship Id="rId3" Type="http://schemas.openxmlformats.org/officeDocument/2006/relationships/package" Target="../embeddings/Microsoft_Excel_Worksheet348.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50.xml.rels><?xml version='1.0' encoding='UTF-8' standalone='yes'?>
<Relationships xmlns="http://schemas.openxmlformats.org/package/2006/relationships"><Relationship Id="rId1" Type="http://schemas.microsoft.com/office/2011/relationships/chartStyle" Target="style135.xml"/><Relationship Id="rId2" Type="http://schemas.microsoft.com/office/2011/relationships/chartColorStyle" Target="colors135.xml"/><Relationship Id="rId3" Type="http://schemas.openxmlformats.org/officeDocument/2006/relationships/package" Target="../embeddings/Microsoft_Excel_Worksheet349.xlsx"/></Relationships>
</file>

<file path=ppt/charts/_rels/chart351.xml.rels><?xml version='1.0' encoding='UTF-8' standalone='yes'?>
<Relationships xmlns="http://schemas.openxmlformats.org/package/2006/relationships"><Relationship Id="rId1" Type="http://schemas.microsoft.com/office/2011/relationships/chartStyle" Target="style136.xml"/><Relationship Id="rId2" Type="http://schemas.microsoft.com/office/2011/relationships/chartColorStyle" Target="colors136.xml"/><Relationship Id="rId3" Type="http://schemas.openxmlformats.org/officeDocument/2006/relationships/package" Target="../embeddings/Microsoft_Excel_Worksheet350.xlsx"/></Relationships>
</file>

<file path=ppt/charts/_rels/chart352.xml.rels><?xml version='1.0' encoding='UTF-8' standalone='yes'?>
<Relationships xmlns="http://schemas.openxmlformats.org/package/2006/relationships"><Relationship Id="rId1" Type="http://schemas.microsoft.com/office/2011/relationships/chartStyle" Target="style137.xml"/><Relationship Id="rId2" Type="http://schemas.microsoft.com/office/2011/relationships/chartColorStyle" Target="colors137.xml"/><Relationship Id="rId3" Type="http://schemas.openxmlformats.org/officeDocument/2006/relationships/package" Target="../embeddings/Microsoft_Excel_Worksheet351.xlsx"/></Relationships>
</file>

<file path=ppt/charts/_rels/chart353.xml.rels><?xml version='1.0' encoding='UTF-8' standalone='yes'?>
<Relationships xmlns="http://schemas.openxmlformats.org/package/2006/relationships"><Relationship Id="rId1" Type="http://schemas.microsoft.com/office/2011/relationships/chartStyle" Target="style138.xml"/><Relationship Id="rId2" Type="http://schemas.microsoft.com/office/2011/relationships/chartColorStyle" Target="colors138.xml"/><Relationship Id="rId3" Type="http://schemas.openxmlformats.org/officeDocument/2006/relationships/package" Target="../embeddings/Microsoft_Excel_Worksheet352.xlsx"/></Relationships>
</file>

<file path=ppt/charts/_rels/chart354.xml.rels><?xml version='1.0' encoding='UTF-8' standalone='yes'?>
<Relationships xmlns="http://schemas.openxmlformats.org/package/2006/relationships"><Relationship Id="rId1" Type="http://schemas.microsoft.com/office/2011/relationships/chartStyle" Target="style139.xml"/><Relationship Id="rId2" Type="http://schemas.microsoft.com/office/2011/relationships/chartColorStyle" Target="colors139.xml"/><Relationship Id="rId3" Type="http://schemas.openxmlformats.org/officeDocument/2006/relationships/package" Target="../embeddings/Microsoft_Excel_Worksheet353.xlsx"/></Relationships>
</file>

<file path=ppt/charts/_rels/chart355.xml.rels><?xml version='1.0' encoding='UTF-8' standalone='yes'?>
<Relationships xmlns="http://schemas.openxmlformats.org/package/2006/relationships"><Relationship Id="rId1" Type="http://schemas.microsoft.com/office/2011/relationships/chartStyle" Target="style140.xml"/><Relationship Id="rId2" Type="http://schemas.microsoft.com/office/2011/relationships/chartColorStyle" Target="colors140.xml"/><Relationship Id="rId3" Type="http://schemas.openxmlformats.org/officeDocument/2006/relationships/package" Target="../embeddings/Microsoft_Excel_Worksheet354.xlsx"/></Relationships>
</file>

<file path=ppt/charts/_rels/chart356.xml.rels><?xml version='1.0' encoding='UTF-8' standalone='yes'?>
<Relationships xmlns="http://schemas.openxmlformats.org/package/2006/relationships"><Relationship Id="rId1" Type="http://schemas.microsoft.com/office/2011/relationships/chartStyle" Target="style141.xml"/><Relationship Id="rId2" Type="http://schemas.microsoft.com/office/2011/relationships/chartColorStyle" Target="colors141.xml"/><Relationship Id="rId3" Type="http://schemas.openxmlformats.org/officeDocument/2006/relationships/package" Target="../embeddings/Microsoft_Excel_Worksheet355.xlsx"/></Relationships>
</file>

<file path=ppt/charts/_rels/chart357.xml.rels><?xml version='1.0' encoding='UTF-8' standalone='yes'?>
<Relationships xmlns="http://schemas.openxmlformats.org/package/2006/relationships"><Relationship Id="rId1" Type="http://schemas.microsoft.com/office/2011/relationships/chartStyle" Target="style142.xml"/><Relationship Id="rId2" Type="http://schemas.microsoft.com/office/2011/relationships/chartColorStyle" Target="colors142.xml"/><Relationship Id="rId3" Type="http://schemas.openxmlformats.org/officeDocument/2006/relationships/package" Target="../embeddings/Microsoft_Excel_Worksheet356.xlsx"/></Relationships>
</file>

<file path=ppt/charts/_rels/chart358.xml.rels><?xml version='1.0' encoding='UTF-8' standalone='yes'?>
<Relationships xmlns="http://schemas.openxmlformats.org/package/2006/relationships"><Relationship Id="rId1" Type="http://schemas.microsoft.com/office/2011/relationships/chartStyle" Target="style143.xml"/><Relationship Id="rId2" Type="http://schemas.microsoft.com/office/2011/relationships/chartColorStyle" Target="colors143.xml"/><Relationship Id="rId3" Type="http://schemas.openxmlformats.org/officeDocument/2006/relationships/package" Target="../embeddings/Microsoft_Excel_Worksheet357.xlsx"/></Relationships>
</file>

<file path=ppt/charts/_rels/chart359.xml.rels><?xml version='1.0' encoding='UTF-8' standalone='yes'?>
<Relationships xmlns="http://schemas.openxmlformats.org/package/2006/relationships"><Relationship Id="rId1" Type="http://schemas.microsoft.com/office/2011/relationships/chartStyle" Target="style144.xml"/><Relationship Id="rId2" Type="http://schemas.microsoft.com/office/2011/relationships/chartColorStyle" Target="colors144.xml"/><Relationship Id="rId3" Type="http://schemas.openxmlformats.org/officeDocument/2006/relationships/package" Target="../embeddings/Microsoft_Excel_Worksheet358.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60.xml.rels><?xml version='1.0' encoding='UTF-8' standalone='yes'?>
<Relationships xmlns="http://schemas.openxmlformats.org/package/2006/relationships"><Relationship Id="rId1" Type="http://schemas.microsoft.com/office/2011/relationships/chartStyle" Target="style145.xml"/><Relationship Id="rId2" Type="http://schemas.microsoft.com/office/2011/relationships/chartColorStyle" Target="colors145.xml"/><Relationship Id="rId3" Type="http://schemas.openxmlformats.org/officeDocument/2006/relationships/package" Target="../embeddings/Microsoft_Excel_Worksheet359.xlsx"/></Relationships>
</file>

<file path=ppt/charts/_rels/chart361.xml.rels><?xml version='1.0' encoding='UTF-8' standalone='yes'?>
<Relationships xmlns="http://schemas.openxmlformats.org/package/2006/relationships"><Relationship Id="rId1" Type="http://schemas.microsoft.com/office/2011/relationships/chartStyle" Target="style146.xml"/><Relationship Id="rId2" Type="http://schemas.microsoft.com/office/2011/relationships/chartColorStyle" Target="colors146.xml"/><Relationship Id="rId3" Type="http://schemas.openxmlformats.org/officeDocument/2006/relationships/package" Target="../embeddings/Microsoft_Excel_Worksheet360.xlsx"/></Relationships>
</file>

<file path=ppt/charts/_rels/chart362.xml.rels><?xml version='1.0' encoding='UTF-8' standalone='yes'?>
<Relationships xmlns="http://schemas.openxmlformats.org/package/2006/relationships"><Relationship Id="rId1" Type="http://schemas.microsoft.com/office/2011/relationships/chartStyle" Target="style147.xml"/><Relationship Id="rId2" Type="http://schemas.microsoft.com/office/2011/relationships/chartColorStyle" Target="colors147.xml"/><Relationship Id="rId3" Type="http://schemas.openxmlformats.org/officeDocument/2006/relationships/package" Target="../embeddings/Microsoft_Excel_Worksheet361.xlsx"/></Relationships>
</file>

<file path=ppt/charts/_rels/chart363.xml.rels><?xml version='1.0' encoding='UTF-8' standalone='yes'?>
<Relationships xmlns="http://schemas.openxmlformats.org/package/2006/relationships"><Relationship Id="rId1" Type="http://schemas.microsoft.com/office/2011/relationships/chartStyle" Target="style148.xml"/><Relationship Id="rId2" Type="http://schemas.microsoft.com/office/2011/relationships/chartColorStyle" Target="colors148.xml"/><Relationship Id="rId3" Type="http://schemas.openxmlformats.org/officeDocument/2006/relationships/package" Target="../embeddings/Microsoft_Excel_Worksheet362.xlsx"/></Relationships>
</file>

<file path=ppt/charts/_rels/chart364.xml.rels><?xml version='1.0' encoding='UTF-8' standalone='yes'?>
<Relationships xmlns="http://schemas.openxmlformats.org/package/2006/relationships"><Relationship Id="rId1" Type="http://schemas.microsoft.com/office/2011/relationships/chartStyle" Target="style149.xml"/><Relationship Id="rId2" Type="http://schemas.microsoft.com/office/2011/relationships/chartColorStyle" Target="colors149.xml"/><Relationship Id="rId3" Type="http://schemas.openxmlformats.org/officeDocument/2006/relationships/package" Target="../embeddings/Microsoft_Excel_Worksheet363.xlsx"/></Relationships>
</file>

<file path=ppt/charts/_rels/chart365.xml.rels><?xml version='1.0' encoding='UTF-8' standalone='yes'?>
<Relationships xmlns="http://schemas.openxmlformats.org/package/2006/relationships"><Relationship Id="rId1" Type="http://schemas.microsoft.com/office/2011/relationships/chartStyle" Target="style150.xml"/><Relationship Id="rId2" Type="http://schemas.microsoft.com/office/2011/relationships/chartColorStyle" Target="colors150.xml"/><Relationship Id="rId3" Type="http://schemas.openxmlformats.org/officeDocument/2006/relationships/package" Target="../embeddings/Microsoft_Excel_Worksheet364.xlsx"/></Relationships>
</file>

<file path=ppt/charts/_rels/chart366.xml.rels><?xml version='1.0' encoding='UTF-8' standalone='yes'?>
<Relationships xmlns="http://schemas.openxmlformats.org/package/2006/relationships"><Relationship Id="rId1" Type="http://schemas.microsoft.com/office/2011/relationships/chartStyle" Target="style151.xml"/><Relationship Id="rId2" Type="http://schemas.microsoft.com/office/2011/relationships/chartColorStyle" Target="colors151.xml"/><Relationship Id="rId3" Type="http://schemas.openxmlformats.org/officeDocument/2006/relationships/package" Target="../embeddings/Microsoft_Excel_Worksheet365.xlsx"/></Relationships>
</file>

<file path=ppt/charts/_rels/chart367.xml.rels><?xml version='1.0' encoding='UTF-8' standalone='yes'?>
<Relationships xmlns="http://schemas.openxmlformats.org/package/2006/relationships"><Relationship Id="rId1" Type="http://schemas.microsoft.com/office/2011/relationships/chartStyle" Target="style152.xml"/><Relationship Id="rId2" Type="http://schemas.microsoft.com/office/2011/relationships/chartColorStyle" Target="colors152.xml"/><Relationship Id="rId3" Type="http://schemas.openxmlformats.org/officeDocument/2006/relationships/package" Target="../embeddings/Microsoft_Excel_Worksheet366.xlsx"/></Relationships>
</file>

<file path=ppt/charts/_rels/chart368.xml.rels><?xml version='1.0' encoding='UTF-8' standalone='yes'?>
<Relationships xmlns="http://schemas.openxmlformats.org/package/2006/relationships"><Relationship Id="rId1" Type="http://schemas.microsoft.com/office/2011/relationships/chartStyle" Target="style153.xml"/><Relationship Id="rId2" Type="http://schemas.microsoft.com/office/2011/relationships/chartColorStyle" Target="colors153.xml"/><Relationship Id="rId3" Type="http://schemas.openxmlformats.org/officeDocument/2006/relationships/package" Target="../embeddings/Microsoft_Excel_Worksheet367.xlsx"/></Relationships>
</file>

<file path=ppt/charts/_rels/chart369.xml.rels><?xml version='1.0' encoding='UTF-8' standalone='yes'?>
<Relationships xmlns="http://schemas.openxmlformats.org/package/2006/relationships"><Relationship Id="rId1" Type="http://schemas.microsoft.com/office/2011/relationships/chartStyle" Target="style154.xml"/><Relationship Id="rId2" Type="http://schemas.microsoft.com/office/2011/relationships/chartColorStyle" Target="colors154.xml"/><Relationship Id="rId3" Type="http://schemas.openxmlformats.org/officeDocument/2006/relationships/package" Target="../embeddings/Microsoft_Excel_Worksheet368.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70.xml.rels><?xml version='1.0' encoding='UTF-8' standalone='yes'?>
<Relationships xmlns="http://schemas.openxmlformats.org/package/2006/relationships"><Relationship Id="rId1" Type="http://schemas.microsoft.com/office/2011/relationships/chartStyle" Target="style155.xml"/><Relationship Id="rId2" Type="http://schemas.microsoft.com/office/2011/relationships/chartColorStyle" Target="colors155.xml"/><Relationship Id="rId3" Type="http://schemas.openxmlformats.org/officeDocument/2006/relationships/package" Target="../embeddings/Microsoft_Excel_Worksheet369.xlsx"/></Relationships>
</file>

<file path=ppt/charts/_rels/chart371.xml.rels><?xml version='1.0' encoding='UTF-8' standalone='yes'?>
<Relationships xmlns="http://schemas.openxmlformats.org/package/2006/relationships"><Relationship Id="rId1" Type="http://schemas.microsoft.com/office/2011/relationships/chartStyle" Target="style156.xml"/><Relationship Id="rId2" Type="http://schemas.microsoft.com/office/2011/relationships/chartColorStyle" Target="colors156.xml"/><Relationship Id="rId3" Type="http://schemas.openxmlformats.org/officeDocument/2006/relationships/package" Target="../embeddings/Microsoft_Excel_Worksheet370.xlsx"/></Relationships>
</file>

<file path=ppt/charts/_rels/chart372.xml.rels><?xml version='1.0' encoding='UTF-8' standalone='yes'?>
<Relationships xmlns="http://schemas.openxmlformats.org/package/2006/relationships"><Relationship Id="rId1" Type="http://schemas.microsoft.com/office/2011/relationships/chartStyle" Target="style157.xml"/><Relationship Id="rId2" Type="http://schemas.microsoft.com/office/2011/relationships/chartColorStyle" Target="colors157.xml"/><Relationship Id="rId3" Type="http://schemas.openxmlformats.org/officeDocument/2006/relationships/package" Target="../embeddings/Microsoft_Excel_Worksheet371.xlsx"/></Relationships>
</file>

<file path=ppt/charts/_rels/chart373.xml.rels><?xml version='1.0' encoding='UTF-8' standalone='yes'?>
<Relationships xmlns="http://schemas.openxmlformats.org/package/2006/relationships"><Relationship Id="rId1" Type="http://schemas.microsoft.com/office/2011/relationships/chartStyle" Target="style158.xml"/><Relationship Id="rId2" Type="http://schemas.microsoft.com/office/2011/relationships/chartColorStyle" Target="colors158.xml"/><Relationship Id="rId3" Type="http://schemas.openxmlformats.org/officeDocument/2006/relationships/package" Target="../embeddings/Microsoft_Excel_Worksheet372.xlsx"/></Relationships>
</file>

<file path=ppt/charts/_rels/chart374.xml.rels><?xml version='1.0' encoding='UTF-8' standalone='yes'?>
<Relationships xmlns="http://schemas.openxmlformats.org/package/2006/relationships"><Relationship Id="rId1" Type="http://schemas.microsoft.com/office/2011/relationships/chartStyle" Target="style159.xml"/><Relationship Id="rId2" Type="http://schemas.microsoft.com/office/2011/relationships/chartColorStyle" Target="colors159.xml"/><Relationship Id="rId3" Type="http://schemas.openxmlformats.org/officeDocument/2006/relationships/package" Target="../embeddings/Microsoft_Excel_Worksheet373.xlsx"/></Relationships>
</file>

<file path=ppt/charts/_rels/chart375.xml.rels><?xml version='1.0' encoding='UTF-8' standalone='yes'?>
<Relationships xmlns="http://schemas.openxmlformats.org/package/2006/relationships"><Relationship Id="rId1" Type="http://schemas.microsoft.com/office/2011/relationships/chartStyle" Target="style160.xml"/><Relationship Id="rId2" Type="http://schemas.microsoft.com/office/2011/relationships/chartColorStyle" Target="colors160.xml"/><Relationship Id="rId3" Type="http://schemas.openxmlformats.org/officeDocument/2006/relationships/package" Target="../embeddings/Microsoft_Excel_Worksheet374.xlsx"/></Relationships>
</file>

<file path=ppt/charts/_rels/chart376.xml.rels><?xml version='1.0' encoding='UTF-8' standalone='yes'?>
<Relationships xmlns="http://schemas.openxmlformats.org/package/2006/relationships"><Relationship Id="rId1" Type="http://schemas.microsoft.com/office/2011/relationships/chartStyle" Target="style161.xml"/><Relationship Id="rId2" Type="http://schemas.microsoft.com/office/2011/relationships/chartColorStyle" Target="colors161.xml"/><Relationship Id="rId3" Type="http://schemas.openxmlformats.org/officeDocument/2006/relationships/package" Target="../embeddings/Microsoft_Excel_Worksheet375.xlsx"/></Relationships>
</file>

<file path=ppt/charts/_rels/chart377.xml.rels><?xml version='1.0' encoding='UTF-8' standalone='yes'?>
<Relationships xmlns="http://schemas.openxmlformats.org/package/2006/relationships"><Relationship Id="rId1" Type="http://schemas.microsoft.com/office/2011/relationships/chartStyle" Target="style162.xml"/><Relationship Id="rId2" Type="http://schemas.microsoft.com/office/2011/relationships/chartColorStyle" Target="colors162.xml"/><Relationship Id="rId3" Type="http://schemas.openxmlformats.org/officeDocument/2006/relationships/package" Target="../embeddings/Microsoft_Excel_Worksheet376.xlsx"/></Relationships>
</file>

<file path=ppt/charts/_rels/chart378.xml.rels><?xml version='1.0' encoding='UTF-8' standalone='yes'?>
<Relationships xmlns="http://schemas.openxmlformats.org/package/2006/relationships"><Relationship Id="rId1" Type="http://schemas.microsoft.com/office/2011/relationships/chartStyle" Target="style163.xml"/><Relationship Id="rId2" Type="http://schemas.microsoft.com/office/2011/relationships/chartColorStyle" Target="colors163.xml"/><Relationship Id="rId3" Type="http://schemas.openxmlformats.org/officeDocument/2006/relationships/package" Target="../embeddings/Microsoft_Excel_Worksheet377.xlsx"/></Relationships>
</file>

<file path=ppt/charts/_rels/chart379.xml.rels><?xml version='1.0' encoding='UTF-8' standalone='yes'?>
<Relationships xmlns="http://schemas.openxmlformats.org/package/2006/relationships"><Relationship Id="rId1" Type="http://schemas.microsoft.com/office/2011/relationships/chartStyle" Target="style164.xml"/><Relationship Id="rId2" Type="http://schemas.microsoft.com/office/2011/relationships/chartColorStyle" Target="colors164.xml"/><Relationship Id="rId3" Type="http://schemas.openxmlformats.org/officeDocument/2006/relationships/package" Target="../embeddings/Microsoft_Excel_Worksheet378.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80.xml.rels><?xml version='1.0' encoding='UTF-8' standalone='yes'?>
<Relationships xmlns="http://schemas.openxmlformats.org/package/2006/relationships"><Relationship Id="rId1" Type="http://schemas.microsoft.com/office/2011/relationships/chartStyle" Target="style165.xml"/><Relationship Id="rId2" Type="http://schemas.microsoft.com/office/2011/relationships/chartColorStyle" Target="colors165.xml"/><Relationship Id="rId3" Type="http://schemas.openxmlformats.org/officeDocument/2006/relationships/package" Target="../embeddings/Microsoft_Excel_Worksheet379.xlsx"/></Relationships>
</file>

<file path=ppt/charts/_rels/chart381.xml.rels><?xml version='1.0' encoding='UTF-8' standalone='yes'?>
<Relationships xmlns="http://schemas.openxmlformats.org/package/2006/relationships"><Relationship Id="rId1" Type="http://schemas.microsoft.com/office/2011/relationships/chartStyle" Target="style166.xml"/><Relationship Id="rId2" Type="http://schemas.microsoft.com/office/2011/relationships/chartColorStyle" Target="colors166.xml"/><Relationship Id="rId3" Type="http://schemas.openxmlformats.org/officeDocument/2006/relationships/package" Target="../embeddings/Microsoft_Excel_Worksheet380.xlsx"/></Relationships>
</file>

<file path=ppt/charts/_rels/chart382.xml.rels><?xml version='1.0' encoding='UTF-8' standalone='yes'?>
<Relationships xmlns="http://schemas.openxmlformats.org/package/2006/relationships"><Relationship Id="rId1" Type="http://schemas.microsoft.com/office/2011/relationships/chartStyle" Target="style167.xml"/><Relationship Id="rId2" Type="http://schemas.microsoft.com/office/2011/relationships/chartColorStyle" Target="colors167.xml"/><Relationship Id="rId3" Type="http://schemas.openxmlformats.org/officeDocument/2006/relationships/package" Target="../embeddings/Microsoft_Excel_Worksheet381.xlsx"/></Relationships>
</file>

<file path=ppt/charts/_rels/chart383.xml.rels><?xml version='1.0' encoding='UTF-8' standalone='yes'?>
<Relationships xmlns="http://schemas.openxmlformats.org/package/2006/relationships"><Relationship Id="rId1" Type="http://schemas.microsoft.com/office/2011/relationships/chartStyle" Target="style168.xml"/><Relationship Id="rId2" Type="http://schemas.microsoft.com/office/2011/relationships/chartColorStyle" Target="colors168.xml"/><Relationship Id="rId3" Type="http://schemas.openxmlformats.org/officeDocument/2006/relationships/package" Target="../embeddings/Microsoft_Excel_Worksheet382.xlsx"/></Relationships>
</file>

<file path=ppt/charts/_rels/chart384.xml.rels><?xml version='1.0' encoding='UTF-8' standalone='yes'?>
<Relationships xmlns="http://schemas.openxmlformats.org/package/2006/relationships"><Relationship Id="rId1" Type="http://schemas.microsoft.com/office/2011/relationships/chartStyle" Target="style169.xml"/><Relationship Id="rId2" Type="http://schemas.microsoft.com/office/2011/relationships/chartColorStyle" Target="colors169.xml"/><Relationship Id="rId3" Type="http://schemas.openxmlformats.org/officeDocument/2006/relationships/package" Target="../embeddings/Microsoft_Excel_Worksheet383.xlsx"/></Relationships>
</file>

<file path=ppt/charts/_rels/chart385.xml.rels><?xml version='1.0' encoding='UTF-8' standalone='yes'?>
<Relationships xmlns="http://schemas.openxmlformats.org/package/2006/relationships"><Relationship Id="rId1" Type="http://schemas.microsoft.com/office/2011/relationships/chartStyle" Target="style170.xml"/><Relationship Id="rId2" Type="http://schemas.microsoft.com/office/2011/relationships/chartColorStyle" Target="colors170.xml"/><Relationship Id="rId3" Type="http://schemas.openxmlformats.org/officeDocument/2006/relationships/package" Target="../embeddings/Microsoft_Excel_Worksheet384.xlsx"/></Relationships>
</file>

<file path=ppt/charts/_rels/chart386.xml.rels><?xml version='1.0' encoding='UTF-8' standalone='yes'?>
<Relationships xmlns="http://schemas.openxmlformats.org/package/2006/relationships"><Relationship Id="rId1" Type="http://schemas.microsoft.com/office/2011/relationships/chartStyle" Target="style171.xml"/><Relationship Id="rId2" Type="http://schemas.microsoft.com/office/2011/relationships/chartColorStyle" Target="colors171.xml"/><Relationship Id="rId3" Type="http://schemas.openxmlformats.org/officeDocument/2006/relationships/package" Target="../embeddings/Microsoft_Excel_Worksheet385.xlsx"/></Relationships>
</file>

<file path=ppt/charts/_rels/chart387.xml.rels><?xml version='1.0' encoding='UTF-8' standalone='yes'?>
<Relationships xmlns="http://schemas.openxmlformats.org/package/2006/relationships"><Relationship Id="rId1" Type="http://schemas.microsoft.com/office/2011/relationships/chartStyle" Target="style172.xml"/><Relationship Id="rId2" Type="http://schemas.microsoft.com/office/2011/relationships/chartColorStyle" Target="colors172.xml"/><Relationship Id="rId3" Type="http://schemas.openxmlformats.org/officeDocument/2006/relationships/package" Target="../embeddings/Microsoft_Excel_Worksheet386.xlsx"/></Relationships>
</file>

<file path=ppt/charts/_rels/chart388.xml.rels><?xml version='1.0' encoding='UTF-8' standalone='yes'?>
<Relationships xmlns="http://schemas.openxmlformats.org/package/2006/relationships"><Relationship Id="rId1" Type="http://schemas.microsoft.com/office/2011/relationships/chartStyle" Target="style173.xml"/><Relationship Id="rId2" Type="http://schemas.microsoft.com/office/2011/relationships/chartColorStyle" Target="colors173.xml"/><Relationship Id="rId3" Type="http://schemas.openxmlformats.org/officeDocument/2006/relationships/package" Target="../embeddings/Microsoft_Excel_Worksheet387.xlsx"/></Relationships>
</file>

<file path=ppt/charts/_rels/chart389.xml.rels><?xml version='1.0' encoding='UTF-8' standalone='yes'?>
<Relationships xmlns="http://schemas.openxmlformats.org/package/2006/relationships"><Relationship Id="rId1" Type="http://schemas.microsoft.com/office/2011/relationships/chartStyle" Target="style174.xml"/><Relationship Id="rId2" Type="http://schemas.microsoft.com/office/2011/relationships/chartColorStyle" Target="colors174.xml"/><Relationship Id="rId3" Type="http://schemas.openxmlformats.org/officeDocument/2006/relationships/package" Target="../embeddings/Microsoft_Excel_Worksheet388.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390.xml.rels><?xml version='1.0' encoding='UTF-8' standalone='yes'?>
<Relationships xmlns="http://schemas.openxmlformats.org/package/2006/relationships"><Relationship Id="rId1" Type="http://schemas.microsoft.com/office/2011/relationships/chartStyle" Target="style175.xml"/><Relationship Id="rId2" Type="http://schemas.microsoft.com/office/2011/relationships/chartColorStyle" Target="colors175.xml"/><Relationship Id="rId3" Type="http://schemas.openxmlformats.org/officeDocument/2006/relationships/package" Target="../embeddings/Microsoft_Excel_Worksheet389.xlsx"/></Relationships>
</file>

<file path=ppt/charts/_rels/chart391.xml.rels><?xml version='1.0' encoding='UTF-8' standalone='yes'?>
<Relationships xmlns="http://schemas.openxmlformats.org/package/2006/relationships"><Relationship Id="rId1" Type="http://schemas.microsoft.com/office/2011/relationships/chartStyle" Target="style176.xml"/><Relationship Id="rId2" Type="http://schemas.microsoft.com/office/2011/relationships/chartColorStyle" Target="colors176.xml"/><Relationship Id="rId3" Type="http://schemas.openxmlformats.org/officeDocument/2006/relationships/package" Target="../embeddings/Microsoft_Excel_Worksheet390.xlsx"/></Relationships>
</file>

<file path=ppt/charts/_rels/chart392.xml.rels><?xml version='1.0' encoding='UTF-8' standalone='yes'?>
<Relationships xmlns="http://schemas.openxmlformats.org/package/2006/relationships"><Relationship Id="rId1" Type="http://schemas.microsoft.com/office/2011/relationships/chartStyle" Target="style177.xml"/><Relationship Id="rId2" Type="http://schemas.microsoft.com/office/2011/relationships/chartColorStyle" Target="colors177.xml"/><Relationship Id="rId3" Type="http://schemas.openxmlformats.org/officeDocument/2006/relationships/package" Target="../embeddings/Microsoft_Excel_Worksheet391.xlsx"/></Relationships>
</file>

<file path=ppt/charts/_rels/chart393.xml.rels><?xml version='1.0' encoding='UTF-8' standalone='yes'?>
<Relationships xmlns="http://schemas.openxmlformats.org/package/2006/relationships"><Relationship Id="rId1" Type="http://schemas.microsoft.com/office/2011/relationships/chartStyle" Target="style178.xml"/><Relationship Id="rId2" Type="http://schemas.microsoft.com/office/2011/relationships/chartColorStyle" Target="colors178.xml"/><Relationship Id="rId3" Type="http://schemas.openxmlformats.org/officeDocument/2006/relationships/package" Target="../embeddings/Microsoft_Excel_Worksheet392.xlsx"/></Relationships>
</file>

<file path=ppt/charts/_rels/chart394.xml.rels><?xml version='1.0' encoding='UTF-8' standalone='yes'?>
<Relationships xmlns="http://schemas.openxmlformats.org/package/2006/relationships"><Relationship Id="rId1" Type="http://schemas.microsoft.com/office/2011/relationships/chartStyle" Target="style179.xml"/><Relationship Id="rId2" Type="http://schemas.microsoft.com/office/2011/relationships/chartColorStyle" Target="colors179.xml"/><Relationship Id="rId3" Type="http://schemas.openxmlformats.org/officeDocument/2006/relationships/package" Target="../embeddings/Microsoft_Excel_Worksheet393.xlsx"/></Relationships>
</file>

<file path=ppt/charts/_rels/chart395.xml.rels><?xml version='1.0' encoding='UTF-8' standalone='yes'?>
<Relationships xmlns="http://schemas.openxmlformats.org/package/2006/relationships"><Relationship Id="rId1" Type="http://schemas.microsoft.com/office/2011/relationships/chartStyle" Target="style180.xml"/><Relationship Id="rId2" Type="http://schemas.microsoft.com/office/2011/relationships/chartColorStyle" Target="colors180.xml"/><Relationship Id="rId3" Type="http://schemas.openxmlformats.org/officeDocument/2006/relationships/package" Target="../embeddings/Microsoft_Excel_Worksheet394.xlsx"/></Relationships>
</file>

<file path=ppt/charts/_rels/chart396.xml.rels><?xml version='1.0' encoding='UTF-8' standalone='yes'?>
<Relationships xmlns="http://schemas.openxmlformats.org/package/2006/relationships"><Relationship Id="rId1" Type="http://schemas.microsoft.com/office/2011/relationships/chartStyle" Target="style181.xml"/><Relationship Id="rId2" Type="http://schemas.microsoft.com/office/2011/relationships/chartColorStyle" Target="colors181.xml"/><Relationship Id="rId3" Type="http://schemas.openxmlformats.org/officeDocument/2006/relationships/package" Target="../embeddings/Microsoft_Excel_Worksheet395.xlsx"/></Relationships>
</file>

<file path=ppt/charts/_rels/chart397.xml.rels><?xml version='1.0' encoding='UTF-8' standalone='yes'?>
<Relationships xmlns="http://schemas.openxmlformats.org/package/2006/relationships"><Relationship Id="rId1" Type="http://schemas.microsoft.com/office/2011/relationships/chartStyle" Target="style182.xml"/><Relationship Id="rId2" Type="http://schemas.microsoft.com/office/2011/relationships/chartColorStyle" Target="colors182.xml"/><Relationship Id="rId3" Type="http://schemas.openxmlformats.org/officeDocument/2006/relationships/package" Target="../embeddings/Microsoft_Excel_Worksheet396.xlsx"/></Relationships>
</file>

<file path=ppt/charts/_rels/chart398.xml.rels><?xml version='1.0' encoding='UTF-8' standalone='yes'?>
<Relationships xmlns="http://schemas.openxmlformats.org/package/2006/relationships"><Relationship Id="rId1" Type="http://schemas.microsoft.com/office/2011/relationships/chartStyle" Target="style183.xml"/><Relationship Id="rId2" Type="http://schemas.microsoft.com/office/2011/relationships/chartColorStyle" Target="colors183.xml"/><Relationship Id="rId3" Type="http://schemas.openxmlformats.org/officeDocument/2006/relationships/package" Target="../embeddings/Microsoft_Excel_Worksheet397.xlsx"/></Relationships>
</file>

<file path=ppt/charts/_rels/chart399.xml.rels><?xml version='1.0' encoding='UTF-8' standalone='yes'?>
<Relationships xmlns="http://schemas.openxmlformats.org/package/2006/relationships"><Relationship Id="rId1" Type="http://schemas.microsoft.com/office/2011/relationships/chartStyle" Target="style184.xml"/><Relationship Id="rId2" Type="http://schemas.microsoft.com/office/2011/relationships/chartColorStyle" Target="colors184.xml"/><Relationship Id="rId3" Type="http://schemas.openxmlformats.org/officeDocument/2006/relationships/package" Target="../embeddings/Microsoft_Excel_Worksheet39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00.xml.rels><?xml version='1.0' encoding='UTF-8' standalone='yes'?>
<Relationships xmlns="http://schemas.openxmlformats.org/package/2006/relationships"><Relationship Id="rId1" Type="http://schemas.microsoft.com/office/2011/relationships/chartStyle" Target="style185.xml"/><Relationship Id="rId2" Type="http://schemas.microsoft.com/office/2011/relationships/chartColorStyle" Target="colors185.xml"/><Relationship Id="rId3" Type="http://schemas.openxmlformats.org/officeDocument/2006/relationships/package" Target="../embeddings/Microsoft_Excel_Worksheet399.xlsx"/></Relationships>
</file>

<file path=ppt/charts/_rels/chart401.xml.rels><?xml version='1.0' encoding='UTF-8' standalone='yes'?>
<Relationships xmlns="http://schemas.openxmlformats.org/package/2006/relationships"><Relationship Id="rId1" Type="http://schemas.microsoft.com/office/2011/relationships/chartStyle" Target="style186.xml"/><Relationship Id="rId2" Type="http://schemas.microsoft.com/office/2011/relationships/chartColorStyle" Target="colors186.xml"/><Relationship Id="rId3" Type="http://schemas.openxmlformats.org/officeDocument/2006/relationships/package" Target="../embeddings/Microsoft_Excel_Worksheet400.xlsx"/></Relationships>
</file>

<file path=ppt/charts/_rels/chart402.xml.rels><?xml version='1.0' encoding='UTF-8' standalone='yes'?>
<Relationships xmlns="http://schemas.openxmlformats.org/package/2006/relationships"><Relationship Id="rId1" Type="http://schemas.microsoft.com/office/2011/relationships/chartStyle" Target="style187.xml"/><Relationship Id="rId2" Type="http://schemas.microsoft.com/office/2011/relationships/chartColorStyle" Target="colors187.xml"/><Relationship Id="rId3" Type="http://schemas.openxmlformats.org/officeDocument/2006/relationships/package" Target="../embeddings/Microsoft_Excel_Worksheet401.xlsx"/></Relationships>
</file>

<file path=ppt/charts/_rels/chart403.xml.rels><?xml version='1.0' encoding='UTF-8' standalone='yes'?>
<Relationships xmlns="http://schemas.openxmlformats.org/package/2006/relationships"><Relationship Id="rId1" Type="http://schemas.microsoft.com/office/2011/relationships/chartStyle" Target="style188.xml"/><Relationship Id="rId2" Type="http://schemas.microsoft.com/office/2011/relationships/chartColorStyle" Target="colors188.xml"/><Relationship Id="rId3" Type="http://schemas.openxmlformats.org/officeDocument/2006/relationships/package" Target="../embeddings/Microsoft_Excel_Worksheet402.xlsx"/></Relationships>
</file>

<file path=ppt/charts/_rels/chart404.xml.rels><?xml version='1.0' encoding='UTF-8' standalone='yes'?>
<Relationships xmlns="http://schemas.openxmlformats.org/package/2006/relationships"><Relationship Id="rId1" Type="http://schemas.microsoft.com/office/2011/relationships/chartStyle" Target="style189.xml"/><Relationship Id="rId2" Type="http://schemas.microsoft.com/office/2011/relationships/chartColorStyle" Target="colors189.xml"/><Relationship Id="rId3" Type="http://schemas.openxmlformats.org/officeDocument/2006/relationships/package" Target="../embeddings/Microsoft_Excel_Worksheet403.xlsx"/></Relationships>
</file>

<file path=ppt/charts/_rels/chart405.xml.rels><?xml version='1.0' encoding='UTF-8' standalone='yes'?>
<Relationships xmlns="http://schemas.openxmlformats.org/package/2006/relationships"><Relationship Id="rId1" Type="http://schemas.microsoft.com/office/2011/relationships/chartStyle" Target="style190.xml"/><Relationship Id="rId2" Type="http://schemas.microsoft.com/office/2011/relationships/chartColorStyle" Target="colors190.xml"/><Relationship Id="rId3" Type="http://schemas.openxmlformats.org/officeDocument/2006/relationships/package" Target="../embeddings/Microsoft_Excel_Worksheet404.xlsx"/></Relationships>
</file>

<file path=ppt/charts/_rels/chart406.xml.rels><?xml version='1.0' encoding='UTF-8' standalone='yes'?>
<Relationships xmlns="http://schemas.openxmlformats.org/package/2006/relationships"><Relationship Id="rId1" Type="http://schemas.microsoft.com/office/2011/relationships/chartStyle" Target="style191.xml"/><Relationship Id="rId2" Type="http://schemas.microsoft.com/office/2011/relationships/chartColorStyle" Target="colors191.xml"/><Relationship Id="rId3" Type="http://schemas.openxmlformats.org/officeDocument/2006/relationships/package" Target="../embeddings/Microsoft_Excel_Worksheet405.xlsx"/></Relationships>
</file>

<file path=ppt/charts/_rels/chart407.xml.rels><?xml version='1.0' encoding='UTF-8' standalone='yes'?>
<Relationships xmlns="http://schemas.openxmlformats.org/package/2006/relationships"><Relationship Id="rId1" Type="http://schemas.microsoft.com/office/2011/relationships/chartStyle" Target="style192.xml"/><Relationship Id="rId2" Type="http://schemas.microsoft.com/office/2011/relationships/chartColorStyle" Target="colors192.xml"/><Relationship Id="rId3" Type="http://schemas.openxmlformats.org/officeDocument/2006/relationships/package" Target="../embeddings/Microsoft_Excel_Worksheet406.xlsx"/></Relationships>
</file>

<file path=ppt/charts/_rels/chart408.xml.rels><?xml version='1.0' encoding='UTF-8' standalone='yes'?>
<Relationships xmlns="http://schemas.openxmlformats.org/package/2006/relationships"><Relationship Id="rId1" Type="http://schemas.microsoft.com/office/2011/relationships/chartStyle" Target="style193.xml"/><Relationship Id="rId2" Type="http://schemas.microsoft.com/office/2011/relationships/chartColorStyle" Target="colors193.xml"/><Relationship Id="rId3" Type="http://schemas.openxmlformats.org/officeDocument/2006/relationships/package" Target="../embeddings/Microsoft_Excel_Worksheet407.xlsx"/></Relationships>
</file>

<file path=ppt/charts/_rels/chart409.xml.rels><?xml version='1.0' encoding='UTF-8' standalone='yes'?>
<Relationships xmlns="http://schemas.openxmlformats.org/package/2006/relationships"><Relationship Id="rId1" Type="http://schemas.microsoft.com/office/2011/relationships/chartStyle" Target="style194.xml"/><Relationship Id="rId2" Type="http://schemas.microsoft.com/office/2011/relationships/chartColorStyle" Target="colors194.xml"/><Relationship Id="rId3" Type="http://schemas.openxmlformats.org/officeDocument/2006/relationships/package" Target="../embeddings/Microsoft_Excel_Worksheet408.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10.xml.rels><?xml version='1.0' encoding='UTF-8' standalone='yes'?>
<Relationships xmlns="http://schemas.openxmlformats.org/package/2006/relationships"><Relationship Id="rId1" Type="http://schemas.microsoft.com/office/2011/relationships/chartStyle" Target="style195.xml"/><Relationship Id="rId2" Type="http://schemas.microsoft.com/office/2011/relationships/chartColorStyle" Target="colors195.xml"/><Relationship Id="rId3" Type="http://schemas.openxmlformats.org/officeDocument/2006/relationships/package" Target="../embeddings/Microsoft_Excel_Worksheet409.xlsx"/></Relationships>
</file>

<file path=ppt/charts/_rels/chart411.xml.rels><?xml version='1.0' encoding='UTF-8' standalone='yes'?>
<Relationships xmlns="http://schemas.openxmlformats.org/package/2006/relationships"><Relationship Id="rId1" Type="http://schemas.microsoft.com/office/2011/relationships/chartStyle" Target="style196.xml"/><Relationship Id="rId2" Type="http://schemas.microsoft.com/office/2011/relationships/chartColorStyle" Target="colors196.xml"/><Relationship Id="rId3" Type="http://schemas.openxmlformats.org/officeDocument/2006/relationships/package" Target="../embeddings/Microsoft_Excel_Worksheet410.xlsx"/></Relationships>
</file>

<file path=ppt/charts/_rels/chart412.xml.rels><?xml version='1.0' encoding='UTF-8' standalone='yes'?>
<Relationships xmlns="http://schemas.openxmlformats.org/package/2006/relationships"><Relationship Id="rId1" Type="http://schemas.microsoft.com/office/2011/relationships/chartStyle" Target="style197.xml"/><Relationship Id="rId2" Type="http://schemas.microsoft.com/office/2011/relationships/chartColorStyle" Target="colors197.xml"/><Relationship Id="rId3" Type="http://schemas.openxmlformats.org/officeDocument/2006/relationships/package" Target="../embeddings/Microsoft_Excel_Worksheet411.xlsx"/></Relationships>
</file>

<file path=ppt/charts/_rels/chart413.xml.rels><?xml version='1.0' encoding='UTF-8' standalone='yes'?>
<Relationships xmlns="http://schemas.openxmlformats.org/package/2006/relationships"><Relationship Id="rId1" Type="http://schemas.microsoft.com/office/2011/relationships/chartStyle" Target="style198.xml"/><Relationship Id="rId2" Type="http://schemas.microsoft.com/office/2011/relationships/chartColorStyle" Target="colors198.xml"/><Relationship Id="rId3" Type="http://schemas.openxmlformats.org/officeDocument/2006/relationships/package" Target="../embeddings/Microsoft_Excel_Worksheet412.xlsx"/></Relationships>
</file>

<file path=ppt/charts/_rels/chart414.xml.rels><?xml version='1.0' encoding='UTF-8' standalone='yes'?>
<Relationships xmlns="http://schemas.openxmlformats.org/package/2006/relationships"><Relationship Id="rId1" Type="http://schemas.microsoft.com/office/2011/relationships/chartStyle" Target="style199.xml"/><Relationship Id="rId2" Type="http://schemas.microsoft.com/office/2011/relationships/chartColorStyle" Target="colors199.xml"/><Relationship Id="rId3" Type="http://schemas.openxmlformats.org/officeDocument/2006/relationships/package" Target="../embeddings/Microsoft_Excel_Worksheet413.xlsx"/></Relationships>
</file>

<file path=ppt/charts/_rels/chart415.xml.rels><?xml version='1.0' encoding='UTF-8' standalone='yes'?>
<Relationships xmlns="http://schemas.openxmlformats.org/package/2006/relationships"><Relationship Id="rId1" Type="http://schemas.microsoft.com/office/2011/relationships/chartStyle" Target="style200.xml"/><Relationship Id="rId2" Type="http://schemas.microsoft.com/office/2011/relationships/chartColorStyle" Target="colors200.xml"/><Relationship Id="rId3" Type="http://schemas.openxmlformats.org/officeDocument/2006/relationships/package" Target="../embeddings/Microsoft_Excel_Worksheet414.xlsx"/></Relationships>
</file>

<file path=ppt/charts/_rels/chart416.xml.rels><?xml version='1.0' encoding='UTF-8' standalone='yes'?>
<Relationships xmlns="http://schemas.openxmlformats.org/package/2006/relationships"><Relationship Id="rId1" Type="http://schemas.microsoft.com/office/2011/relationships/chartStyle" Target="style201.xml"/><Relationship Id="rId2" Type="http://schemas.microsoft.com/office/2011/relationships/chartColorStyle" Target="colors201.xml"/><Relationship Id="rId3" Type="http://schemas.openxmlformats.org/officeDocument/2006/relationships/package" Target="../embeddings/Microsoft_Excel_Worksheet415.xlsx"/></Relationships>
</file>

<file path=ppt/charts/_rels/chart417.xml.rels><?xml version='1.0' encoding='UTF-8' standalone='yes'?>
<Relationships xmlns="http://schemas.openxmlformats.org/package/2006/relationships"><Relationship Id="rId1" Type="http://schemas.microsoft.com/office/2011/relationships/chartStyle" Target="style202.xml"/><Relationship Id="rId2" Type="http://schemas.microsoft.com/office/2011/relationships/chartColorStyle" Target="colors202.xml"/><Relationship Id="rId3" Type="http://schemas.openxmlformats.org/officeDocument/2006/relationships/package" Target="../embeddings/Microsoft_Excel_Worksheet416.xlsx"/></Relationships>
</file>

<file path=ppt/charts/_rels/chart418.xml.rels><?xml version='1.0' encoding='UTF-8' standalone='yes'?>
<Relationships xmlns="http://schemas.openxmlformats.org/package/2006/relationships"><Relationship Id="rId1" Type="http://schemas.microsoft.com/office/2011/relationships/chartStyle" Target="style203.xml"/><Relationship Id="rId2" Type="http://schemas.microsoft.com/office/2011/relationships/chartColorStyle" Target="colors203.xml"/><Relationship Id="rId3" Type="http://schemas.openxmlformats.org/officeDocument/2006/relationships/package" Target="../embeddings/Microsoft_Excel_Worksheet417.xlsx"/></Relationships>
</file>

<file path=ppt/charts/_rels/chart419.xml.rels><?xml version='1.0' encoding='UTF-8' standalone='yes'?>
<Relationships xmlns="http://schemas.openxmlformats.org/package/2006/relationships"><Relationship Id="rId1" Type="http://schemas.microsoft.com/office/2011/relationships/chartStyle" Target="style204.xml"/><Relationship Id="rId2" Type="http://schemas.microsoft.com/office/2011/relationships/chartColorStyle" Target="colors204.xml"/><Relationship Id="rId3" Type="http://schemas.openxmlformats.org/officeDocument/2006/relationships/package" Target="../embeddings/Microsoft_Excel_Worksheet418.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20.xml.rels><?xml version='1.0' encoding='UTF-8' standalone='yes'?>
<Relationships xmlns="http://schemas.openxmlformats.org/package/2006/relationships"><Relationship Id="rId1" Type="http://schemas.microsoft.com/office/2011/relationships/chartStyle" Target="style205.xml"/><Relationship Id="rId2" Type="http://schemas.microsoft.com/office/2011/relationships/chartColorStyle" Target="colors205.xml"/><Relationship Id="rId3" Type="http://schemas.openxmlformats.org/officeDocument/2006/relationships/package" Target="../embeddings/Microsoft_Excel_Worksheet419.xlsx"/></Relationships>
</file>

<file path=ppt/charts/_rels/chart421.xml.rels><?xml version='1.0' encoding='UTF-8' standalone='yes'?>
<Relationships xmlns="http://schemas.openxmlformats.org/package/2006/relationships"><Relationship Id="rId1" Type="http://schemas.microsoft.com/office/2011/relationships/chartStyle" Target="style206.xml"/><Relationship Id="rId2" Type="http://schemas.microsoft.com/office/2011/relationships/chartColorStyle" Target="colors206.xml"/><Relationship Id="rId3" Type="http://schemas.openxmlformats.org/officeDocument/2006/relationships/package" Target="../embeddings/Microsoft_Excel_Worksheet420.xlsx"/></Relationships>
</file>

<file path=ppt/charts/_rels/chart422.xml.rels><?xml version='1.0' encoding='UTF-8' standalone='yes'?>
<Relationships xmlns="http://schemas.openxmlformats.org/package/2006/relationships"><Relationship Id="rId1" Type="http://schemas.microsoft.com/office/2011/relationships/chartStyle" Target="style207.xml"/><Relationship Id="rId2" Type="http://schemas.microsoft.com/office/2011/relationships/chartColorStyle" Target="colors207.xml"/><Relationship Id="rId3" Type="http://schemas.openxmlformats.org/officeDocument/2006/relationships/package" Target="../embeddings/Microsoft_Excel_Worksheet421.xlsx"/></Relationships>
</file>

<file path=ppt/charts/_rels/chart423.xml.rels><?xml version='1.0' encoding='UTF-8' standalone='yes'?>
<Relationships xmlns="http://schemas.openxmlformats.org/package/2006/relationships"><Relationship Id="rId1" Type="http://schemas.microsoft.com/office/2011/relationships/chartStyle" Target="style208.xml"/><Relationship Id="rId2" Type="http://schemas.microsoft.com/office/2011/relationships/chartColorStyle" Target="colors208.xml"/><Relationship Id="rId3" Type="http://schemas.openxmlformats.org/officeDocument/2006/relationships/package" Target="../embeddings/Microsoft_Excel_Worksheet422.xlsx"/></Relationships>
</file>

<file path=ppt/charts/_rels/chart424.xml.rels><?xml version='1.0' encoding='UTF-8' standalone='yes'?>
<Relationships xmlns="http://schemas.openxmlformats.org/package/2006/relationships"><Relationship Id="rId1" Type="http://schemas.microsoft.com/office/2011/relationships/chartStyle" Target="style209.xml"/><Relationship Id="rId2" Type="http://schemas.microsoft.com/office/2011/relationships/chartColorStyle" Target="colors209.xml"/><Relationship Id="rId3" Type="http://schemas.openxmlformats.org/officeDocument/2006/relationships/package" Target="../embeddings/Microsoft_Excel_Worksheet423.xlsx"/></Relationships>
</file>

<file path=ppt/charts/_rels/chart425.xml.rels><?xml version='1.0' encoding='UTF-8' standalone='yes'?>
<Relationships xmlns="http://schemas.openxmlformats.org/package/2006/relationships"><Relationship Id="rId1" Type="http://schemas.microsoft.com/office/2011/relationships/chartStyle" Target="style210.xml"/><Relationship Id="rId2" Type="http://schemas.microsoft.com/office/2011/relationships/chartColorStyle" Target="colors210.xml"/><Relationship Id="rId3" Type="http://schemas.openxmlformats.org/officeDocument/2006/relationships/package" Target="../embeddings/Microsoft_Excel_Worksheet424.xlsx"/></Relationships>
</file>

<file path=ppt/charts/_rels/chart426.xml.rels><?xml version='1.0' encoding='UTF-8' standalone='yes'?>
<Relationships xmlns="http://schemas.openxmlformats.org/package/2006/relationships"><Relationship Id="rId1" Type="http://schemas.microsoft.com/office/2011/relationships/chartStyle" Target="style211.xml"/><Relationship Id="rId2" Type="http://schemas.microsoft.com/office/2011/relationships/chartColorStyle" Target="colors211.xml"/><Relationship Id="rId3" Type="http://schemas.openxmlformats.org/officeDocument/2006/relationships/package" Target="../embeddings/Microsoft_Excel_Worksheet425.xlsx"/></Relationships>
</file>

<file path=ppt/charts/_rels/chart427.xml.rels><?xml version='1.0' encoding='UTF-8' standalone='yes'?>
<Relationships xmlns="http://schemas.openxmlformats.org/package/2006/relationships"><Relationship Id="rId1" Type="http://schemas.microsoft.com/office/2011/relationships/chartStyle" Target="style212.xml"/><Relationship Id="rId2" Type="http://schemas.microsoft.com/office/2011/relationships/chartColorStyle" Target="colors212.xml"/><Relationship Id="rId3" Type="http://schemas.openxmlformats.org/officeDocument/2006/relationships/package" Target="../embeddings/Microsoft_Excel_Worksheet426.xlsx"/></Relationships>
</file>

<file path=ppt/charts/_rels/chart428.xml.rels><?xml version='1.0' encoding='UTF-8' standalone='yes'?>
<Relationships xmlns="http://schemas.openxmlformats.org/package/2006/relationships"><Relationship Id="rId1" Type="http://schemas.microsoft.com/office/2011/relationships/chartStyle" Target="style213.xml"/><Relationship Id="rId2" Type="http://schemas.microsoft.com/office/2011/relationships/chartColorStyle" Target="colors213.xml"/><Relationship Id="rId3" Type="http://schemas.openxmlformats.org/officeDocument/2006/relationships/package" Target="../embeddings/Microsoft_Excel_Worksheet427.xlsx"/></Relationships>
</file>

<file path=ppt/charts/_rels/chart429.xml.rels><?xml version='1.0' encoding='UTF-8' standalone='yes'?>
<Relationships xmlns="http://schemas.openxmlformats.org/package/2006/relationships"><Relationship Id="rId1" Type="http://schemas.microsoft.com/office/2011/relationships/chartStyle" Target="style214.xml"/><Relationship Id="rId2" Type="http://schemas.microsoft.com/office/2011/relationships/chartColorStyle" Target="colors214.xml"/><Relationship Id="rId3" Type="http://schemas.openxmlformats.org/officeDocument/2006/relationships/package" Target="../embeddings/Microsoft_Excel_Worksheet428.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30.xml.rels><?xml version='1.0' encoding='UTF-8' standalone='yes'?>
<Relationships xmlns="http://schemas.openxmlformats.org/package/2006/relationships"><Relationship Id="rId1" Type="http://schemas.microsoft.com/office/2011/relationships/chartStyle" Target="style215.xml"/><Relationship Id="rId2" Type="http://schemas.microsoft.com/office/2011/relationships/chartColorStyle" Target="colors215.xml"/><Relationship Id="rId3" Type="http://schemas.openxmlformats.org/officeDocument/2006/relationships/package" Target="../embeddings/Microsoft_Excel_Worksheet429.xlsx"/></Relationships>
</file>

<file path=ppt/charts/_rels/chart431.xml.rels><?xml version='1.0' encoding='UTF-8' standalone='yes'?>
<Relationships xmlns="http://schemas.openxmlformats.org/package/2006/relationships"><Relationship Id="rId1" Type="http://schemas.microsoft.com/office/2011/relationships/chartStyle" Target="style216.xml"/><Relationship Id="rId2" Type="http://schemas.microsoft.com/office/2011/relationships/chartColorStyle" Target="colors216.xml"/><Relationship Id="rId3" Type="http://schemas.openxmlformats.org/officeDocument/2006/relationships/package" Target="../embeddings/Microsoft_Excel_Worksheet430.xlsx"/></Relationships>
</file>

<file path=ppt/charts/_rels/chart432.xml.rels><?xml version='1.0' encoding='UTF-8' standalone='yes'?>
<Relationships xmlns="http://schemas.openxmlformats.org/package/2006/relationships"><Relationship Id="rId1" Type="http://schemas.microsoft.com/office/2011/relationships/chartStyle" Target="style217.xml"/><Relationship Id="rId2" Type="http://schemas.microsoft.com/office/2011/relationships/chartColorStyle" Target="colors217.xml"/><Relationship Id="rId3" Type="http://schemas.openxmlformats.org/officeDocument/2006/relationships/package" Target="../embeddings/Microsoft_Excel_Worksheet431.xlsx"/></Relationships>
</file>

<file path=ppt/charts/_rels/chart433.xml.rels><?xml version='1.0' encoding='UTF-8' standalone='yes'?>
<Relationships xmlns="http://schemas.openxmlformats.org/package/2006/relationships"><Relationship Id="rId1" Type="http://schemas.microsoft.com/office/2011/relationships/chartStyle" Target="style218.xml"/><Relationship Id="rId2" Type="http://schemas.microsoft.com/office/2011/relationships/chartColorStyle" Target="colors218.xml"/><Relationship Id="rId3" Type="http://schemas.openxmlformats.org/officeDocument/2006/relationships/package" Target="../embeddings/Microsoft_Excel_Worksheet432.xlsx"/></Relationships>
</file>

<file path=ppt/charts/_rels/chart434.xml.rels><?xml version='1.0' encoding='UTF-8' standalone='yes'?>
<Relationships xmlns="http://schemas.openxmlformats.org/package/2006/relationships"><Relationship Id="rId1" Type="http://schemas.microsoft.com/office/2011/relationships/chartStyle" Target="style219.xml"/><Relationship Id="rId2" Type="http://schemas.microsoft.com/office/2011/relationships/chartColorStyle" Target="colors219.xml"/><Relationship Id="rId3" Type="http://schemas.openxmlformats.org/officeDocument/2006/relationships/package" Target="../embeddings/Microsoft_Excel_Worksheet433.xlsx"/></Relationships>
</file>

<file path=ppt/charts/_rels/chart435.xml.rels><?xml version='1.0' encoding='UTF-8' standalone='yes'?>
<Relationships xmlns="http://schemas.openxmlformats.org/package/2006/relationships"><Relationship Id="rId1" Type="http://schemas.microsoft.com/office/2011/relationships/chartStyle" Target="style220.xml"/><Relationship Id="rId2" Type="http://schemas.microsoft.com/office/2011/relationships/chartColorStyle" Target="colors220.xml"/><Relationship Id="rId3" Type="http://schemas.openxmlformats.org/officeDocument/2006/relationships/package" Target="../embeddings/Microsoft_Excel_Worksheet434.xlsx"/></Relationships>
</file>

<file path=ppt/charts/_rels/chart436.xml.rels><?xml version='1.0' encoding='UTF-8' standalone='yes'?>
<Relationships xmlns="http://schemas.openxmlformats.org/package/2006/relationships"><Relationship Id="rId1" Type="http://schemas.microsoft.com/office/2011/relationships/chartStyle" Target="style221.xml"/><Relationship Id="rId2" Type="http://schemas.microsoft.com/office/2011/relationships/chartColorStyle" Target="colors221.xml"/><Relationship Id="rId3" Type="http://schemas.openxmlformats.org/officeDocument/2006/relationships/package" Target="../embeddings/Microsoft_Excel_Worksheet435.xlsx"/></Relationships>
</file>

<file path=ppt/charts/_rels/chart437.xml.rels><?xml version='1.0' encoding='UTF-8' standalone='yes'?>
<Relationships xmlns="http://schemas.openxmlformats.org/package/2006/relationships"><Relationship Id="rId1" Type="http://schemas.microsoft.com/office/2011/relationships/chartStyle" Target="style222.xml"/><Relationship Id="rId2" Type="http://schemas.microsoft.com/office/2011/relationships/chartColorStyle" Target="colors222.xml"/><Relationship Id="rId3" Type="http://schemas.openxmlformats.org/officeDocument/2006/relationships/package" Target="../embeddings/Microsoft_Excel_Worksheet436.xlsx"/></Relationships>
</file>

<file path=ppt/charts/_rels/chart438.xml.rels><?xml version='1.0' encoding='UTF-8' standalone='yes'?>
<Relationships xmlns="http://schemas.openxmlformats.org/package/2006/relationships"><Relationship Id="rId1" Type="http://schemas.microsoft.com/office/2011/relationships/chartStyle" Target="style223.xml"/><Relationship Id="rId2" Type="http://schemas.microsoft.com/office/2011/relationships/chartColorStyle" Target="colors223.xml"/><Relationship Id="rId3" Type="http://schemas.openxmlformats.org/officeDocument/2006/relationships/package" Target="../embeddings/Microsoft_Excel_Worksheet437.xlsx"/></Relationships>
</file>

<file path=ppt/charts/_rels/chart439.xml.rels><?xml version='1.0' encoding='UTF-8' standalone='yes'?>
<Relationships xmlns="http://schemas.openxmlformats.org/package/2006/relationships"><Relationship Id="rId1" Type="http://schemas.microsoft.com/office/2011/relationships/chartStyle" Target="style224.xml"/><Relationship Id="rId2" Type="http://schemas.microsoft.com/office/2011/relationships/chartColorStyle" Target="colors224.xml"/><Relationship Id="rId3" Type="http://schemas.openxmlformats.org/officeDocument/2006/relationships/package" Target="../embeddings/Microsoft_Excel_Worksheet438.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40.xml.rels><?xml version='1.0' encoding='UTF-8' standalone='yes'?>
<Relationships xmlns="http://schemas.openxmlformats.org/package/2006/relationships"><Relationship Id="rId1" Type="http://schemas.microsoft.com/office/2011/relationships/chartStyle" Target="style225.xml"/><Relationship Id="rId2" Type="http://schemas.microsoft.com/office/2011/relationships/chartColorStyle" Target="colors225.xml"/><Relationship Id="rId3" Type="http://schemas.openxmlformats.org/officeDocument/2006/relationships/package" Target="../embeddings/Microsoft_Excel_Worksheet439.xlsx"/></Relationships>
</file>

<file path=ppt/charts/_rels/chart441.xml.rels><?xml version='1.0' encoding='UTF-8' standalone='yes'?>
<Relationships xmlns="http://schemas.openxmlformats.org/package/2006/relationships"><Relationship Id="rId1" Type="http://schemas.microsoft.com/office/2011/relationships/chartStyle" Target="style226.xml"/><Relationship Id="rId2" Type="http://schemas.microsoft.com/office/2011/relationships/chartColorStyle" Target="colors226.xml"/><Relationship Id="rId3" Type="http://schemas.openxmlformats.org/officeDocument/2006/relationships/package" Target="../embeddings/Microsoft_Excel_Worksheet440.xlsx"/></Relationships>
</file>

<file path=ppt/charts/_rels/chart442.xml.rels><?xml version='1.0' encoding='UTF-8' standalone='yes'?>
<Relationships xmlns="http://schemas.openxmlformats.org/package/2006/relationships"><Relationship Id="rId1" Type="http://schemas.microsoft.com/office/2011/relationships/chartStyle" Target="style227.xml"/><Relationship Id="rId2" Type="http://schemas.microsoft.com/office/2011/relationships/chartColorStyle" Target="colors227.xml"/><Relationship Id="rId3" Type="http://schemas.openxmlformats.org/officeDocument/2006/relationships/package" Target="../embeddings/Microsoft_Excel_Worksheet441.xlsx"/></Relationships>
</file>

<file path=ppt/charts/_rels/chart443.xml.rels><?xml version='1.0' encoding='UTF-8' standalone='yes'?>
<Relationships xmlns="http://schemas.openxmlformats.org/package/2006/relationships"><Relationship Id="rId1" Type="http://schemas.microsoft.com/office/2011/relationships/chartStyle" Target="style228.xml"/><Relationship Id="rId2" Type="http://schemas.microsoft.com/office/2011/relationships/chartColorStyle" Target="colors228.xml"/><Relationship Id="rId3" Type="http://schemas.openxmlformats.org/officeDocument/2006/relationships/package" Target="../embeddings/Microsoft_Excel_Worksheet442.xlsx"/></Relationships>
</file>

<file path=ppt/charts/_rels/chart444.xml.rels><?xml version='1.0' encoding='UTF-8' standalone='yes'?>
<Relationships xmlns="http://schemas.openxmlformats.org/package/2006/relationships"><Relationship Id="rId1" Type="http://schemas.microsoft.com/office/2011/relationships/chartStyle" Target="style229.xml"/><Relationship Id="rId2" Type="http://schemas.microsoft.com/office/2011/relationships/chartColorStyle" Target="colors229.xml"/><Relationship Id="rId3" Type="http://schemas.openxmlformats.org/officeDocument/2006/relationships/package" Target="../embeddings/Microsoft_Excel_Worksheet443.xlsx"/></Relationships>
</file>

<file path=ppt/charts/_rels/chart445.xml.rels><?xml version='1.0' encoding='UTF-8' standalone='yes'?>
<Relationships xmlns="http://schemas.openxmlformats.org/package/2006/relationships"><Relationship Id="rId1" Type="http://schemas.microsoft.com/office/2011/relationships/chartStyle" Target="style230.xml"/><Relationship Id="rId2" Type="http://schemas.microsoft.com/office/2011/relationships/chartColorStyle" Target="colors230.xml"/><Relationship Id="rId3" Type="http://schemas.openxmlformats.org/officeDocument/2006/relationships/package" Target="../embeddings/Microsoft_Excel_Worksheet444.xlsx"/></Relationships>
</file>

<file path=ppt/charts/_rels/chart446.xml.rels><?xml version='1.0' encoding='UTF-8' standalone='yes'?>
<Relationships xmlns="http://schemas.openxmlformats.org/package/2006/relationships"><Relationship Id="rId1" Type="http://schemas.microsoft.com/office/2011/relationships/chartStyle" Target="style231.xml"/><Relationship Id="rId2" Type="http://schemas.microsoft.com/office/2011/relationships/chartColorStyle" Target="colors231.xml"/><Relationship Id="rId3" Type="http://schemas.openxmlformats.org/officeDocument/2006/relationships/package" Target="../embeddings/Microsoft_Excel_Worksheet445.xlsx"/></Relationships>
</file>

<file path=ppt/charts/_rels/chart447.xml.rels><?xml version='1.0' encoding='UTF-8' standalone='yes'?>
<Relationships xmlns="http://schemas.openxmlformats.org/package/2006/relationships"><Relationship Id="rId1" Type="http://schemas.microsoft.com/office/2011/relationships/chartStyle" Target="style232.xml"/><Relationship Id="rId2" Type="http://schemas.microsoft.com/office/2011/relationships/chartColorStyle" Target="colors232.xml"/><Relationship Id="rId3" Type="http://schemas.openxmlformats.org/officeDocument/2006/relationships/package" Target="../embeddings/Microsoft_Excel_Worksheet446.xlsx"/></Relationships>
</file>

<file path=ppt/charts/_rels/chart448.xml.rels><?xml version='1.0' encoding='UTF-8' standalone='yes'?>
<Relationships xmlns="http://schemas.openxmlformats.org/package/2006/relationships"><Relationship Id="rId1" Type="http://schemas.microsoft.com/office/2011/relationships/chartStyle" Target="style233.xml"/><Relationship Id="rId2" Type="http://schemas.microsoft.com/office/2011/relationships/chartColorStyle" Target="colors233.xml"/><Relationship Id="rId3" Type="http://schemas.openxmlformats.org/officeDocument/2006/relationships/package" Target="../embeddings/Microsoft_Excel_Worksheet447.xlsx"/></Relationships>
</file>

<file path=ppt/charts/_rels/chart449.xml.rels><?xml version='1.0' encoding='UTF-8' standalone='yes'?>
<Relationships xmlns="http://schemas.openxmlformats.org/package/2006/relationships"><Relationship Id="rId1" Type="http://schemas.microsoft.com/office/2011/relationships/chartStyle" Target="style234.xml"/><Relationship Id="rId2" Type="http://schemas.microsoft.com/office/2011/relationships/chartColorStyle" Target="colors234.xml"/><Relationship Id="rId3" Type="http://schemas.openxmlformats.org/officeDocument/2006/relationships/package" Target="../embeddings/Microsoft_Excel_Worksheet448.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50.xml.rels><?xml version='1.0' encoding='UTF-8' standalone='yes'?>
<Relationships xmlns="http://schemas.openxmlformats.org/package/2006/relationships"><Relationship Id="rId1" Type="http://schemas.microsoft.com/office/2011/relationships/chartStyle" Target="style235.xml"/><Relationship Id="rId2" Type="http://schemas.microsoft.com/office/2011/relationships/chartColorStyle" Target="colors235.xml"/><Relationship Id="rId3" Type="http://schemas.openxmlformats.org/officeDocument/2006/relationships/package" Target="../embeddings/Microsoft_Excel_Worksheet449.xlsx"/></Relationships>
</file>

<file path=ppt/charts/_rels/chart451.xml.rels><?xml version='1.0' encoding='UTF-8' standalone='yes'?>
<Relationships xmlns="http://schemas.openxmlformats.org/package/2006/relationships"><Relationship Id="rId1" Type="http://schemas.microsoft.com/office/2011/relationships/chartStyle" Target="style236.xml"/><Relationship Id="rId2" Type="http://schemas.microsoft.com/office/2011/relationships/chartColorStyle" Target="colors236.xml"/><Relationship Id="rId3" Type="http://schemas.openxmlformats.org/officeDocument/2006/relationships/package" Target="../embeddings/Microsoft_Excel_Worksheet450.xlsx"/></Relationships>
</file>

<file path=ppt/charts/_rels/chart452.xml.rels><?xml version='1.0' encoding='UTF-8' standalone='yes'?>
<Relationships xmlns="http://schemas.openxmlformats.org/package/2006/relationships"><Relationship Id="rId1" Type="http://schemas.microsoft.com/office/2011/relationships/chartStyle" Target="style237.xml"/><Relationship Id="rId2" Type="http://schemas.microsoft.com/office/2011/relationships/chartColorStyle" Target="colors237.xml"/><Relationship Id="rId3" Type="http://schemas.openxmlformats.org/officeDocument/2006/relationships/package" Target="../embeddings/Microsoft_Excel_Worksheet451.xlsx"/></Relationships>
</file>

<file path=ppt/charts/_rels/chart453.xml.rels><?xml version='1.0' encoding='UTF-8' standalone='yes'?>
<Relationships xmlns="http://schemas.openxmlformats.org/package/2006/relationships"><Relationship Id="rId1" Type="http://schemas.microsoft.com/office/2011/relationships/chartStyle" Target="style238.xml"/><Relationship Id="rId2" Type="http://schemas.microsoft.com/office/2011/relationships/chartColorStyle" Target="colors238.xml"/><Relationship Id="rId3" Type="http://schemas.openxmlformats.org/officeDocument/2006/relationships/package" Target="../embeddings/Microsoft_Excel_Worksheet452.xlsx"/></Relationships>
</file>

<file path=ppt/charts/_rels/chart454.xml.rels><?xml version='1.0' encoding='UTF-8' standalone='yes'?>
<Relationships xmlns="http://schemas.openxmlformats.org/package/2006/relationships"><Relationship Id="rId1" Type="http://schemas.microsoft.com/office/2011/relationships/chartStyle" Target="style239.xml"/><Relationship Id="rId2" Type="http://schemas.microsoft.com/office/2011/relationships/chartColorStyle" Target="colors239.xml"/><Relationship Id="rId3" Type="http://schemas.openxmlformats.org/officeDocument/2006/relationships/package" Target="../embeddings/Microsoft_Excel_Worksheet453.xlsx"/></Relationships>
</file>

<file path=ppt/charts/_rels/chart455.xml.rels><?xml version='1.0' encoding='UTF-8' standalone='yes'?>
<Relationships xmlns="http://schemas.openxmlformats.org/package/2006/relationships"><Relationship Id="rId1" Type="http://schemas.microsoft.com/office/2011/relationships/chartStyle" Target="style240.xml"/><Relationship Id="rId2" Type="http://schemas.microsoft.com/office/2011/relationships/chartColorStyle" Target="colors240.xml"/><Relationship Id="rId3" Type="http://schemas.openxmlformats.org/officeDocument/2006/relationships/package" Target="../embeddings/Microsoft_Excel_Worksheet454.xlsx"/></Relationships>
</file>

<file path=ppt/charts/_rels/chart456.xml.rels><?xml version='1.0' encoding='UTF-8' standalone='yes'?>
<Relationships xmlns="http://schemas.openxmlformats.org/package/2006/relationships"><Relationship Id="rId1" Type="http://schemas.microsoft.com/office/2011/relationships/chartStyle" Target="style241.xml"/><Relationship Id="rId2" Type="http://schemas.microsoft.com/office/2011/relationships/chartColorStyle" Target="colors241.xml"/><Relationship Id="rId3" Type="http://schemas.openxmlformats.org/officeDocument/2006/relationships/package" Target="../embeddings/Microsoft_Excel_Worksheet455.xlsx"/></Relationships>
</file>

<file path=ppt/charts/_rels/chart457.xml.rels><?xml version='1.0' encoding='UTF-8' standalone='yes'?>
<Relationships xmlns="http://schemas.openxmlformats.org/package/2006/relationships"><Relationship Id="rId1" Type="http://schemas.microsoft.com/office/2011/relationships/chartStyle" Target="style242.xml"/><Relationship Id="rId2" Type="http://schemas.microsoft.com/office/2011/relationships/chartColorStyle" Target="colors242.xml"/><Relationship Id="rId3" Type="http://schemas.openxmlformats.org/officeDocument/2006/relationships/package" Target="../embeddings/Microsoft_Excel_Worksheet456.xlsx"/></Relationships>
</file>

<file path=ppt/charts/_rels/chart458.xml.rels><?xml version='1.0' encoding='UTF-8' standalone='yes'?>
<Relationships xmlns="http://schemas.openxmlformats.org/package/2006/relationships"><Relationship Id="rId1" Type="http://schemas.microsoft.com/office/2011/relationships/chartStyle" Target="style243.xml"/><Relationship Id="rId2" Type="http://schemas.microsoft.com/office/2011/relationships/chartColorStyle" Target="colors243.xml"/><Relationship Id="rId3" Type="http://schemas.openxmlformats.org/officeDocument/2006/relationships/package" Target="../embeddings/Microsoft_Excel_Worksheet457.xlsx"/></Relationships>
</file>

<file path=ppt/charts/_rels/chart459.xml.rels><?xml version='1.0' encoding='UTF-8' standalone='yes'?>
<Relationships xmlns="http://schemas.openxmlformats.org/package/2006/relationships"><Relationship Id="rId1" Type="http://schemas.microsoft.com/office/2011/relationships/chartStyle" Target="style244.xml"/><Relationship Id="rId2" Type="http://schemas.microsoft.com/office/2011/relationships/chartColorStyle" Target="colors244.xml"/><Relationship Id="rId3" Type="http://schemas.openxmlformats.org/officeDocument/2006/relationships/package" Target="../embeddings/Microsoft_Excel_Worksheet458.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60.xml.rels><?xml version='1.0' encoding='UTF-8' standalone='yes'?>
<Relationships xmlns="http://schemas.openxmlformats.org/package/2006/relationships"><Relationship Id="rId1" Type="http://schemas.microsoft.com/office/2011/relationships/chartStyle" Target="style245.xml"/><Relationship Id="rId2" Type="http://schemas.microsoft.com/office/2011/relationships/chartColorStyle" Target="colors245.xml"/><Relationship Id="rId3" Type="http://schemas.openxmlformats.org/officeDocument/2006/relationships/package" Target="../embeddings/Microsoft_Excel_Worksheet459.xlsx"/></Relationships>
</file>

<file path=ppt/charts/_rels/chart461.xml.rels><?xml version='1.0' encoding='UTF-8' standalone='yes'?>
<Relationships xmlns="http://schemas.openxmlformats.org/package/2006/relationships"><Relationship Id="rId1" Type="http://schemas.microsoft.com/office/2011/relationships/chartStyle" Target="style246.xml"/><Relationship Id="rId2" Type="http://schemas.microsoft.com/office/2011/relationships/chartColorStyle" Target="colors246.xml"/><Relationship Id="rId3" Type="http://schemas.openxmlformats.org/officeDocument/2006/relationships/package" Target="../embeddings/Microsoft_Excel_Worksheet460.xlsx"/></Relationships>
</file>

<file path=ppt/charts/_rels/chart462.xml.rels><?xml version='1.0' encoding='UTF-8' standalone='yes'?>
<Relationships xmlns="http://schemas.openxmlformats.org/package/2006/relationships"><Relationship Id="rId1" Type="http://schemas.microsoft.com/office/2011/relationships/chartStyle" Target="style247.xml"/><Relationship Id="rId2" Type="http://schemas.microsoft.com/office/2011/relationships/chartColorStyle" Target="colors247.xml"/><Relationship Id="rId3" Type="http://schemas.openxmlformats.org/officeDocument/2006/relationships/package" Target="../embeddings/Microsoft_Excel_Worksheet461.xlsx"/></Relationships>
</file>

<file path=ppt/charts/_rels/chart463.xml.rels><?xml version='1.0' encoding='UTF-8' standalone='yes'?>
<Relationships xmlns="http://schemas.openxmlformats.org/package/2006/relationships"><Relationship Id="rId1" Type="http://schemas.microsoft.com/office/2011/relationships/chartStyle" Target="style248.xml"/><Relationship Id="rId2" Type="http://schemas.microsoft.com/office/2011/relationships/chartColorStyle" Target="colors248.xml"/><Relationship Id="rId3" Type="http://schemas.openxmlformats.org/officeDocument/2006/relationships/package" Target="../embeddings/Microsoft_Excel_Worksheet462.xlsx"/></Relationships>
</file>

<file path=ppt/charts/_rels/chart464.xml.rels><?xml version='1.0' encoding='UTF-8' standalone='yes'?>
<Relationships xmlns="http://schemas.openxmlformats.org/package/2006/relationships"><Relationship Id="rId1" Type="http://schemas.microsoft.com/office/2011/relationships/chartStyle" Target="style249.xml"/><Relationship Id="rId2" Type="http://schemas.microsoft.com/office/2011/relationships/chartColorStyle" Target="colors249.xml"/><Relationship Id="rId3" Type="http://schemas.openxmlformats.org/officeDocument/2006/relationships/package" Target="../embeddings/Microsoft_Excel_Worksheet463.xlsx"/></Relationships>
</file>

<file path=ppt/charts/_rels/chart465.xml.rels><?xml version='1.0' encoding='UTF-8' standalone='yes'?>
<Relationships xmlns="http://schemas.openxmlformats.org/package/2006/relationships"><Relationship Id="rId1" Type="http://schemas.microsoft.com/office/2011/relationships/chartStyle" Target="style250.xml"/><Relationship Id="rId2" Type="http://schemas.microsoft.com/office/2011/relationships/chartColorStyle" Target="colors250.xml"/><Relationship Id="rId3" Type="http://schemas.openxmlformats.org/officeDocument/2006/relationships/package" Target="../embeddings/Microsoft_Excel_Worksheet464.xlsx"/></Relationships>
</file>

<file path=ppt/charts/_rels/chart466.xml.rels><?xml version='1.0' encoding='UTF-8' standalone='yes'?>
<Relationships xmlns="http://schemas.openxmlformats.org/package/2006/relationships"><Relationship Id="rId1" Type="http://schemas.microsoft.com/office/2011/relationships/chartStyle" Target="style251.xml"/><Relationship Id="rId2" Type="http://schemas.microsoft.com/office/2011/relationships/chartColorStyle" Target="colors251.xml"/><Relationship Id="rId3" Type="http://schemas.openxmlformats.org/officeDocument/2006/relationships/package" Target="../embeddings/Microsoft_Excel_Worksheet465.xlsx"/></Relationships>
</file>

<file path=ppt/charts/_rels/chart467.xml.rels><?xml version='1.0' encoding='UTF-8' standalone='yes'?>
<Relationships xmlns="http://schemas.openxmlformats.org/package/2006/relationships"><Relationship Id="rId1" Type="http://schemas.microsoft.com/office/2011/relationships/chartStyle" Target="style252.xml"/><Relationship Id="rId2" Type="http://schemas.microsoft.com/office/2011/relationships/chartColorStyle" Target="colors252.xml"/><Relationship Id="rId3" Type="http://schemas.openxmlformats.org/officeDocument/2006/relationships/package" Target="../embeddings/Microsoft_Excel_Worksheet466.xlsx"/></Relationships>
</file>

<file path=ppt/charts/_rels/chart468.xml.rels><?xml version='1.0' encoding='UTF-8' standalone='yes'?>
<Relationships xmlns="http://schemas.openxmlformats.org/package/2006/relationships"><Relationship Id="rId1" Type="http://schemas.microsoft.com/office/2011/relationships/chartStyle" Target="style253.xml"/><Relationship Id="rId2" Type="http://schemas.microsoft.com/office/2011/relationships/chartColorStyle" Target="colors253.xml"/><Relationship Id="rId3" Type="http://schemas.openxmlformats.org/officeDocument/2006/relationships/package" Target="../embeddings/Microsoft_Excel_Worksheet467.xlsx"/></Relationships>
</file>

<file path=ppt/charts/_rels/chart469.xml.rels><?xml version='1.0' encoding='UTF-8' standalone='yes'?>
<Relationships xmlns="http://schemas.openxmlformats.org/package/2006/relationships"><Relationship Id="rId1" Type="http://schemas.microsoft.com/office/2011/relationships/chartStyle" Target="style254.xml"/><Relationship Id="rId2" Type="http://schemas.microsoft.com/office/2011/relationships/chartColorStyle" Target="colors254.xml"/><Relationship Id="rId3" Type="http://schemas.openxmlformats.org/officeDocument/2006/relationships/package" Target="../embeddings/Microsoft_Excel_Worksheet468.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70.xml.rels><?xml version='1.0' encoding='UTF-8' standalone='yes'?>
<Relationships xmlns="http://schemas.openxmlformats.org/package/2006/relationships"><Relationship Id="rId1" Type="http://schemas.microsoft.com/office/2011/relationships/chartStyle" Target="style255.xml"/><Relationship Id="rId2" Type="http://schemas.microsoft.com/office/2011/relationships/chartColorStyle" Target="colors255.xml"/><Relationship Id="rId3" Type="http://schemas.openxmlformats.org/officeDocument/2006/relationships/package" Target="../embeddings/Microsoft_Excel_Worksheet469.xlsx"/></Relationships>
</file>

<file path=ppt/charts/_rels/chart471.xml.rels><?xml version='1.0' encoding='UTF-8' standalone='yes'?>
<Relationships xmlns="http://schemas.openxmlformats.org/package/2006/relationships"><Relationship Id="rId1" Type="http://schemas.microsoft.com/office/2011/relationships/chartStyle" Target="style256.xml"/><Relationship Id="rId2" Type="http://schemas.microsoft.com/office/2011/relationships/chartColorStyle" Target="colors256.xml"/><Relationship Id="rId3" Type="http://schemas.openxmlformats.org/officeDocument/2006/relationships/package" Target="../embeddings/Microsoft_Excel_Worksheet470.xlsx"/></Relationships>
</file>

<file path=ppt/charts/_rels/chart472.xml.rels><?xml version='1.0' encoding='UTF-8' standalone='yes'?>
<Relationships xmlns="http://schemas.openxmlformats.org/package/2006/relationships"><Relationship Id="rId1" Type="http://schemas.microsoft.com/office/2011/relationships/chartStyle" Target="style257.xml"/><Relationship Id="rId2" Type="http://schemas.microsoft.com/office/2011/relationships/chartColorStyle" Target="colors257.xml"/><Relationship Id="rId3" Type="http://schemas.openxmlformats.org/officeDocument/2006/relationships/package" Target="../embeddings/Microsoft_Excel_Worksheet471.xlsx"/></Relationships>
</file>

<file path=ppt/charts/_rels/chart473.xml.rels><?xml version='1.0' encoding='UTF-8' standalone='yes'?>
<Relationships xmlns="http://schemas.openxmlformats.org/package/2006/relationships"><Relationship Id="rId1" Type="http://schemas.microsoft.com/office/2011/relationships/chartStyle" Target="style258.xml"/><Relationship Id="rId2" Type="http://schemas.microsoft.com/office/2011/relationships/chartColorStyle" Target="colors258.xml"/><Relationship Id="rId3" Type="http://schemas.openxmlformats.org/officeDocument/2006/relationships/package" Target="../embeddings/Microsoft_Excel_Worksheet472.xlsx"/></Relationships>
</file>

<file path=ppt/charts/_rels/chart474.xml.rels><?xml version='1.0' encoding='UTF-8' standalone='yes'?>
<Relationships xmlns="http://schemas.openxmlformats.org/package/2006/relationships"><Relationship Id="rId1" Type="http://schemas.microsoft.com/office/2011/relationships/chartStyle" Target="style259.xml"/><Relationship Id="rId2" Type="http://schemas.microsoft.com/office/2011/relationships/chartColorStyle" Target="colors259.xml"/><Relationship Id="rId3" Type="http://schemas.openxmlformats.org/officeDocument/2006/relationships/package" Target="../embeddings/Microsoft_Excel_Worksheet473.xlsx"/></Relationships>
</file>

<file path=ppt/charts/_rels/chart475.xml.rels><?xml version='1.0' encoding='UTF-8' standalone='yes'?>
<Relationships xmlns="http://schemas.openxmlformats.org/package/2006/relationships"><Relationship Id="rId1" Type="http://schemas.microsoft.com/office/2011/relationships/chartStyle" Target="style260.xml"/><Relationship Id="rId2" Type="http://schemas.microsoft.com/office/2011/relationships/chartColorStyle" Target="colors260.xml"/><Relationship Id="rId3" Type="http://schemas.openxmlformats.org/officeDocument/2006/relationships/package" Target="../embeddings/Microsoft_Excel_Worksheet474.xlsx"/></Relationships>
</file>

<file path=ppt/charts/_rels/chart476.xml.rels><?xml version='1.0' encoding='UTF-8' standalone='yes'?>
<Relationships xmlns="http://schemas.openxmlformats.org/package/2006/relationships"><Relationship Id="rId1" Type="http://schemas.microsoft.com/office/2011/relationships/chartStyle" Target="style261.xml"/><Relationship Id="rId2" Type="http://schemas.microsoft.com/office/2011/relationships/chartColorStyle" Target="colors261.xml"/><Relationship Id="rId3" Type="http://schemas.openxmlformats.org/officeDocument/2006/relationships/package" Target="../embeddings/Microsoft_Excel_Worksheet475.xlsx"/></Relationships>
</file>

<file path=ppt/charts/_rels/chart477.xml.rels><?xml version='1.0' encoding='UTF-8' standalone='yes'?>
<Relationships xmlns="http://schemas.openxmlformats.org/package/2006/relationships"><Relationship Id="rId1" Type="http://schemas.microsoft.com/office/2011/relationships/chartStyle" Target="style262.xml"/><Relationship Id="rId2" Type="http://schemas.microsoft.com/office/2011/relationships/chartColorStyle" Target="colors262.xml"/><Relationship Id="rId3" Type="http://schemas.openxmlformats.org/officeDocument/2006/relationships/package" Target="../embeddings/Microsoft_Excel_Worksheet476.xlsx"/></Relationships>
</file>

<file path=ppt/charts/_rels/chart478.xml.rels><?xml version='1.0' encoding='UTF-8' standalone='yes'?>
<Relationships xmlns="http://schemas.openxmlformats.org/package/2006/relationships"><Relationship Id="rId1" Type="http://schemas.microsoft.com/office/2011/relationships/chartStyle" Target="style263.xml"/><Relationship Id="rId2" Type="http://schemas.microsoft.com/office/2011/relationships/chartColorStyle" Target="colors263.xml"/><Relationship Id="rId3" Type="http://schemas.openxmlformats.org/officeDocument/2006/relationships/package" Target="../embeddings/Microsoft_Excel_Worksheet477.xlsx"/></Relationships>
</file>

<file path=ppt/charts/_rels/chart479.xml.rels><?xml version='1.0' encoding='UTF-8' standalone='yes'?>
<Relationships xmlns="http://schemas.openxmlformats.org/package/2006/relationships"><Relationship Id="rId1" Type="http://schemas.microsoft.com/office/2011/relationships/chartStyle" Target="style264.xml"/><Relationship Id="rId2" Type="http://schemas.microsoft.com/office/2011/relationships/chartColorStyle" Target="colors264.xml"/><Relationship Id="rId3" Type="http://schemas.openxmlformats.org/officeDocument/2006/relationships/package" Target="../embeddings/Microsoft_Excel_Worksheet478.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80.xml.rels><?xml version='1.0' encoding='UTF-8' standalone='yes'?>
<Relationships xmlns="http://schemas.openxmlformats.org/package/2006/relationships"><Relationship Id="rId1" Type="http://schemas.microsoft.com/office/2011/relationships/chartStyle" Target="style265.xml"/><Relationship Id="rId2" Type="http://schemas.microsoft.com/office/2011/relationships/chartColorStyle" Target="colors265.xml"/><Relationship Id="rId3" Type="http://schemas.openxmlformats.org/officeDocument/2006/relationships/package" Target="../embeddings/Microsoft_Excel_Worksheet479.xlsx"/></Relationships>
</file>

<file path=ppt/charts/_rels/chart481.xml.rels><?xml version='1.0' encoding='UTF-8' standalone='yes'?>
<Relationships xmlns="http://schemas.openxmlformats.org/package/2006/relationships"><Relationship Id="rId1" Type="http://schemas.microsoft.com/office/2011/relationships/chartStyle" Target="style266.xml"/><Relationship Id="rId2" Type="http://schemas.microsoft.com/office/2011/relationships/chartColorStyle" Target="colors266.xml"/><Relationship Id="rId3" Type="http://schemas.openxmlformats.org/officeDocument/2006/relationships/package" Target="../embeddings/Microsoft_Excel_Worksheet480.xlsx"/></Relationships>
</file>

<file path=ppt/charts/_rels/chart482.xml.rels><?xml version='1.0' encoding='UTF-8' standalone='yes'?>
<Relationships xmlns="http://schemas.openxmlformats.org/package/2006/relationships"><Relationship Id="rId1" Type="http://schemas.microsoft.com/office/2011/relationships/chartStyle" Target="style267.xml"/><Relationship Id="rId2" Type="http://schemas.microsoft.com/office/2011/relationships/chartColorStyle" Target="colors267.xml"/><Relationship Id="rId3" Type="http://schemas.openxmlformats.org/officeDocument/2006/relationships/package" Target="../embeddings/Microsoft_Excel_Worksheet481.xlsx"/></Relationships>
</file>

<file path=ppt/charts/_rels/chart483.xml.rels><?xml version='1.0' encoding='UTF-8' standalone='yes'?>
<Relationships xmlns="http://schemas.openxmlformats.org/package/2006/relationships"><Relationship Id="rId1" Type="http://schemas.microsoft.com/office/2011/relationships/chartStyle" Target="style268.xml"/><Relationship Id="rId2" Type="http://schemas.microsoft.com/office/2011/relationships/chartColorStyle" Target="colors268.xml"/><Relationship Id="rId3" Type="http://schemas.openxmlformats.org/officeDocument/2006/relationships/package" Target="../embeddings/Microsoft_Excel_Worksheet482.xlsx"/></Relationships>
</file>

<file path=ppt/charts/_rels/chart484.xml.rels><?xml version='1.0' encoding='UTF-8' standalone='yes'?>
<Relationships xmlns="http://schemas.openxmlformats.org/package/2006/relationships"><Relationship Id="rId1" Type="http://schemas.microsoft.com/office/2011/relationships/chartStyle" Target="style269.xml"/><Relationship Id="rId2" Type="http://schemas.microsoft.com/office/2011/relationships/chartColorStyle" Target="colors269.xml"/><Relationship Id="rId3" Type="http://schemas.openxmlformats.org/officeDocument/2006/relationships/package" Target="../embeddings/Microsoft_Excel_Worksheet483.xlsx"/></Relationships>
</file>

<file path=ppt/charts/_rels/chart485.xml.rels><?xml version='1.0' encoding='UTF-8' standalone='yes'?>
<Relationships xmlns="http://schemas.openxmlformats.org/package/2006/relationships"><Relationship Id="rId1" Type="http://schemas.microsoft.com/office/2011/relationships/chartStyle" Target="style270.xml"/><Relationship Id="rId2" Type="http://schemas.microsoft.com/office/2011/relationships/chartColorStyle" Target="colors270.xml"/><Relationship Id="rId3" Type="http://schemas.openxmlformats.org/officeDocument/2006/relationships/package" Target="../embeddings/Microsoft_Excel_Worksheet484.xlsx"/></Relationships>
</file>

<file path=ppt/charts/_rels/chart486.xml.rels><?xml version='1.0' encoding='UTF-8' standalone='yes'?>
<Relationships xmlns="http://schemas.openxmlformats.org/package/2006/relationships"><Relationship Id="rId1" Type="http://schemas.microsoft.com/office/2011/relationships/chartStyle" Target="style271.xml"/><Relationship Id="rId2" Type="http://schemas.microsoft.com/office/2011/relationships/chartColorStyle" Target="colors271.xml"/><Relationship Id="rId3" Type="http://schemas.openxmlformats.org/officeDocument/2006/relationships/package" Target="../embeddings/Microsoft_Excel_Worksheet485.xlsx"/></Relationships>
</file>

<file path=ppt/charts/_rels/chart487.xml.rels><?xml version='1.0' encoding='UTF-8' standalone='yes'?>
<Relationships xmlns="http://schemas.openxmlformats.org/package/2006/relationships"><Relationship Id="rId1" Type="http://schemas.microsoft.com/office/2011/relationships/chartStyle" Target="style272.xml"/><Relationship Id="rId2" Type="http://schemas.microsoft.com/office/2011/relationships/chartColorStyle" Target="colors272.xml"/><Relationship Id="rId3" Type="http://schemas.openxmlformats.org/officeDocument/2006/relationships/package" Target="../embeddings/Microsoft_Excel_Worksheet486.xlsx"/></Relationships>
</file>

<file path=ppt/charts/_rels/chart488.xml.rels><?xml version='1.0' encoding='UTF-8' standalone='yes'?>
<Relationships xmlns="http://schemas.openxmlformats.org/package/2006/relationships"><Relationship Id="rId1" Type="http://schemas.microsoft.com/office/2011/relationships/chartStyle" Target="style273.xml"/><Relationship Id="rId2" Type="http://schemas.microsoft.com/office/2011/relationships/chartColorStyle" Target="colors273.xml"/><Relationship Id="rId3" Type="http://schemas.openxmlformats.org/officeDocument/2006/relationships/package" Target="../embeddings/Microsoft_Excel_Worksheet487.xlsx"/></Relationships>
</file>

<file path=ppt/charts/_rels/chart489.xml.rels><?xml version='1.0' encoding='UTF-8' standalone='yes'?>
<Relationships xmlns="http://schemas.openxmlformats.org/package/2006/relationships"><Relationship Id="rId1" Type="http://schemas.microsoft.com/office/2011/relationships/chartStyle" Target="style274.xml"/><Relationship Id="rId2" Type="http://schemas.microsoft.com/office/2011/relationships/chartColorStyle" Target="colors274.xml"/><Relationship Id="rId3" Type="http://schemas.openxmlformats.org/officeDocument/2006/relationships/package" Target="../embeddings/Microsoft_Excel_Worksheet488.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490.xml.rels><?xml version='1.0' encoding='UTF-8' standalone='yes'?>
<Relationships xmlns="http://schemas.openxmlformats.org/package/2006/relationships"><Relationship Id="rId1" Type="http://schemas.microsoft.com/office/2011/relationships/chartStyle" Target="style275.xml"/><Relationship Id="rId2" Type="http://schemas.microsoft.com/office/2011/relationships/chartColorStyle" Target="colors275.xml"/><Relationship Id="rId3" Type="http://schemas.openxmlformats.org/officeDocument/2006/relationships/package" Target="../embeddings/Microsoft_Excel_Worksheet489.xlsx"/></Relationships>
</file>

<file path=ppt/charts/_rels/chart491.xml.rels><?xml version='1.0' encoding='UTF-8' standalone='yes'?>
<Relationships xmlns="http://schemas.openxmlformats.org/package/2006/relationships"><Relationship Id="rId1" Type="http://schemas.microsoft.com/office/2011/relationships/chartStyle" Target="style276.xml"/><Relationship Id="rId2" Type="http://schemas.microsoft.com/office/2011/relationships/chartColorStyle" Target="colors276.xml"/><Relationship Id="rId3" Type="http://schemas.openxmlformats.org/officeDocument/2006/relationships/package" Target="../embeddings/Microsoft_Excel_Worksheet490.xlsx"/></Relationships>
</file>

<file path=ppt/charts/_rels/chart492.xml.rels><?xml version='1.0' encoding='UTF-8' standalone='yes'?>
<Relationships xmlns="http://schemas.openxmlformats.org/package/2006/relationships"><Relationship Id="rId1" Type="http://schemas.microsoft.com/office/2011/relationships/chartStyle" Target="style277.xml"/><Relationship Id="rId2" Type="http://schemas.microsoft.com/office/2011/relationships/chartColorStyle" Target="colors277.xml"/><Relationship Id="rId3" Type="http://schemas.openxmlformats.org/officeDocument/2006/relationships/package" Target="../embeddings/Microsoft_Excel_Worksheet491.xlsx"/></Relationships>
</file>

<file path=ppt/charts/_rels/chart493.xml.rels><?xml version='1.0' encoding='UTF-8' standalone='yes'?>
<Relationships xmlns="http://schemas.openxmlformats.org/package/2006/relationships"><Relationship Id="rId1" Type="http://schemas.microsoft.com/office/2011/relationships/chartStyle" Target="style278.xml"/><Relationship Id="rId2" Type="http://schemas.microsoft.com/office/2011/relationships/chartColorStyle" Target="colors278.xml"/><Relationship Id="rId3" Type="http://schemas.openxmlformats.org/officeDocument/2006/relationships/package" Target="../embeddings/Microsoft_Excel_Worksheet492.xlsx"/></Relationships>
</file>

<file path=ppt/charts/_rels/chart494.xml.rels><?xml version='1.0' encoding='UTF-8' standalone='yes'?>
<Relationships xmlns="http://schemas.openxmlformats.org/package/2006/relationships"><Relationship Id="rId1" Type="http://schemas.microsoft.com/office/2011/relationships/chartStyle" Target="style279.xml"/><Relationship Id="rId2" Type="http://schemas.microsoft.com/office/2011/relationships/chartColorStyle" Target="colors279.xml"/><Relationship Id="rId3" Type="http://schemas.openxmlformats.org/officeDocument/2006/relationships/package" Target="../embeddings/Microsoft_Excel_Worksheet493.xlsx"/></Relationships>
</file>

<file path=ppt/charts/_rels/chart495.xml.rels><?xml version='1.0' encoding='UTF-8' standalone='yes'?>
<Relationships xmlns="http://schemas.openxmlformats.org/package/2006/relationships"><Relationship Id="rId1" Type="http://schemas.microsoft.com/office/2011/relationships/chartStyle" Target="style280.xml"/><Relationship Id="rId2" Type="http://schemas.microsoft.com/office/2011/relationships/chartColorStyle" Target="colors280.xml"/><Relationship Id="rId3" Type="http://schemas.openxmlformats.org/officeDocument/2006/relationships/package" Target="../embeddings/Microsoft_Excel_Worksheet494.xlsx"/></Relationships>
</file>

<file path=ppt/charts/_rels/chart496.xml.rels><?xml version='1.0' encoding='UTF-8' standalone='yes'?>
<Relationships xmlns="http://schemas.openxmlformats.org/package/2006/relationships"><Relationship Id="rId1" Type="http://schemas.microsoft.com/office/2011/relationships/chartStyle" Target="style281.xml"/><Relationship Id="rId2" Type="http://schemas.microsoft.com/office/2011/relationships/chartColorStyle" Target="colors281.xml"/><Relationship Id="rId3" Type="http://schemas.openxmlformats.org/officeDocument/2006/relationships/package" Target="../embeddings/Microsoft_Excel_Worksheet495.xlsx"/></Relationships>
</file>

<file path=ppt/charts/_rels/chart497.xml.rels><?xml version='1.0' encoding='UTF-8' standalone='yes'?>
<Relationships xmlns="http://schemas.openxmlformats.org/package/2006/relationships"><Relationship Id="rId1" Type="http://schemas.microsoft.com/office/2011/relationships/chartStyle" Target="style282.xml"/><Relationship Id="rId2" Type="http://schemas.microsoft.com/office/2011/relationships/chartColorStyle" Target="colors282.xml"/><Relationship Id="rId3" Type="http://schemas.openxmlformats.org/officeDocument/2006/relationships/package" Target="../embeddings/Microsoft_Excel_Worksheet496.xlsx"/></Relationships>
</file>

<file path=ppt/charts/_rels/chart498.xml.rels><?xml version='1.0' encoding='UTF-8' standalone='yes'?>
<Relationships xmlns="http://schemas.openxmlformats.org/package/2006/relationships"><Relationship Id="rId1" Type="http://schemas.microsoft.com/office/2011/relationships/chartStyle" Target="style283.xml"/><Relationship Id="rId2" Type="http://schemas.microsoft.com/office/2011/relationships/chartColorStyle" Target="colors283.xml"/><Relationship Id="rId3" Type="http://schemas.openxmlformats.org/officeDocument/2006/relationships/package" Target="../embeddings/Microsoft_Excel_Worksheet497.xlsx"/></Relationships>
</file>

<file path=ppt/charts/_rels/chart499.xml.rels><?xml version='1.0' encoding='UTF-8' standalone='yes'?>
<Relationships xmlns="http://schemas.openxmlformats.org/package/2006/relationships"><Relationship Id="rId1" Type="http://schemas.microsoft.com/office/2011/relationships/chartStyle" Target="style284.xml"/><Relationship Id="rId2" Type="http://schemas.microsoft.com/office/2011/relationships/chartColorStyle" Target="colors284.xml"/><Relationship Id="rId3" Type="http://schemas.openxmlformats.org/officeDocument/2006/relationships/package" Target="../embeddings/Microsoft_Excel_Worksheet49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00.xml.rels><?xml version='1.0' encoding='UTF-8' standalone='yes'?>
<Relationships xmlns="http://schemas.openxmlformats.org/package/2006/relationships"><Relationship Id="rId1" Type="http://schemas.microsoft.com/office/2011/relationships/chartStyle" Target="style285.xml"/><Relationship Id="rId2" Type="http://schemas.microsoft.com/office/2011/relationships/chartColorStyle" Target="colors285.xml"/><Relationship Id="rId3" Type="http://schemas.openxmlformats.org/officeDocument/2006/relationships/package" Target="../embeddings/Microsoft_Excel_Worksheet499.xlsx"/></Relationships>
</file>

<file path=ppt/charts/_rels/chart501.xml.rels><?xml version='1.0' encoding='UTF-8' standalone='yes'?>
<Relationships xmlns="http://schemas.openxmlformats.org/package/2006/relationships"><Relationship Id="rId1" Type="http://schemas.microsoft.com/office/2011/relationships/chartStyle" Target="style286.xml"/><Relationship Id="rId2" Type="http://schemas.microsoft.com/office/2011/relationships/chartColorStyle" Target="colors286.xml"/><Relationship Id="rId3" Type="http://schemas.openxmlformats.org/officeDocument/2006/relationships/package" Target="../embeddings/Microsoft_Excel_Worksheet500.xlsx"/></Relationships>
</file>

<file path=ppt/charts/_rels/chart502.xml.rels><?xml version='1.0' encoding='UTF-8' standalone='yes'?>
<Relationships xmlns="http://schemas.openxmlformats.org/package/2006/relationships"><Relationship Id="rId1" Type="http://schemas.microsoft.com/office/2011/relationships/chartStyle" Target="style287.xml"/><Relationship Id="rId2" Type="http://schemas.microsoft.com/office/2011/relationships/chartColorStyle" Target="colors287.xml"/><Relationship Id="rId3" Type="http://schemas.openxmlformats.org/officeDocument/2006/relationships/package" Target="../embeddings/Microsoft_Excel_Worksheet501.xlsx"/></Relationships>
</file>

<file path=ppt/charts/_rels/chart503.xml.rels><?xml version='1.0' encoding='UTF-8' standalone='yes'?>
<Relationships xmlns="http://schemas.openxmlformats.org/package/2006/relationships"><Relationship Id="rId1" Type="http://schemas.microsoft.com/office/2011/relationships/chartStyle" Target="style288.xml"/><Relationship Id="rId2" Type="http://schemas.microsoft.com/office/2011/relationships/chartColorStyle" Target="colors288.xml"/><Relationship Id="rId3" Type="http://schemas.openxmlformats.org/officeDocument/2006/relationships/package" Target="../embeddings/Microsoft_Excel_Worksheet502.xlsx"/></Relationships>
</file>

<file path=ppt/charts/_rels/chart504.xml.rels><?xml version='1.0' encoding='UTF-8' standalone='yes'?>
<Relationships xmlns="http://schemas.openxmlformats.org/package/2006/relationships"><Relationship Id="rId1" Type="http://schemas.microsoft.com/office/2011/relationships/chartStyle" Target="style289.xml"/><Relationship Id="rId2" Type="http://schemas.microsoft.com/office/2011/relationships/chartColorStyle" Target="colors289.xml"/><Relationship Id="rId3" Type="http://schemas.openxmlformats.org/officeDocument/2006/relationships/package" Target="../embeddings/Microsoft_Excel_Worksheet503.xlsx"/></Relationships>
</file>

<file path=ppt/charts/_rels/chart505.xml.rels><?xml version='1.0' encoding='UTF-8' standalone='yes'?>
<Relationships xmlns="http://schemas.openxmlformats.org/package/2006/relationships"><Relationship Id="rId1" Type="http://schemas.microsoft.com/office/2011/relationships/chartStyle" Target="style290.xml"/><Relationship Id="rId2" Type="http://schemas.microsoft.com/office/2011/relationships/chartColorStyle" Target="colors290.xml"/><Relationship Id="rId3" Type="http://schemas.openxmlformats.org/officeDocument/2006/relationships/package" Target="../embeddings/Microsoft_Excel_Worksheet504.xlsx"/></Relationships>
</file>

<file path=ppt/charts/_rels/chart506.xml.rels><?xml version='1.0' encoding='UTF-8' standalone='yes'?>
<Relationships xmlns="http://schemas.openxmlformats.org/package/2006/relationships"><Relationship Id="rId1" Type="http://schemas.microsoft.com/office/2011/relationships/chartStyle" Target="style291.xml"/><Relationship Id="rId2" Type="http://schemas.microsoft.com/office/2011/relationships/chartColorStyle" Target="colors291.xml"/><Relationship Id="rId3" Type="http://schemas.openxmlformats.org/officeDocument/2006/relationships/package" Target="../embeddings/Microsoft_Excel_Worksheet505.xlsx"/></Relationships>
</file>

<file path=ppt/charts/_rels/chart507.xml.rels><?xml version='1.0' encoding='UTF-8' standalone='yes'?>
<Relationships xmlns="http://schemas.openxmlformats.org/package/2006/relationships"><Relationship Id="rId1" Type="http://schemas.microsoft.com/office/2011/relationships/chartStyle" Target="style292.xml"/><Relationship Id="rId2" Type="http://schemas.microsoft.com/office/2011/relationships/chartColorStyle" Target="colors292.xml"/><Relationship Id="rId3" Type="http://schemas.openxmlformats.org/officeDocument/2006/relationships/package" Target="../embeddings/Microsoft_Excel_Worksheet506.xlsx"/></Relationships>
</file>

<file path=ppt/charts/_rels/chart508.xml.rels><?xml version='1.0' encoding='UTF-8' standalone='yes'?>
<Relationships xmlns="http://schemas.openxmlformats.org/package/2006/relationships"><Relationship Id="rId1" Type="http://schemas.microsoft.com/office/2011/relationships/chartStyle" Target="style293.xml"/><Relationship Id="rId2" Type="http://schemas.microsoft.com/office/2011/relationships/chartColorStyle" Target="colors293.xml"/><Relationship Id="rId3" Type="http://schemas.openxmlformats.org/officeDocument/2006/relationships/package" Target="../embeddings/Microsoft_Excel_Worksheet507.xlsx"/></Relationships>
</file>

<file path=ppt/charts/_rels/chart509.xml.rels><?xml version='1.0' encoding='UTF-8' standalone='yes'?>
<Relationships xmlns="http://schemas.openxmlformats.org/package/2006/relationships"><Relationship Id="rId1" Type="http://schemas.microsoft.com/office/2011/relationships/chartStyle" Target="style294.xml"/><Relationship Id="rId2" Type="http://schemas.microsoft.com/office/2011/relationships/chartColorStyle" Target="colors294.xml"/><Relationship Id="rId3" Type="http://schemas.openxmlformats.org/officeDocument/2006/relationships/package" Target="../embeddings/Microsoft_Excel_Worksheet508.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10.xml.rels><?xml version='1.0' encoding='UTF-8' standalone='yes'?>
<Relationships xmlns="http://schemas.openxmlformats.org/package/2006/relationships"><Relationship Id="rId1" Type="http://schemas.microsoft.com/office/2011/relationships/chartStyle" Target="style295.xml"/><Relationship Id="rId2" Type="http://schemas.microsoft.com/office/2011/relationships/chartColorStyle" Target="colors295.xml"/><Relationship Id="rId3" Type="http://schemas.openxmlformats.org/officeDocument/2006/relationships/package" Target="../embeddings/Microsoft_Excel_Worksheet509.xlsx"/></Relationships>
</file>

<file path=ppt/charts/_rels/chart511.xml.rels><?xml version='1.0' encoding='UTF-8' standalone='yes'?>
<Relationships xmlns="http://schemas.openxmlformats.org/package/2006/relationships"><Relationship Id="rId1" Type="http://schemas.microsoft.com/office/2011/relationships/chartStyle" Target="style296.xml"/><Relationship Id="rId2" Type="http://schemas.microsoft.com/office/2011/relationships/chartColorStyle" Target="colors296.xml"/><Relationship Id="rId3" Type="http://schemas.openxmlformats.org/officeDocument/2006/relationships/package" Target="../embeddings/Microsoft_Excel_Worksheet510.xlsx"/></Relationships>
</file>

<file path=ppt/charts/_rels/chart512.xml.rels><?xml version='1.0' encoding='UTF-8' standalone='yes'?>
<Relationships xmlns="http://schemas.openxmlformats.org/package/2006/relationships"><Relationship Id="rId1" Type="http://schemas.microsoft.com/office/2011/relationships/chartStyle" Target="style297.xml"/><Relationship Id="rId2" Type="http://schemas.microsoft.com/office/2011/relationships/chartColorStyle" Target="colors297.xml"/><Relationship Id="rId3" Type="http://schemas.openxmlformats.org/officeDocument/2006/relationships/package" Target="../embeddings/Microsoft_Excel_Worksheet511.xlsx"/></Relationships>
</file>

<file path=ppt/charts/_rels/chart513.xml.rels><?xml version='1.0' encoding='UTF-8' standalone='yes'?>
<Relationships xmlns="http://schemas.openxmlformats.org/package/2006/relationships"><Relationship Id="rId1" Type="http://schemas.microsoft.com/office/2011/relationships/chartStyle" Target="style298.xml"/><Relationship Id="rId2" Type="http://schemas.microsoft.com/office/2011/relationships/chartColorStyle" Target="colors298.xml"/><Relationship Id="rId3" Type="http://schemas.openxmlformats.org/officeDocument/2006/relationships/package" Target="../embeddings/Microsoft_Excel_Worksheet512.xlsx"/></Relationships>
</file>

<file path=ppt/charts/_rels/chart514.xml.rels><?xml version='1.0' encoding='UTF-8' standalone='yes'?>
<Relationships xmlns="http://schemas.openxmlformats.org/package/2006/relationships"><Relationship Id="rId1" Type="http://schemas.microsoft.com/office/2011/relationships/chartStyle" Target="style299.xml"/><Relationship Id="rId2" Type="http://schemas.microsoft.com/office/2011/relationships/chartColorStyle" Target="colors299.xml"/><Relationship Id="rId3" Type="http://schemas.openxmlformats.org/officeDocument/2006/relationships/package" Target="../embeddings/Microsoft_Excel_Worksheet513.xlsx"/></Relationships>
</file>

<file path=ppt/charts/_rels/chart515.xml.rels><?xml version='1.0' encoding='UTF-8' standalone='yes'?>
<Relationships xmlns="http://schemas.openxmlformats.org/package/2006/relationships"><Relationship Id="rId1" Type="http://schemas.microsoft.com/office/2011/relationships/chartStyle" Target="style300.xml"/><Relationship Id="rId2" Type="http://schemas.microsoft.com/office/2011/relationships/chartColorStyle" Target="colors300.xml"/><Relationship Id="rId3" Type="http://schemas.openxmlformats.org/officeDocument/2006/relationships/package" Target="../embeddings/Microsoft_Excel_Worksheet514.xlsx"/></Relationships>
</file>

<file path=ppt/charts/_rels/chart516.xml.rels><?xml version='1.0' encoding='UTF-8' standalone='yes'?>
<Relationships xmlns="http://schemas.openxmlformats.org/package/2006/relationships"><Relationship Id="rId1" Type="http://schemas.microsoft.com/office/2011/relationships/chartStyle" Target="style301.xml"/><Relationship Id="rId2" Type="http://schemas.microsoft.com/office/2011/relationships/chartColorStyle" Target="colors301.xml"/><Relationship Id="rId3" Type="http://schemas.openxmlformats.org/officeDocument/2006/relationships/package" Target="../embeddings/Microsoft_Excel_Worksheet515.xlsx"/></Relationships>
</file>

<file path=ppt/charts/_rels/chart517.xml.rels><?xml version='1.0' encoding='UTF-8' standalone='yes'?>
<Relationships xmlns="http://schemas.openxmlformats.org/package/2006/relationships"><Relationship Id="rId1" Type="http://schemas.microsoft.com/office/2011/relationships/chartStyle" Target="style302.xml"/><Relationship Id="rId2" Type="http://schemas.microsoft.com/office/2011/relationships/chartColorStyle" Target="colors302.xml"/><Relationship Id="rId3" Type="http://schemas.openxmlformats.org/officeDocument/2006/relationships/package" Target="../embeddings/Microsoft_Excel_Worksheet516.xlsx"/></Relationships>
</file>

<file path=ppt/charts/_rels/chart518.xml.rels><?xml version='1.0' encoding='UTF-8' standalone='yes'?>
<Relationships xmlns="http://schemas.openxmlformats.org/package/2006/relationships"><Relationship Id="rId1" Type="http://schemas.microsoft.com/office/2011/relationships/chartStyle" Target="style303.xml"/><Relationship Id="rId2" Type="http://schemas.microsoft.com/office/2011/relationships/chartColorStyle" Target="colors303.xml"/><Relationship Id="rId3" Type="http://schemas.openxmlformats.org/officeDocument/2006/relationships/package" Target="../embeddings/Microsoft_Excel_Worksheet517.xlsx"/></Relationships>
</file>

<file path=ppt/charts/_rels/chart519.xml.rels><?xml version='1.0' encoding='UTF-8' standalone='yes'?>
<Relationships xmlns="http://schemas.openxmlformats.org/package/2006/relationships"><Relationship Id="rId1" Type="http://schemas.microsoft.com/office/2011/relationships/chartStyle" Target="style304.xml"/><Relationship Id="rId2" Type="http://schemas.microsoft.com/office/2011/relationships/chartColorStyle" Target="colors304.xml"/><Relationship Id="rId3" Type="http://schemas.openxmlformats.org/officeDocument/2006/relationships/package" Target="../embeddings/Microsoft_Excel_Worksheet518.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20.xml.rels><?xml version='1.0' encoding='UTF-8' standalone='yes'?>
<Relationships xmlns="http://schemas.openxmlformats.org/package/2006/relationships"><Relationship Id="rId1" Type="http://schemas.microsoft.com/office/2011/relationships/chartStyle" Target="style305.xml"/><Relationship Id="rId2" Type="http://schemas.microsoft.com/office/2011/relationships/chartColorStyle" Target="colors305.xml"/><Relationship Id="rId3" Type="http://schemas.openxmlformats.org/officeDocument/2006/relationships/package" Target="../embeddings/Microsoft_Excel_Worksheet519.xlsx"/></Relationships>
</file>

<file path=ppt/charts/_rels/chart521.xml.rels><?xml version='1.0' encoding='UTF-8' standalone='yes'?>
<Relationships xmlns="http://schemas.openxmlformats.org/package/2006/relationships"><Relationship Id="rId1" Type="http://schemas.microsoft.com/office/2011/relationships/chartStyle" Target="style306.xml"/><Relationship Id="rId2" Type="http://schemas.microsoft.com/office/2011/relationships/chartColorStyle" Target="colors306.xml"/><Relationship Id="rId3" Type="http://schemas.openxmlformats.org/officeDocument/2006/relationships/package" Target="../embeddings/Microsoft_Excel_Worksheet520.xlsx"/></Relationships>
</file>

<file path=ppt/charts/_rels/chart522.xml.rels><?xml version='1.0' encoding='UTF-8' standalone='yes'?>
<Relationships xmlns="http://schemas.openxmlformats.org/package/2006/relationships"><Relationship Id="rId1" Type="http://schemas.microsoft.com/office/2011/relationships/chartStyle" Target="style307.xml"/><Relationship Id="rId2" Type="http://schemas.microsoft.com/office/2011/relationships/chartColorStyle" Target="colors307.xml"/><Relationship Id="rId3" Type="http://schemas.openxmlformats.org/officeDocument/2006/relationships/package" Target="../embeddings/Microsoft_Excel_Worksheet521.xlsx"/></Relationships>
</file>

<file path=ppt/charts/_rels/chart523.xml.rels><?xml version='1.0' encoding='UTF-8' standalone='yes'?>
<Relationships xmlns="http://schemas.openxmlformats.org/package/2006/relationships"><Relationship Id="rId1" Type="http://schemas.microsoft.com/office/2011/relationships/chartStyle" Target="style308.xml"/><Relationship Id="rId2" Type="http://schemas.microsoft.com/office/2011/relationships/chartColorStyle" Target="colors308.xml"/><Relationship Id="rId3" Type="http://schemas.openxmlformats.org/officeDocument/2006/relationships/package" Target="../embeddings/Microsoft_Excel_Worksheet522.xlsx"/></Relationships>
</file>

<file path=ppt/charts/_rels/chart524.xml.rels><?xml version='1.0' encoding='UTF-8' standalone='yes'?>
<Relationships xmlns="http://schemas.openxmlformats.org/package/2006/relationships"><Relationship Id="rId1" Type="http://schemas.microsoft.com/office/2011/relationships/chartStyle" Target="style309.xml"/><Relationship Id="rId2" Type="http://schemas.microsoft.com/office/2011/relationships/chartColorStyle" Target="colors309.xml"/><Relationship Id="rId3" Type="http://schemas.openxmlformats.org/officeDocument/2006/relationships/package" Target="../embeddings/Microsoft_Excel_Worksheet523.xlsx"/></Relationships>
</file>

<file path=ppt/charts/_rels/chart525.xml.rels><?xml version='1.0' encoding='UTF-8' standalone='yes'?>
<Relationships xmlns="http://schemas.openxmlformats.org/package/2006/relationships"><Relationship Id="rId1" Type="http://schemas.microsoft.com/office/2011/relationships/chartStyle" Target="style310.xml"/><Relationship Id="rId2" Type="http://schemas.microsoft.com/office/2011/relationships/chartColorStyle" Target="colors310.xml"/><Relationship Id="rId3" Type="http://schemas.openxmlformats.org/officeDocument/2006/relationships/package" Target="../embeddings/Microsoft_Excel_Worksheet524.xlsx"/></Relationships>
</file>

<file path=ppt/charts/_rels/chart526.xml.rels><?xml version='1.0' encoding='UTF-8' standalone='yes'?>
<Relationships xmlns="http://schemas.openxmlformats.org/package/2006/relationships"><Relationship Id="rId1" Type="http://schemas.microsoft.com/office/2011/relationships/chartStyle" Target="style311.xml"/><Relationship Id="rId2" Type="http://schemas.microsoft.com/office/2011/relationships/chartColorStyle" Target="colors311.xml"/><Relationship Id="rId3" Type="http://schemas.openxmlformats.org/officeDocument/2006/relationships/package" Target="../embeddings/Microsoft_Excel_Worksheet525.xlsx"/></Relationships>
</file>

<file path=ppt/charts/_rels/chart527.xml.rels><?xml version='1.0' encoding='UTF-8' standalone='yes'?>
<Relationships xmlns="http://schemas.openxmlformats.org/package/2006/relationships"><Relationship Id="rId1" Type="http://schemas.microsoft.com/office/2011/relationships/chartStyle" Target="style312.xml"/><Relationship Id="rId2" Type="http://schemas.microsoft.com/office/2011/relationships/chartColorStyle" Target="colors312.xml"/><Relationship Id="rId3" Type="http://schemas.openxmlformats.org/officeDocument/2006/relationships/package" Target="../embeddings/Microsoft_Excel_Worksheet526.xlsx"/></Relationships>
</file>

<file path=ppt/charts/_rels/chart528.xml.rels><?xml version='1.0' encoding='UTF-8' standalone='yes'?>
<Relationships xmlns="http://schemas.openxmlformats.org/package/2006/relationships"><Relationship Id="rId1" Type="http://schemas.microsoft.com/office/2011/relationships/chartStyle" Target="style313.xml"/><Relationship Id="rId2" Type="http://schemas.microsoft.com/office/2011/relationships/chartColorStyle" Target="colors313.xml"/><Relationship Id="rId3" Type="http://schemas.openxmlformats.org/officeDocument/2006/relationships/package" Target="../embeddings/Microsoft_Excel_Worksheet527.xlsx"/></Relationships>
</file>

<file path=ppt/charts/_rels/chart529.xml.rels><?xml version='1.0' encoding='UTF-8' standalone='yes'?>
<Relationships xmlns="http://schemas.openxmlformats.org/package/2006/relationships"><Relationship Id="rId1" Type="http://schemas.microsoft.com/office/2011/relationships/chartStyle" Target="style314.xml"/><Relationship Id="rId2" Type="http://schemas.microsoft.com/office/2011/relationships/chartColorStyle" Target="colors314.xml"/><Relationship Id="rId3" Type="http://schemas.openxmlformats.org/officeDocument/2006/relationships/package" Target="../embeddings/Microsoft_Excel_Worksheet528.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30.xml.rels><?xml version='1.0' encoding='UTF-8' standalone='yes'?>
<Relationships xmlns="http://schemas.openxmlformats.org/package/2006/relationships"><Relationship Id="rId1" Type="http://schemas.microsoft.com/office/2011/relationships/chartStyle" Target="style315.xml"/><Relationship Id="rId2" Type="http://schemas.microsoft.com/office/2011/relationships/chartColorStyle" Target="colors315.xml"/><Relationship Id="rId3" Type="http://schemas.openxmlformats.org/officeDocument/2006/relationships/package" Target="../embeddings/Microsoft_Excel_Worksheet529.xlsx"/></Relationships>
</file>

<file path=ppt/charts/_rels/chart531.xml.rels><?xml version='1.0' encoding='UTF-8' standalone='yes'?>
<Relationships xmlns="http://schemas.openxmlformats.org/package/2006/relationships"><Relationship Id="rId1" Type="http://schemas.microsoft.com/office/2011/relationships/chartStyle" Target="style316.xml"/><Relationship Id="rId2" Type="http://schemas.microsoft.com/office/2011/relationships/chartColorStyle" Target="colors316.xml"/><Relationship Id="rId3" Type="http://schemas.openxmlformats.org/officeDocument/2006/relationships/package" Target="../embeddings/Microsoft_Excel_Worksheet530.xlsx"/></Relationships>
</file>

<file path=ppt/charts/_rels/chart532.xml.rels><?xml version='1.0' encoding='UTF-8' standalone='yes'?>
<Relationships xmlns="http://schemas.openxmlformats.org/package/2006/relationships"><Relationship Id="rId1" Type="http://schemas.microsoft.com/office/2011/relationships/chartStyle" Target="style317.xml"/><Relationship Id="rId2" Type="http://schemas.microsoft.com/office/2011/relationships/chartColorStyle" Target="colors317.xml"/><Relationship Id="rId3" Type="http://schemas.openxmlformats.org/officeDocument/2006/relationships/package" Target="../embeddings/Microsoft_Excel_Worksheet531.xlsx"/></Relationships>
</file>

<file path=ppt/charts/_rels/chart533.xml.rels><?xml version='1.0' encoding='UTF-8' standalone='yes'?>
<Relationships xmlns="http://schemas.openxmlformats.org/package/2006/relationships"><Relationship Id="rId1" Type="http://schemas.microsoft.com/office/2011/relationships/chartStyle" Target="style318.xml"/><Relationship Id="rId2" Type="http://schemas.microsoft.com/office/2011/relationships/chartColorStyle" Target="colors318.xml"/><Relationship Id="rId3" Type="http://schemas.openxmlformats.org/officeDocument/2006/relationships/package" Target="../embeddings/Microsoft_Excel_Worksheet532.xlsx"/></Relationships>
</file>

<file path=ppt/charts/_rels/chart534.xml.rels><?xml version='1.0' encoding='UTF-8' standalone='yes'?>
<Relationships xmlns="http://schemas.openxmlformats.org/package/2006/relationships"><Relationship Id="rId1" Type="http://schemas.microsoft.com/office/2011/relationships/chartStyle" Target="style319.xml"/><Relationship Id="rId2" Type="http://schemas.microsoft.com/office/2011/relationships/chartColorStyle" Target="colors319.xml"/><Relationship Id="rId3" Type="http://schemas.openxmlformats.org/officeDocument/2006/relationships/package" Target="../embeddings/Microsoft_Excel_Worksheet533.xlsx"/></Relationships>
</file>

<file path=ppt/charts/_rels/chart535.xml.rels><?xml version='1.0' encoding='UTF-8' standalone='yes'?>
<Relationships xmlns="http://schemas.openxmlformats.org/package/2006/relationships"><Relationship Id="rId1" Type="http://schemas.microsoft.com/office/2011/relationships/chartStyle" Target="style320.xml"/><Relationship Id="rId2" Type="http://schemas.microsoft.com/office/2011/relationships/chartColorStyle" Target="colors320.xml"/><Relationship Id="rId3" Type="http://schemas.openxmlformats.org/officeDocument/2006/relationships/package" Target="../embeddings/Microsoft_Excel_Worksheet534.xlsx"/></Relationships>
</file>

<file path=ppt/charts/_rels/chart536.xml.rels><?xml version='1.0' encoding='UTF-8' standalone='yes'?>
<Relationships xmlns="http://schemas.openxmlformats.org/package/2006/relationships"><Relationship Id="rId1" Type="http://schemas.microsoft.com/office/2011/relationships/chartStyle" Target="style321.xml"/><Relationship Id="rId2" Type="http://schemas.microsoft.com/office/2011/relationships/chartColorStyle" Target="colors321.xml"/><Relationship Id="rId3" Type="http://schemas.openxmlformats.org/officeDocument/2006/relationships/package" Target="../embeddings/Microsoft_Excel_Worksheet535.xlsx"/></Relationships>
</file>

<file path=ppt/charts/_rels/chart537.xml.rels><?xml version='1.0' encoding='UTF-8' standalone='yes'?>
<Relationships xmlns="http://schemas.openxmlformats.org/package/2006/relationships"><Relationship Id="rId1" Type="http://schemas.microsoft.com/office/2011/relationships/chartStyle" Target="style322.xml"/><Relationship Id="rId2" Type="http://schemas.microsoft.com/office/2011/relationships/chartColorStyle" Target="colors322.xml"/><Relationship Id="rId3" Type="http://schemas.openxmlformats.org/officeDocument/2006/relationships/package" Target="../embeddings/Microsoft_Excel_Worksheet536.xlsx"/></Relationships>
</file>

<file path=ppt/charts/_rels/chart538.xml.rels><?xml version='1.0' encoding='UTF-8' standalone='yes'?>
<Relationships xmlns="http://schemas.openxmlformats.org/package/2006/relationships"><Relationship Id="rId1" Type="http://schemas.microsoft.com/office/2011/relationships/chartStyle" Target="style323.xml"/><Relationship Id="rId2" Type="http://schemas.microsoft.com/office/2011/relationships/chartColorStyle" Target="colors323.xml"/><Relationship Id="rId3" Type="http://schemas.openxmlformats.org/officeDocument/2006/relationships/package" Target="../embeddings/Microsoft_Excel_Worksheet537.xlsx"/></Relationships>
</file>

<file path=ppt/charts/_rels/chart539.xml.rels><?xml version='1.0' encoding='UTF-8' standalone='yes'?>
<Relationships xmlns="http://schemas.openxmlformats.org/package/2006/relationships"><Relationship Id="rId1" Type="http://schemas.microsoft.com/office/2011/relationships/chartStyle" Target="style324.xml"/><Relationship Id="rId2" Type="http://schemas.microsoft.com/office/2011/relationships/chartColorStyle" Target="colors324.xml"/><Relationship Id="rId3" Type="http://schemas.openxmlformats.org/officeDocument/2006/relationships/package" Target="../embeddings/Microsoft_Excel_Worksheet538.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40.xml.rels><?xml version='1.0' encoding='UTF-8' standalone='yes'?>
<Relationships xmlns="http://schemas.openxmlformats.org/package/2006/relationships"><Relationship Id="rId1" Type="http://schemas.microsoft.com/office/2011/relationships/chartStyle" Target="style325.xml"/><Relationship Id="rId2" Type="http://schemas.microsoft.com/office/2011/relationships/chartColorStyle" Target="colors325.xml"/><Relationship Id="rId3" Type="http://schemas.openxmlformats.org/officeDocument/2006/relationships/package" Target="../embeddings/Microsoft_Excel_Worksheet539.xlsx"/></Relationships>
</file>

<file path=ppt/charts/_rels/chart541.xml.rels><?xml version='1.0' encoding='UTF-8' standalone='yes'?>
<Relationships xmlns="http://schemas.openxmlformats.org/package/2006/relationships"><Relationship Id="rId1" Type="http://schemas.microsoft.com/office/2011/relationships/chartStyle" Target="style326.xml"/><Relationship Id="rId2" Type="http://schemas.microsoft.com/office/2011/relationships/chartColorStyle" Target="colors326.xml"/><Relationship Id="rId3" Type="http://schemas.openxmlformats.org/officeDocument/2006/relationships/package" Target="../embeddings/Microsoft_Excel_Worksheet540.xlsx"/></Relationships>
</file>

<file path=ppt/charts/_rels/chart542.xml.rels><?xml version='1.0' encoding='UTF-8' standalone='yes'?>
<Relationships xmlns="http://schemas.openxmlformats.org/package/2006/relationships"><Relationship Id="rId1" Type="http://schemas.microsoft.com/office/2011/relationships/chartStyle" Target="style327.xml"/><Relationship Id="rId2" Type="http://schemas.microsoft.com/office/2011/relationships/chartColorStyle" Target="colors327.xml"/><Relationship Id="rId3" Type="http://schemas.openxmlformats.org/officeDocument/2006/relationships/package" Target="../embeddings/Microsoft_Excel_Worksheet541.xlsx"/></Relationships>
</file>

<file path=ppt/charts/_rels/chart543.xml.rels><?xml version='1.0' encoding='UTF-8' standalone='yes'?>
<Relationships xmlns="http://schemas.openxmlformats.org/package/2006/relationships"><Relationship Id="rId1" Type="http://schemas.microsoft.com/office/2011/relationships/chartStyle" Target="style328.xml"/><Relationship Id="rId2" Type="http://schemas.microsoft.com/office/2011/relationships/chartColorStyle" Target="colors328.xml"/><Relationship Id="rId3" Type="http://schemas.openxmlformats.org/officeDocument/2006/relationships/package" Target="../embeddings/Microsoft_Excel_Worksheet542.xlsx"/></Relationships>
</file>

<file path=ppt/charts/_rels/chart544.xml.rels><?xml version='1.0' encoding='UTF-8' standalone='yes'?>
<Relationships xmlns="http://schemas.openxmlformats.org/package/2006/relationships"><Relationship Id="rId1" Type="http://schemas.microsoft.com/office/2011/relationships/chartStyle" Target="style329.xml"/><Relationship Id="rId2" Type="http://schemas.microsoft.com/office/2011/relationships/chartColorStyle" Target="colors329.xml"/><Relationship Id="rId3" Type="http://schemas.openxmlformats.org/officeDocument/2006/relationships/package" Target="../embeddings/Microsoft_Excel_Worksheet543.xlsx"/></Relationships>
</file>

<file path=ppt/charts/_rels/chart545.xml.rels><?xml version='1.0' encoding='UTF-8' standalone='yes'?>
<Relationships xmlns="http://schemas.openxmlformats.org/package/2006/relationships"><Relationship Id="rId1" Type="http://schemas.microsoft.com/office/2011/relationships/chartStyle" Target="style330.xml"/><Relationship Id="rId2" Type="http://schemas.microsoft.com/office/2011/relationships/chartColorStyle" Target="colors330.xml"/><Relationship Id="rId3" Type="http://schemas.openxmlformats.org/officeDocument/2006/relationships/package" Target="../embeddings/Microsoft_Excel_Worksheet544.xlsx"/></Relationships>
</file>

<file path=ppt/charts/_rels/chart546.xml.rels><?xml version='1.0' encoding='UTF-8' standalone='yes'?>
<Relationships xmlns="http://schemas.openxmlformats.org/package/2006/relationships"><Relationship Id="rId1" Type="http://schemas.microsoft.com/office/2011/relationships/chartStyle" Target="style331.xml"/><Relationship Id="rId2" Type="http://schemas.microsoft.com/office/2011/relationships/chartColorStyle" Target="colors331.xml"/><Relationship Id="rId3" Type="http://schemas.openxmlformats.org/officeDocument/2006/relationships/package" Target="../embeddings/Microsoft_Excel_Worksheet545.xlsx"/></Relationships>
</file>

<file path=ppt/charts/_rels/chart547.xml.rels><?xml version='1.0' encoding='UTF-8' standalone='yes'?>
<Relationships xmlns="http://schemas.openxmlformats.org/package/2006/relationships"><Relationship Id="rId1" Type="http://schemas.microsoft.com/office/2011/relationships/chartStyle" Target="style332.xml"/><Relationship Id="rId2" Type="http://schemas.microsoft.com/office/2011/relationships/chartColorStyle" Target="colors332.xml"/><Relationship Id="rId3" Type="http://schemas.openxmlformats.org/officeDocument/2006/relationships/package" Target="../embeddings/Microsoft_Excel_Worksheet546.xlsx"/></Relationships>
</file>

<file path=ppt/charts/_rels/chart548.xml.rels><?xml version='1.0' encoding='UTF-8' standalone='yes'?>
<Relationships xmlns="http://schemas.openxmlformats.org/package/2006/relationships"><Relationship Id="rId1" Type="http://schemas.microsoft.com/office/2011/relationships/chartStyle" Target="style333.xml"/><Relationship Id="rId2" Type="http://schemas.microsoft.com/office/2011/relationships/chartColorStyle" Target="colors333.xml"/><Relationship Id="rId3" Type="http://schemas.openxmlformats.org/officeDocument/2006/relationships/package" Target="../embeddings/Microsoft_Excel_Worksheet547.xlsx"/></Relationships>
</file>

<file path=ppt/charts/_rels/chart549.xml.rels><?xml version='1.0' encoding='UTF-8' standalone='yes'?>
<Relationships xmlns="http://schemas.openxmlformats.org/package/2006/relationships"><Relationship Id="rId1" Type="http://schemas.microsoft.com/office/2011/relationships/chartStyle" Target="style334.xml"/><Relationship Id="rId2" Type="http://schemas.microsoft.com/office/2011/relationships/chartColorStyle" Target="colors334.xml"/><Relationship Id="rId3" Type="http://schemas.openxmlformats.org/officeDocument/2006/relationships/package" Target="../embeddings/Microsoft_Excel_Worksheet548.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50.xml.rels><?xml version='1.0' encoding='UTF-8' standalone='yes'?>
<Relationships xmlns="http://schemas.openxmlformats.org/package/2006/relationships"><Relationship Id="rId1" Type="http://schemas.microsoft.com/office/2011/relationships/chartStyle" Target="style335.xml"/><Relationship Id="rId2" Type="http://schemas.microsoft.com/office/2011/relationships/chartColorStyle" Target="colors335.xml"/><Relationship Id="rId3" Type="http://schemas.openxmlformats.org/officeDocument/2006/relationships/package" Target="../embeddings/Microsoft_Excel_Worksheet549.xlsx"/></Relationships>
</file>

<file path=ppt/charts/_rels/chart551.xml.rels><?xml version='1.0' encoding='UTF-8' standalone='yes'?>
<Relationships xmlns="http://schemas.openxmlformats.org/package/2006/relationships"><Relationship Id="rId1" Type="http://schemas.microsoft.com/office/2011/relationships/chartStyle" Target="style336.xml"/><Relationship Id="rId2" Type="http://schemas.microsoft.com/office/2011/relationships/chartColorStyle" Target="colors336.xml"/><Relationship Id="rId3" Type="http://schemas.openxmlformats.org/officeDocument/2006/relationships/package" Target="../embeddings/Microsoft_Excel_Worksheet550.xlsx"/></Relationships>
</file>

<file path=ppt/charts/_rels/chart552.xml.rels><?xml version='1.0' encoding='UTF-8' standalone='yes'?>
<Relationships xmlns="http://schemas.openxmlformats.org/package/2006/relationships"><Relationship Id="rId1" Type="http://schemas.microsoft.com/office/2011/relationships/chartStyle" Target="style337.xml"/><Relationship Id="rId2" Type="http://schemas.microsoft.com/office/2011/relationships/chartColorStyle" Target="colors337.xml"/><Relationship Id="rId3" Type="http://schemas.openxmlformats.org/officeDocument/2006/relationships/package" Target="../embeddings/Microsoft_Excel_Worksheet551.xlsx"/></Relationships>
</file>

<file path=ppt/charts/_rels/chart553.xml.rels><?xml version='1.0' encoding='UTF-8' standalone='yes'?>
<Relationships xmlns="http://schemas.openxmlformats.org/package/2006/relationships"><Relationship Id="rId1" Type="http://schemas.microsoft.com/office/2011/relationships/chartStyle" Target="style338.xml"/><Relationship Id="rId2" Type="http://schemas.microsoft.com/office/2011/relationships/chartColorStyle" Target="colors338.xml"/><Relationship Id="rId3" Type="http://schemas.openxmlformats.org/officeDocument/2006/relationships/package" Target="../embeddings/Microsoft_Excel_Worksheet552.xlsx"/></Relationships>
</file>

<file path=ppt/charts/_rels/chart554.xml.rels><?xml version='1.0' encoding='UTF-8' standalone='yes'?>
<Relationships xmlns="http://schemas.openxmlformats.org/package/2006/relationships"><Relationship Id="rId1" Type="http://schemas.microsoft.com/office/2011/relationships/chartStyle" Target="style339.xml"/><Relationship Id="rId2" Type="http://schemas.microsoft.com/office/2011/relationships/chartColorStyle" Target="colors339.xml"/><Relationship Id="rId3" Type="http://schemas.openxmlformats.org/officeDocument/2006/relationships/package" Target="../embeddings/Microsoft_Excel_Worksheet553.xlsx"/></Relationships>
</file>

<file path=ppt/charts/_rels/chart555.xml.rels><?xml version='1.0' encoding='UTF-8' standalone='yes'?>
<Relationships xmlns="http://schemas.openxmlformats.org/package/2006/relationships"><Relationship Id="rId1" Type="http://schemas.microsoft.com/office/2011/relationships/chartStyle" Target="style340.xml"/><Relationship Id="rId2" Type="http://schemas.microsoft.com/office/2011/relationships/chartColorStyle" Target="colors340.xml"/><Relationship Id="rId3" Type="http://schemas.openxmlformats.org/officeDocument/2006/relationships/package" Target="../embeddings/Microsoft_Excel_Worksheet554.xlsx"/></Relationships>
</file>

<file path=ppt/charts/_rels/chart556.xml.rels><?xml version='1.0' encoding='UTF-8' standalone='yes'?>
<Relationships xmlns="http://schemas.openxmlformats.org/package/2006/relationships"><Relationship Id="rId1" Type="http://schemas.microsoft.com/office/2011/relationships/chartStyle" Target="style341.xml"/><Relationship Id="rId2" Type="http://schemas.microsoft.com/office/2011/relationships/chartColorStyle" Target="colors341.xml"/><Relationship Id="rId3" Type="http://schemas.openxmlformats.org/officeDocument/2006/relationships/package" Target="../embeddings/Microsoft_Excel_Worksheet555.xlsx"/></Relationships>
</file>

<file path=ppt/charts/_rels/chart557.xml.rels><?xml version='1.0' encoding='UTF-8' standalone='yes'?>
<Relationships xmlns="http://schemas.openxmlformats.org/package/2006/relationships"><Relationship Id="rId1" Type="http://schemas.microsoft.com/office/2011/relationships/chartStyle" Target="style342.xml"/><Relationship Id="rId2" Type="http://schemas.microsoft.com/office/2011/relationships/chartColorStyle" Target="colors342.xml"/><Relationship Id="rId3" Type="http://schemas.openxmlformats.org/officeDocument/2006/relationships/package" Target="../embeddings/Microsoft_Excel_Worksheet556.xlsx"/></Relationships>
</file>

<file path=ppt/charts/_rels/chart558.xml.rels><?xml version='1.0' encoding='UTF-8' standalone='yes'?>
<Relationships xmlns="http://schemas.openxmlformats.org/package/2006/relationships"><Relationship Id="rId1" Type="http://schemas.microsoft.com/office/2011/relationships/chartStyle" Target="style343.xml"/><Relationship Id="rId2" Type="http://schemas.microsoft.com/office/2011/relationships/chartColorStyle" Target="colors343.xml"/><Relationship Id="rId3" Type="http://schemas.openxmlformats.org/officeDocument/2006/relationships/package" Target="../embeddings/Microsoft_Excel_Worksheet557.xlsx"/></Relationships>
</file>

<file path=ppt/charts/_rels/chart559.xml.rels><?xml version='1.0' encoding='UTF-8' standalone='yes'?>
<Relationships xmlns="http://schemas.openxmlformats.org/package/2006/relationships"><Relationship Id="rId1" Type="http://schemas.microsoft.com/office/2011/relationships/chartStyle" Target="style344.xml"/><Relationship Id="rId2" Type="http://schemas.microsoft.com/office/2011/relationships/chartColorStyle" Target="colors344.xml"/><Relationship Id="rId3" Type="http://schemas.openxmlformats.org/officeDocument/2006/relationships/package" Target="../embeddings/Microsoft_Excel_Worksheet558.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60.xml.rels><?xml version='1.0' encoding='UTF-8' standalone='yes'?>
<Relationships xmlns="http://schemas.openxmlformats.org/package/2006/relationships"><Relationship Id="rId1" Type="http://schemas.microsoft.com/office/2011/relationships/chartStyle" Target="style345.xml"/><Relationship Id="rId2" Type="http://schemas.microsoft.com/office/2011/relationships/chartColorStyle" Target="colors345.xml"/><Relationship Id="rId3" Type="http://schemas.openxmlformats.org/officeDocument/2006/relationships/package" Target="../embeddings/Microsoft_Excel_Worksheet559.xlsx"/></Relationships>
</file>

<file path=ppt/charts/_rels/chart561.xml.rels><?xml version='1.0' encoding='UTF-8' standalone='yes'?>
<Relationships xmlns="http://schemas.openxmlformats.org/package/2006/relationships"><Relationship Id="rId1" Type="http://schemas.microsoft.com/office/2011/relationships/chartStyle" Target="style346.xml"/><Relationship Id="rId2" Type="http://schemas.microsoft.com/office/2011/relationships/chartColorStyle" Target="colors346.xml"/><Relationship Id="rId3" Type="http://schemas.openxmlformats.org/officeDocument/2006/relationships/package" Target="../embeddings/Microsoft_Excel_Worksheet560.xlsx"/></Relationships>
</file>

<file path=ppt/charts/_rels/chart562.xml.rels><?xml version='1.0' encoding='UTF-8' standalone='yes'?>
<Relationships xmlns="http://schemas.openxmlformats.org/package/2006/relationships"><Relationship Id="rId1" Type="http://schemas.microsoft.com/office/2011/relationships/chartStyle" Target="style347.xml"/><Relationship Id="rId2" Type="http://schemas.microsoft.com/office/2011/relationships/chartColorStyle" Target="colors347.xml"/><Relationship Id="rId3" Type="http://schemas.openxmlformats.org/officeDocument/2006/relationships/package" Target="../embeddings/Microsoft_Excel_Worksheet561.xlsx"/></Relationships>
</file>

<file path=ppt/charts/_rels/chart563.xml.rels><?xml version='1.0' encoding='UTF-8' standalone='yes'?>
<Relationships xmlns="http://schemas.openxmlformats.org/package/2006/relationships"><Relationship Id="rId1" Type="http://schemas.microsoft.com/office/2011/relationships/chartStyle" Target="style348.xml"/><Relationship Id="rId2" Type="http://schemas.microsoft.com/office/2011/relationships/chartColorStyle" Target="colors348.xml"/><Relationship Id="rId3" Type="http://schemas.openxmlformats.org/officeDocument/2006/relationships/package" Target="../embeddings/Microsoft_Excel_Worksheet562.xlsx"/></Relationships>
</file>

<file path=ppt/charts/_rels/chart564.xml.rels><?xml version='1.0' encoding='UTF-8' standalone='yes'?>
<Relationships xmlns="http://schemas.openxmlformats.org/package/2006/relationships"><Relationship Id="rId1" Type="http://schemas.microsoft.com/office/2011/relationships/chartStyle" Target="style349.xml"/><Relationship Id="rId2" Type="http://schemas.microsoft.com/office/2011/relationships/chartColorStyle" Target="colors349.xml"/><Relationship Id="rId3" Type="http://schemas.openxmlformats.org/officeDocument/2006/relationships/package" Target="../embeddings/Microsoft_Excel_Worksheet563.xlsx"/></Relationships>
</file>

<file path=ppt/charts/_rels/chart565.xml.rels><?xml version='1.0' encoding='UTF-8' standalone='yes'?>
<Relationships xmlns="http://schemas.openxmlformats.org/package/2006/relationships"><Relationship Id="rId1" Type="http://schemas.microsoft.com/office/2011/relationships/chartStyle" Target="style350.xml"/><Relationship Id="rId2" Type="http://schemas.microsoft.com/office/2011/relationships/chartColorStyle" Target="colors350.xml"/><Relationship Id="rId3" Type="http://schemas.openxmlformats.org/officeDocument/2006/relationships/package" Target="../embeddings/Microsoft_Excel_Worksheet564.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11,565,40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95,812,98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18,250,42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111565405</c:v>
                </c:pt>
                <c:pt idx="1">
                  <c:v>94517887</c:v>
                </c:pt>
                <c:pt idx="2">
                  <c:v>91080092</c:v>
                </c:pt>
                <c:pt idx="3">
                  <c:v>85751760</c:v>
                </c:pt>
                <c:pt idx="4">
                  <c:v>98780027</c:v>
                </c:pt>
                <c:pt idx="5">
                  <c:v>87048960</c:v>
                </c:pt>
                <c:pt idx="6">
                  <c:v>84262863</c:v>
                </c:pt>
                <c:pt idx="7">
                  <c:v>99612594</c:v>
                </c:pt>
                <c:pt idx="8">
                  <c:v>97840442</c:v>
                </c:pt>
                <c:pt idx="9">
                  <c:v>108244409</c:v>
                </c:pt>
                <c:pt idx="10">
                  <c:v>113384385</c:v>
                </c:pt>
                <c:pt idx="11">
                  <c:v>119312517</c:v>
                </c:pt>
                <c:pt idx="12">
                  <c:v>115061210</c:v>
                </c:pt>
                <c:pt idx="13">
                  <c:v>95812981</c:v>
                </c:pt>
                <c:pt idx="14">
                  <c:v>92577132</c:v>
                </c:pt>
                <c:pt idx="15">
                  <c:v>86837213</c:v>
                </c:pt>
                <c:pt idx="16">
                  <c:v>104039089</c:v>
                </c:pt>
                <c:pt idx="17">
                  <c:v>86315863</c:v>
                </c:pt>
                <c:pt idx="18">
                  <c:v>87102853</c:v>
                </c:pt>
                <c:pt idx="19">
                  <c:v>100852849</c:v>
                </c:pt>
                <c:pt idx="20">
                  <c:v>98415354</c:v>
                </c:pt>
                <c:pt idx="21">
                  <c:v>109299579</c:v>
                </c:pt>
                <c:pt idx="22">
                  <c:v>114905873</c:v>
                </c:pt>
                <c:pt idx="23">
                  <c:v>121370812</c:v>
                </c:pt>
                <c:pt idx="24">
                  <c:v>11825042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1.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0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2.0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1.98</c:v>
                </c:pt>
                <c:pt idx="1">
                  <c:v>1.93</c:v>
                </c:pt>
                <c:pt idx="2">
                  <c:v>1.9</c:v>
                </c:pt>
                <c:pt idx="3">
                  <c:v>1.86</c:v>
                </c:pt>
                <c:pt idx="4">
                  <c:v>1.9</c:v>
                </c:pt>
                <c:pt idx="5">
                  <c:v>1.94</c:v>
                </c:pt>
                <c:pt idx="6">
                  <c:v>1.93</c:v>
                </c:pt>
                <c:pt idx="7">
                  <c:v>2.0</c:v>
                </c:pt>
                <c:pt idx="8">
                  <c:v>2.07</c:v>
                </c:pt>
                <c:pt idx="9">
                  <c:v>2.06</c:v>
                </c:pt>
                <c:pt idx="10">
                  <c:v>2.07</c:v>
                </c:pt>
                <c:pt idx="11">
                  <c:v>2.07</c:v>
                </c:pt>
                <c:pt idx="12">
                  <c:v>2.09</c:v>
                </c:pt>
                <c:pt idx="13">
                  <c:v>2.03</c:v>
                </c:pt>
                <c:pt idx="14">
                  <c:v>1.98</c:v>
                </c:pt>
                <c:pt idx="15">
                  <c:v>1.96</c:v>
                </c:pt>
                <c:pt idx="16">
                  <c:v>2.02</c:v>
                </c:pt>
                <c:pt idx="17">
                  <c:v>1.96</c:v>
                </c:pt>
                <c:pt idx="18">
                  <c:v>1.98</c:v>
                </c:pt>
                <c:pt idx="19">
                  <c:v>2.01</c:v>
                </c:pt>
                <c:pt idx="20">
                  <c:v>2.01</c:v>
                </c:pt>
                <c:pt idx="21">
                  <c:v>2.03</c:v>
                </c:pt>
                <c:pt idx="22">
                  <c:v>2.06</c:v>
                </c:pt>
                <c:pt idx="23">
                  <c:v>2.04</c:v>
                </c:pt>
                <c:pt idx="24">
                  <c:v>2.05</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225,15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240,92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2,544,91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2225153</c:v>
                </c:pt>
                <c:pt idx="1">
                  <c:v>1920101</c:v>
                </c:pt>
                <c:pt idx="2">
                  <c:v>1908557</c:v>
                </c:pt>
                <c:pt idx="3">
                  <c:v>1909137</c:v>
                </c:pt>
                <c:pt idx="4">
                  <c:v>1996511</c:v>
                </c:pt>
                <c:pt idx="5">
                  <c:v>2118765</c:v>
                </c:pt>
                <c:pt idx="6">
                  <c:v>1977395</c:v>
                </c:pt>
                <c:pt idx="7">
                  <c:v>2099608</c:v>
                </c:pt>
                <c:pt idx="8">
                  <c:v>1995665</c:v>
                </c:pt>
                <c:pt idx="9">
                  <c:v>2244831</c:v>
                </c:pt>
                <c:pt idx="10">
                  <c:v>2442830</c:v>
                </c:pt>
                <c:pt idx="11">
                  <c:v>2820873</c:v>
                </c:pt>
                <c:pt idx="12">
                  <c:v>2595314</c:v>
                </c:pt>
                <c:pt idx="13">
                  <c:v>2240925</c:v>
                </c:pt>
                <c:pt idx="14">
                  <c:v>2298711</c:v>
                </c:pt>
                <c:pt idx="15">
                  <c:v>2202374</c:v>
                </c:pt>
                <c:pt idx="16">
                  <c:v>2220727</c:v>
                </c:pt>
                <c:pt idx="17">
                  <c:v>2227892</c:v>
                </c:pt>
                <c:pt idx="18">
                  <c:v>2361247</c:v>
                </c:pt>
                <c:pt idx="19">
                  <c:v>2885163</c:v>
                </c:pt>
                <c:pt idx="20">
                  <c:v>2836016</c:v>
                </c:pt>
                <c:pt idx="21">
                  <c:v>2800163</c:v>
                </c:pt>
                <c:pt idx="22">
                  <c:v>2769612</c:v>
                </c:pt>
                <c:pt idx="23">
                  <c:v>2868656</c:v>
                </c:pt>
                <c:pt idx="24">
                  <c:v>2544913</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2.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5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2.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2.93</c:v>
                </c:pt>
                <c:pt idx="1">
                  <c:v>2.84</c:v>
                </c:pt>
                <c:pt idx="2">
                  <c:v>2.82</c:v>
                </c:pt>
                <c:pt idx="3">
                  <c:v>2.77</c:v>
                </c:pt>
                <c:pt idx="4">
                  <c:v>2.85</c:v>
                </c:pt>
                <c:pt idx="5">
                  <c:v>2.86</c:v>
                </c:pt>
                <c:pt idx="6">
                  <c:v>2.9</c:v>
                </c:pt>
                <c:pt idx="7">
                  <c:v>2.77</c:v>
                </c:pt>
                <c:pt idx="8">
                  <c:v>2.77</c:v>
                </c:pt>
                <c:pt idx="9">
                  <c:v>2.66</c:v>
                </c:pt>
                <c:pt idx="10">
                  <c:v>2.6</c:v>
                </c:pt>
                <c:pt idx="11">
                  <c:v>2.66</c:v>
                </c:pt>
                <c:pt idx="12">
                  <c:v>2.72</c:v>
                </c:pt>
                <c:pt idx="13">
                  <c:v>2.56</c:v>
                </c:pt>
                <c:pt idx="14">
                  <c:v>2.41</c:v>
                </c:pt>
                <c:pt idx="15">
                  <c:v>2.39</c:v>
                </c:pt>
                <c:pt idx="16">
                  <c:v>2.51</c:v>
                </c:pt>
                <c:pt idx="17">
                  <c:v>2.51</c:v>
                </c:pt>
                <c:pt idx="18">
                  <c:v>2.53</c:v>
                </c:pt>
                <c:pt idx="19">
                  <c:v>2.53</c:v>
                </c:pt>
                <c:pt idx="20">
                  <c:v>2.52</c:v>
                </c:pt>
                <c:pt idx="21">
                  <c:v>2.61</c:v>
                </c:pt>
                <c:pt idx="22">
                  <c:v>2.7</c:v>
                </c:pt>
                <c:pt idx="23">
                  <c:v>2.64</c:v>
                </c:pt>
                <c:pt idx="24">
                  <c:v>2.74</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960,95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3,368,33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4,478,69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2960957</c:v>
                </c:pt>
                <c:pt idx="1">
                  <c:v>2802616</c:v>
                </c:pt>
                <c:pt idx="2">
                  <c:v>2801840</c:v>
                </c:pt>
                <c:pt idx="3">
                  <c:v>2613219</c:v>
                </c:pt>
                <c:pt idx="4">
                  <c:v>2607981</c:v>
                </c:pt>
                <c:pt idx="5">
                  <c:v>2895057</c:v>
                </c:pt>
                <c:pt idx="6">
                  <c:v>2764332</c:v>
                </c:pt>
                <c:pt idx="7">
                  <c:v>3056012</c:v>
                </c:pt>
                <c:pt idx="8">
                  <c:v>3029922</c:v>
                </c:pt>
                <c:pt idx="9">
                  <c:v>3347491</c:v>
                </c:pt>
                <c:pt idx="10">
                  <c:v>3613627</c:v>
                </c:pt>
                <c:pt idx="11">
                  <c:v>4370698</c:v>
                </c:pt>
                <c:pt idx="12">
                  <c:v>3623868</c:v>
                </c:pt>
                <c:pt idx="13">
                  <c:v>3368332</c:v>
                </c:pt>
                <c:pt idx="14">
                  <c:v>3445296</c:v>
                </c:pt>
                <c:pt idx="15">
                  <c:v>3302852</c:v>
                </c:pt>
                <c:pt idx="16">
                  <c:v>3065191</c:v>
                </c:pt>
                <c:pt idx="17">
                  <c:v>3267276</c:v>
                </c:pt>
                <c:pt idx="18">
                  <c:v>3159100</c:v>
                </c:pt>
                <c:pt idx="19">
                  <c:v>3685737</c:v>
                </c:pt>
                <c:pt idx="20">
                  <c:v>3660466</c:v>
                </c:pt>
                <c:pt idx="21">
                  <c:v>4023519</c:v>
                </c:pt>
                <c:pt idx="22">
                  <c:v>4243189</c:v>
                </c:pt>
                <c:pt idx="23">
                  <c:v>5156978</c:v>
                </c:pt>
                <c:pt idx="24">
                  <c:v>4478697</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2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7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2.6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22</c:v>
                </c:pt>
                <c:pt idx="1">
                  <c:v>2.94</c:v>
                </c:pt>
                <c:pt idx="2">
                  <c:v>2.89</c:v>
                </c:pt>
                <c:pt idx="3">
                  <c:v>2.96</c:v>
                </c:pt>
                <c:pt idx="4">
                  <c:v>3.14</c:v>
                </c:pt>
                <c:pt idx="5">
                  <c:v>3.16</c:v>
                </c:pt>
                <c:pt idx="6">
                  <c:v>3.07</c:v>
                </c:pt>
                <c:pt idx="7">
                  <c:v>3.0</c:v>
                </c:pt>
                <c:pt idx="8">
                  <c:v>2.94</c:v>
                </c:pt>
                <c:pt idx="9">
                  <c:v>2.9</c:v>
                </c:pt>
                <c:pt idx="10">
                  <c:v>2.96</c:v>
                </c:pt>
                <c:pt idx="11">
                  <c:v>2.62</c:v>
                </c:pt>
                <c:pt idx="12">
                  <c:v>2.75</c:v>
                </c:pt>
                <c:pt idx="13">
                  <c:v>2.78</c:v>
                </c:pt>
                <c:pt idx="14">
                  <c:v>2.76</c:v>
                </c:pt>
                <c:pt idx="15">
                  <c:v>2.74</c:v>
                </c:pt>
                <c:pt idx="16">
                  <c:v>2.69</c:v>
                </c:pt>
                <c:pt idx="17">
                  <c:v>2.51</c:v>
                </c:pt>
                <c:pt idx="18">
                  <c:v>2.59</c:v>
                </c:pt>
                <c:pt idx="19">
                  <c:v>2.68</c:v>
                </c:pt>
                <c:pt idx="20">
                  <c:v>2.66</c:v>
                </c:pt>
                <c:pt idx="21">
                  <c:v>2.6</c:v>
                </c:pt>
                <c:pt idx="22">
                  <c:v>2.67</c:v>
                </c:pt>
                <c:pt idx="23">
                  <c:v>2.55</c:v>
                </c:pt>
                <c:pt idx="24">
                  <c:v>2.6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413,51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47,63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391,52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413519</c:v>
                </c:pt>
                <c:pt idx="1">
                  <c:v>305331</c:v>
                </c:pt>
                <c:pt idx="2">
                  <c:v>411022</c:v>
                </c:pt>
                <c:pt idx="3">
                  <c:v>265188</c:v>
                </c:pt>
                <c:pt idx="4">
                  <c:v>266597</c:v>
                </c:pt>
                <c:pt idx="5">
                  <c:v>259374</c:v>
                </c:pt>
                <c:pt idx="6">
                  <c:v>289292</c:v>
                </c:pt>
                <c:pt idx="7">
                  <c:v>226608</c:v>
                </c:pt>
                <c:pt idx="8">
                  <c:v>157459</c:v>
                </c:pt>
                <c:pt idx="9">
                  <c:v>174696</c:v>
                </c:pt>
                <c:pt idx="10">
                  <c:v>168814</c:v>
                </c:pt>
                <c:pt idx="11">
                  <c:v>402879</c:v>
                </c:pt>
                <c:pt idx="12">
                  <c:v>251892</c:v>
                </c:pt>
                <c:pt idx="13">
                  <c:v>247636</c:v>
                </c:pt>
                <c:pt idx="14">
                  <c:v>308302</c:v>
                </c:pt>
                <c:pt idx="15">
                  <c:v>279800</c:v>
                </c:pt>
                <c:pt idx="16">
                  <c:v>357927</c:v>
                </c:pt>
                <c:pt idx="17">
                  <c:v>296020</c:v>
                </c:pt>
                <c:pt idx="18">
                  <c:v>280661</c:v>
                </c:pt>
                <c:pt idx="19">
                  <c:v>360449</c:v>
                </c:pt>
                <c:pt idx="20">
                  <c:v>354288</c:v>
                </c:pt>
                <c:pt idx="21">
                  <c:v>429061</c:v>
                </c:pt>
                <c:pt idx="22">
                  <c:v>368909</c:v>
                </c:pt>
                <c:pt idx="23">
                  <c:v>584975</c:v>
                </c:pt>
                <c:pt idx="24">
                  <c:v>391528</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4.6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4.8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3.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4.62</c:v>
                </c:pt>
                <c:pt idx="1">
                  <c:v>5.21</c:v>
                </c:pt>
                <c:pt idx="2">
                  <c:v>4.37</c:v>
                </c:pt>
                <c:pt idx="3">
                  <c:v>4.98</c:v>
                </c:pt>
                <c:pt idx="4">
                  <c:v>5.21</c:v>
                </c:pt>
                <c:pt idx="5">
                  <c:v>5.63</c:v>
                </c:pt>
                <c:pt idx="6">
                  <c:v>4.71</c:v>
                </c:pt>
                <c:pt idx="7">
                  <c:v>5.21</c:v>
                </c:pt>
                <c:pt idx="8">
                  <c:v>5.29</c:v>
                </c:pt>
                <c:pt idx="9">
                  <c:v>4.63</c:v>
                </c:pt>
                <c:pt idx="10">
                  <c:v>5.11</c:v>
                </c:pt>
                <c:pt idx="11">
                  <c:v>4.06</c:v>
                </c:pt>
                <c:pt idx="12">
                  <c:v>4.72</c:v>
                </c:pt>
                <c:pt idx="13">
                  <c:v>4.83</c:v>
                </c:pt>
                <c:pt idx="14">
                  <c:v>3.84</c:v>
                </c:pt>
                <c:pt idx="15">
                  <c:v>4.29</c:v>
                </c:pt>
                <c:pt idx="16">
                  <c:v>4.44</c:v>
                </c:pt>
                <c:pt idx="17">
                  <c:v>4.53</c:v>
                </c:pt>
                <c:pt idx="18">
                  <c:v>4.44</c:v>
                </c:pt>
                <c:pt idx="19">
                  <c:v>3.77</c:v>
                </c:pt>
                <c:pt idx="20">
                  <c:v>4.09</c:v>
                </c:pt>
                <c:pt idx="21">
                  <c:v>3.97</c:v>
                </c:pt>
                <c:pt idx="22">
                  <c:v>4.57</c:v>
                </c:pt>
                <c:pt idx="23">
                  <c:v>3.63</c:v>
                </c:pt>
                <c:pt idx="24">
                  <c:v>3.92</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503,56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435,51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549,92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503563</c:v>
                </c:pt>
                <c:pt idx="1">
                  <c:v>483616</c:v>
                </c:pt>
                <c:pt idx="2">
                  <c:v>479453</c:v>
                </c:pt>
                <c:pt idx="3">
                  <c:v>441226</c:v>
                </c:pt>
                <c:pt idx="4">
                  <c:v>569960</c:v>
                </c:pt>
                <c:pt idx="5">
                  <c:v>504070</c:v>
                </c:pt>
                <c:pt idx="6">
                  <c:v>442229</c:v>
                </c:pt>
                <c:pt idx="7">
                  <c:v>544377</c:v>
                </c:pt>
                <c:pt idx="8">
                  <c:v>463737</c:v>
                </c:pt>
                <c:pt idx="9">
                  <c:v>412118</c:v>
                </c:pt>
                <c:pt idx="10">
                  <c:v>441688</c:v>
                </c:pt>
                <c:pt idx="11">
                  <c:v>477047</c:v>
                </c:pt>
                <c:pt idx="12">
                  <c:v>428909</c:v>
                </c:pt>
                <c:pt idx="13">
                  <c:v>435519</c:v>
                </c:pt>
                <c:pt idx="14">
                  <c:v>437287</c:v>
                </c:pt>
                <c:pt idx="15">
                  <c:v>365822</c:v>
                </c:pt>
                <c:pt idx="16">
                  <c:v>412027</c:v>
                </c:pt>
                <c:pt idx="17">
                  <c:v>375545</c:v>
                </c:pt>
                <c:pt idx="18">
                  <c:v>411722</c:v>
                </c:pt>
                <c:pt idx="19">
                  <c:v>469890</c:v>
                </c:pt>
                <c:pt idx="20">
                  <c:v>480731</c:v>
                </c:pt>
                <c:pt idx="21">
                  <c:v>482534</c:v>
                </c:pt>
                <c:pt idx="22">
                  <c:v>504813</c:v>
                </c:pt>
                <c:pt idx="23">
                  <c:v>554490</c:v>
                </c:pt>
                <c:pt idx="24">
                  <c:v>549926</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2.5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5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2.5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2.55</c:v>
                </c:pt>
                <c:pt idx="1">
                  <c:v>2.58</c:v>
                </c:pt>
                <c:pt idx="2">
                  <c:v>2.53</c:v>
                </c:pt>
                <c:pt idx="3">
                  <c:v>2.42</c:v>
                </c:pt>
                <c:pt idx="4">
                  <c:v>2.51</c:v>
                </c:pt>
                <c:pt idx="5">
                  <c:v>2.44</c:v>
                </c:pt>
                <c:pt idx="6">
                  <c:v>2.39</c:v>
                </c:pt>
                <c:pt idx="7">
                  <c:v>2.53</c:v>
                </c:pt>
                <c:pt idx="8">
                  <c:v>2.37</c:v>
                </c:pt>
                <c:pt idx="9">
                  <c:v>2.43</c:v>
                </c:pt>
                <c:pt idx="10">
                  <c:v>2.51</c:v>
                </c:pt>
                <c:pt idx="11">
                  <c:v>2.49</c:v>
                </c:pt>
                <c:pt idx="12">
                  <c:v>2.45</c:v>
                </c:pt>
                <c:pt idx="13">
                  <c:v>2.5</c:v>
                </c:pt>
                <c:pt idx="14">
                  <c:v>2.44</c:v>
                </c:pt>
                <c:pt idx="15">
                  <c:v>2.41</c:v>
                </c:pt>
                <c:pt idx="16">
                  <c:v>2.35</c:v>
                </c:pt>
                <c:pt idx="17">
                  <c:v>2.39</c:v>
                </c:pt>
                <c:pt idx="18">
                  <c:v>2.53</c:v>
                </c:pt>
                <c:pt idx="19">
                  <c:v>2.58</c:v>
                </c:pt>
                <c:pt idx="20">
                  <c:v>2.59</c:v>
                </c:pt>
                <c:pt idx="21">
                  <c:v>2.58</c:v>
                </c:pt>
                <c:pt idx="22">
                  <c:v>2.65</c:v>
                </c:pt>
                <c:pt idx="23">
                  <c:v>2.63</c:v>
                </c:pt>
                <c:pt idx="24">
                  <c:v>2.59</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336,16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303,57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399,52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336167</c:v>
                </c:pt>
                <c:pt idx="1">
                  <c:v>294472</c:v>
                </c:pt>
                <c:pt idx="2">
                  <c:v>261992</c:v>
                </c:pt>
                <c:pt idx="3">
                  <c:v>280764</c:v>
                </c:pt>
                <c:pt idx="4">
                  <c:v>263051</c:v>
                </c:pt>
                <c:pt idx="5">
                  <c:v>263271</c:v>
                </c:pt>
                <c:pt idx="6">
                  <c:v>268241</c:v>
                </c:pt>
                <c:pt idx="7">
                  <c:v>294752</c:v>
                </c:pt>
                <c:pt idx="8">
                  <c:v>306637</c:v>
                </c:pt>
                <c:pt idx="9">
                  <c:v>351708</c:v>
                </c:pt>
                <c:pt idx="10">
                  <c:v>443581</c:v>
                </c:pt>
                <c:pt idx="11">
                  <c:v>355954</c:v>
                </c:pt>
                <c:pt idx="12">
                  <c:v>314209</c:v>
                </c:pt>
                <c:pt idx="13">
                  <c:v>303574</c:v>
                </c:pt>
                <c:pt idx="14">
                  <c:v>270449</c:v>
                </c:pt>
                <c:pt idx="15">
                  <c:v>245262</c:v>
                </c:pt>
                <c:pt idx="16">
                  <c:v>259979</c:v>
                </c:pt>
                <c:pt idx="17">
                  <c:v>231896</c:v>
                </c:pt>
                <c:pt idx="18">
                  <c:v>291292</c:v>
                </c:pt>
                <c:pt idx="19">
                  <c:v>362836</c:v>
                </c:pt>
                <c:pt idx="20">
                  <c:v>395856</c:v>
                </c:pt>
                <c:pt idx="21">
                  <c:v>423313</c:v>
                </c:pt>
                <c:pt idx="22">
                  <c:v>468562</c:v>
                </c:pt>
                <c:pt idx="23">
                  <c:v>476029</c:v>
                </c:pt>
                <c:pt idx="24">
                  <c:v>399521</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1.5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0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2.4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1.56</c:v>
                </c:pt>
                <c:pt idx="1">
                  <c:v>1.51</c:v>
                </c:pt>
                <c:pt idx="2">
                  <c:v>1.37</c:v>
                </c:pt>
                <c:pt idx="3">
                  <c:v>1.04</c:v>
                </c:pt>
                <c:pt idx="4">
                  <c:v>1.34</c:v>
                </c:pt>
                <c:pt idx="5">
                  <c:v>1.23</c:v>
                </c:pt>
                <c:pt idx="6">
                  <c:v>1.2</c:v>
                </c:pt>
                <c:pt idx="7">
                  <c:v>1.72</c:v>
                </c:pt>
                <c:pt idx="8">
                  <c:v>1.77</c:v>
                </c:pt>
                <c:pt idx="9">
                  <c:v>1.83</c:v>
                </c:pt>
                <c:pt idx="10">
                  <c:v>2.02</c:v>
                </c:pt>
                <c:pt idx="11">
                  <c:v>1.93</c:v>
                </c:pt>
                <c:pt idx="12">
                  <c:v>2.02</c:v>
                </c:pt>
                <c:pt idx="13">
                  <c:v>2.09</c:v>
                </c:pt>
                <c:pt idx="14">
                  <c:v>1.66</c:v>
                </c:pt>
                <c:pt idx="15">
                  <c:v>2.07</c:v>
                </c:pt>
                <c:pt idx="16">
                  <c:v>1.9</c:v>
                </c:pt>
                <c:pt idx="17">
                  <c:v>2.22</c:v>
                </c:pt>
                <c:pt idx="18">
                  <c:v>2.49</c:v>
                </c:pt>
                <c:pt idx="19">
                  <c:v>2.54</c:v>
                </c:pt>
                <c:pt idx="20">
                  <c:v>2.56</c:v>
                </c:pt>
                <c:pt idx="21">
                  <c:v>2.47</c:v>
                </c:pt>
                <c:pt idx="22">
                  <c:v>2.59</c:v>
                </c:pt>
                <c:pt idx="23">
                  <c:v>2.7</c:v>
                </c:pt>
                <c:pt idx="24">
                  <c:v>2.46</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242,73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015,13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3,667,16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2242734</c:v>
                </c:pt>
                <c:pt idx="1">
                  <c:v>1872387</c:v>
                </c:pt>
                <c:pt idx="2">
                  <c:v>1724223</c:v>
                </c:pt>
                <c:pt idx="3">
                  <c:v>1737857</c:v>
                </c:pt>
                <c:pt idx="4">
                  <c:v>2065864</c:v>
                </c:pt>
                <c:pt idx="5">
                  <c:v>1684288</c:v>
                </c:pt>
                <c:pt idx="6">
                  <c:v>1919957</c:v>
                </c:pt>
                <c:pt idx="7">
                  <c:v>2339045</c:v>
                </c:pt>
                <c:pt idx="8">
                  <c:v>2181072</c:v>
                </c:pt>
                <c:pt idx="9">
                  <c:v>3254542</c:v>
                </c:pt>
                <c:pt idx="10">
                  <c:v>2726861</c:v>
                </c:pt>
                <c:pt idx="11">
                  <c:v>2524118</c:v>
                </c:pt>
                <c:pt idx="12">
                  <c:v>2338300</c:v>
                </c:pt>
                <c:pt idx="13">
                  <c:v>2015139</c:v>
                </c:pt>
                <c:pt idx="14">
                  <c:v>1773054</c:v>
                </c:pt>
                <c:pt idx="15">
                  <c:v>1889367</c:v>
                </c:pt>
                <c:pt idx="16">
                  <c:v>2055030</c:v>
                </c:pt>
                <c:pt idx="17">
                  <c:v>1710231</c:v>
                </c:pt>
                <c:pt idx="18">
                  <c:v>1837168</c:v>
                </c:pt>
                <c:pt idx="19">
                  <c:v>2040129</c:v>
                </c:pt>
                <c:pt idx="20">
                  <c:v>2602895</c:v>
                </c:pt>
                <c:pt idx="21">
                  <c:v>2659275</c:v>
                </c:pt>
                <c:pt idx="22">
                  <c:v>2571666</c:v>
                </c:pt>
                <c:pt idx="23">
                  <c:v>2808470</c:v>
                </c:pt>
                <c:pt idx="24">
                  <c:v>3667167</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6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4.1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2.7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66</c:v>
                </c:pt>
                <c:pt idx="1">
                  <c:v>3.66</c:v>
                </c:pt>
                <c:pt idx="2">
                  <c:v>3.57</c:v>
                </c:pt>
                <c:pt idx="3">
                  <c:v>3.63</c:v>
                </c:pt>
                <c:pt idx="4">
                  <c:v>3.93</c:v>
                </c:pt>
                <c:pt idx="5">
                  <c:v>3.74</c:v>
                </c:pt>
                <c:pt idx="6">
                  <c:v>3.52</c:v>
                </c:pt>
                <c:pt idx="7">
                  <c:v>3.9</c:v>
                </c:pt>
                <c:pt idx="8">
                  <c:v>3.65</c:v>
                </c:pt>
                <c:pt idx="9">
                  <c:v>3.58</c:v>
                </c:pt>
                <c:pt idx="10">
                  <c:v>3.78</c:v>
                </c:pt>
                <c:pt idx="11">
                  <c:v>3.82</c:v>
                </c:pt>
                <c:pt idx="12">
                  <c:v>3.85</c:v>
                </c:pt>
                <c:pt idx="13">
                  <c:v>4.1</c:v>
                </c:pt>
                <c:pt idx="14">
                  <c:v>3.82</c:v>
                </c:pt>
                <c:pt idx="15">
                  <c:v>3.45</c:v>
                </c:pt>
                <c:pt idx="16">
                  <c:v>3.87</c:v>
                </c:pt>
                <c:pt idx="17">
                  <c:v>3.46</c:v>
                </c:pt>
                <c:pt idx="18">
                  <c:v>3.29</c:v>
                </c:pt>
                <c:pt idx="19">
                  <c:v>3.49</c:v>
                </c:pt>
                <c:pt idx="20">
                  <c:v>2.97</c:v>
                </c:pt>
                <c:pt idx="21">
                  <c:v>2.98</c:v>
                </c:pt>
                <c:pt idx="22">
                  <c:v>3.47</c:v>
                </c:pt>
                <c:pt idx="23">
                  <c:v>3.53</c:v>
                </c:pt>
                <c:pt idx="24">
                  <c:v>2.71</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303,06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147,50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397,83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1303060</c:v>
                </c:pt>
                <c:pt idx="1">
                  <c:v>1159449</c:v>
                </c:pt>
                <c:pt idx="2">
                  <c:v>1431958</c:v>
                </c:pt>
                <c:pt idx="3">
                  <c:v>1036110</c:v>
                </c:pt>
                <c:pt idx="4">
                  <c:v>1124658</c:v>
                </c:pt>
                <c:pt idx="5">
                  <c:v>967190</c:v>
                </c:pt>
                <c:pt idx="6">
                  <c:v>1260329</c:v>
                </c:pt>
                <c:pt idx="7">
                  <c:v>1946139</c:v>
                </c:pt>
                <c:pt idx="8">
                  <c:v>1539928</c:v>
                </c:pt>
                <c:pt idx="9">
                  <c:v>1459709</c:v>
                </c:pt>
                <c:pt idx="10">
                  <c:v>2002431</c:v>
                </c:pt>
                <c:pt idx="11">
                  <c:v>1734186</c:v>
                </c:pt>
                <c:pt idx="12">
                  <c:v>1450057</c:v>
                </c:pt>
                <c:pt idx="13">
                  <c:v>1147505</c:v>
                </c:pt>
                <c:pt idx="14">
                  <c:v>1434440</c:v>
                </c:pt>
                <c:pt idx="15">
                  <c:v>1005808</c:v>
                </c:pt>
                <c:pt idx="16">
                  <c:v>1194246</c:v>
                </c:pt>
                <c:pt idx="17">
                  <c:v>822411</c:v>
                </c:pt>
                <c:pt idx="18">
                  <c:v>785893</c:v>
                </c:pt>
                <c:pt idx="19">
                  <c:v>963298</c:v>
                </c:pt>
                <c:pt idx="20">
                  <c:v>1010875</c:v>
                </c:pt>
                <c:pt idx="21">
                  <c:v>1082127</c:v>
                </c:pt>
                <c:pt idx="22">
                  <c:v>1425326</c:v>
                </c:pt>
                <c:pt idx="23">
                  <c:v>1570582</c:v>
                </c:pt>
                <c:pt idx="24">
                  <c:v>1397833</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7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3.6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2.9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75</c:v>
                </c:pt>
                <c:pt idx="1">
                  <c:v>3.5</c:v>
                </c:pt>
                <c:pt idx="2">
                  <c:v>3.06</c:v>
                </c:pt>
                <c:pt idx="3">
                  <c:v>3.27</c:v>
                </c:pt>
                <c:pt idx="4">
                  <c:v>3.49</c:v>
                </c:pt>
                <c:pt idx="5">
                  <c:v>3.66</c:v>
                </c:pt>
                <c:pt idx="6">
                  <c:v>2.92</c:v>
                </c:pt>
                <c:pt idx="7">
                  <c:v>3.12</c:v>
                </c:pt>
                <c:pt idx="8">
                  <c:v>3.18</c:v>
                </c:pt>
                <c:pt idx="9">
                  <c:v>3.38</c:v>
                </c:pt>
                <c:pt idx="10">
                  <c:v>3.03</c:v>
                </c:pt>
                <c:pt idx="11">
                  <c:v>3.25</c:v>
                </c:pt>
                <c:pt idx="12">
                  <c:v>3.48</c:v>
                </c:pt>
                <c:pt idx="13">
                  <c:v>3.65</c:v>
                </c:pt>
                <c:pt idx="14">
                  <c:v>3.07</c:v>
                </c:pt>
                <c:pt idx="15">
                  <c:v>3.33</c:v>
                </c:pt>
                <c:pt idx="16">
                  <c:v>3.38</c:v>
                </c:pt>
                <c:pt idx="17">
                  <c:v>3.91</c:v>
                </c:pt>
                <c:pt idx="18">
                  <c:v>3.82</c:v>
                </c:pt>
                <c:pt idx="19">
                  <c:v>3.75</c:v>
                </c:pt>
                <c:pt idx="20">
                  <c:v>3.49</c:v>
                </c:pt>
                <c:pt idx="21">
                  <c:v>3.55</c:v>
                </c:pt>
                <c:pt idx="22">
                  <c:v>3.04</c:v>
                </c:pt>
                <c:pt idx="23">
                  <c:v>3.0</c:v>
                </c:pt>
                <c:pt idx="24">
                  <c:v>2.95</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909,89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484,06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2,922,16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2909899</c:v>
                </c:pt>
                <c:pt idx="1">
                  <c:v>2388413</c:v>
                </c:pt>
                <c:pt idx="2">
                  <c:v>2211630</c:v>
                </c:pt>
                <c:pt idx="3">
                  <c:v>1889975</c:v>
                </c:pt>
                <c:pt idx="4">
                  <c:v>2299269</c:v>
                </c:pt>
                <c:pt idx="5">
                  <c:v>2138368</c:v>
                </c:pt>
                <c:pt idx="6">
                  <c:v>1986631</c:v>
                </c:pt>
                <c:pt idx="7">
                  <c:v>2785642</c:v>
                </c:pt>
                <c:pt idx="8">
                  <c:v>2617272</c:v>
                </c:pt>
                <c:pt idx="9">
                  <c:v>2881521</c:v>
                </c:pt>
                <c:pt idx="10">
                  <c:v>2996035</c:v>
                </c:pt>
                <c:pt idx="11">
                  <c:v>3135287</c:v>
                </c:pt>
                <c:pt idx="12">
                  <c:v>2836911</c:v>
                </c:pt>
                <c:pt idx="13">
                  <c:v>2484066</c:v>
                </c:pt>
                <c:pt idx="14">
                  <c:v>2245936</c:v>
                </c:pt>
                <c:pt idx="15">
                  <c:v>2005200</c:v>
                </c:pt>
                <c:pt idx="16">
                  <c:v>2399222</c:v>
                </c:pt>
                <c:pt idx="17">
                  <c:v>2058394</c:v>
                </c:pt>
                <c:pt idx="18">
                  <c:v>2044865</c:v>
                </c:pt>
                <c:pt idx="19">
                  <c:v>2381547</c:v>
                </c:pt>
                <c:pt idx="20">
                  <c:v>2359298</c:v>
                </c:pt>
                <c:pt idx="21">
                  <c:v>2678703</c:v>
                </c:pt>
                <c:pt idx="22">
                  <c:v>2965992</c:v>
                </c:pt>
                <c:pt idx="23">
                  <c:v>3000711</c:v>
                </c:pt>
                <c:pt idx="24">
                  <c:v>2922165</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5.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5.5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5.1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5.52</c:v>
                </c:pt>
                <c:pt idx="1">
                  <c:v>5.46</c:v>
                </c:pt>
                <c:pt idx="2">
                  <c:v>5.39</c:v>
                </c:pt>
                <c:pt idx="3">
                  <c:v>5.48</c:v>
                </c:pt>
                <c:pt idx="4">
                  <c:v>5.46</c:v>
                </c:pt>
                <c:pt idx="5">
                  <c:v>5.24</c:v>
                </c:pt>
                <c:pt idx="6">
                  <c:v>5.27</c:v>
                </c:pt>
                <c:pt idx="7">
                  <c:v>5.41</c:v>
                </c:pt>
                <c:pt idx="8">
                  <c:v>5.45</c:v>
                </c:pt>
                <c:pt idx="9">
                  <c:v>5.51</c:v>
                </c:pt>
                <c:pt idx="10">
                  <c:v>5.37</c:v>
                </c:pt>
                <c:pt idx="11">
                  <c:v>5.49</c:v>
                </c:pt>
                <c:pt idx="12">
                  <c:v>5.41</c:v>
                </c:pt>
                <c:pt idx="13">
                  <c:v>5.5</c:v>
                </c:pt>
                <c:pt idx="14">
                  <c:v>5.39</c:v>
                </c:pt>
                <c:pt idx="15">
                  <c:v>5.36</c:v>
                </c:pt>
                <c:pt idx="16">
                  <c:v>5.19</c:v>
                </c:pt>
                <c:pt idx="17">
                  <c:v>5.32</c:v>
                </c:pt>
                <c:pt idx="18">
                  <c:v>5.15</c:v>
                </c:pt>
                <c:pt idx="19">
                  <c:v>5.12</c:v>
                </c:pt>
                <c:pt idx="20">
                  <c:v>5.13</c:v>
                </c:pt>
                <c:pt idx="21">
                  <c:v>5.1</c:v>
                </c:pt>
                <c:pt idx="22">
                  <c:v>5.17</c:v>
                </c:pt>
                <c:pt idx="23">
                  <c:v>5.14</c:v>
                </c:pt>
                <c:pt idx="24">
                  <c:v>5.1</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2"/>
              <c:tx>
                <c:rich>
                  <a:bodyPr/>
                  <a:lstStyle/>
                  <a:p>
                    <a:r>
                      <a:t>Value Sales </a:t>
                    </a:r>
                  </a:p>
                  <a:p>
                    <a:r>
                      <a:t> 5</a:t>
                    </a:r>
                  </a:p>
                </c:rich>
              </c:tx>
              <c:dLblPos val="b"/>
              <c:showLegendKey val="0"/>
              <c:showVal val="1"/>
              <c:showCatName val="0"/>
              <c:showSerName val="0"/>
              <c:showPercent val="0"/>
              <c:showBubbleSize val="0"/>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4</c:f>
              <c:strCache>
                <c:ptCount val="3"/>
                <c:pt idx="0">
                  <c:v>Feb-22</c:v>
                </c:pt>
                <c:pt idx="1">
                  <c:v>May-22</c:v>
                </c:pt>
                <c:pt idx="2">
                  <c:v>Nov-22</c:v>
                </c:pt>
              </c:strCache>
            </c:strRef>
          </c:cat>
          <c:val>
            <c:numRef>
              <c:f>Sheet1!$B$2:$B$4</c:f>
              <c:numCache>
                <c:formatCode>General</c:formatCode>
                <c:ptCount val="3"/>
                <c:pt idx="0">
                  <c:v>12</c:v>
                </c:pt>
                <c:pt idx="1">
                  <c:v>5</c:v>
                </c:pt>
                <c:pt idx="2">
                  <c:v>5</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6.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2"/>
              <c:tx>
                <c:rich>
                  <a:bodyPr/>
                  <a:lstStyle/>
                  <a:p>
                    <a:r>
                      <a:t>Av Price/KG </a:t>
                    </a:r>
                  </a:p>
                  <a:p>
                    <a:r>
                      <a:t> $ 2.50</a:t>
                    </a:r>
                  </a:p>
                </c:rich>
              </c:tx>
              <c:dLblPos val="t"/>
              <c:showLegendKey val="0"/>
              <c:showVal val="1"/>
              <c:showCatName val="0"/>
              <c:showSerName val="0"/>
              <c:showPercent val="0"/>
              <c:showBubbleSize val="0"/>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4</c:f>
              <c:strCache>
                <c:ptCount val="3"/>
                <c:pt idx="0">
                  <c:v>Feb-22</c:v>
                </c:pt>
                <c:pt idx="1">
                  <c:v>May-22</c:v>
                </c:pt>
                <c:pt idx="2">
                  <c:v>Nov-22</c:v>
                </c:pt>
              </c:strCache>
            </c:strRef>
          </c:cat>
          <c:val>
            <c:numRef>
              <c:f>Sheet1!$C$2:$C$4</c:f>
              <c:numCache>
                <c:formatCode>General</c:formatCode>
                <c:ptCount val="3"/>
                <c:pt idx="0">
                  <c:v>6.0</c:v>
                </c:pt>
                <c:pt idx="1">
                  <c:v>1.67</c:v>
                </c:pt>
                <c:pt idx="2">
                  <c:v>2.5</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74,01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75,00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52,95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74012</c:v>
                </c:pt>
                <c:pt idx="1">
                  <c:v>67829</c:v>
                </c:pt>
                <c:pt idx="2">
                  <c:v>78962</c:v>
                </c:pt>
                <c:pt idx="3">
                  <c:v>66187</c:v>
                </c:pt>
                <c:pt idx="4">
                  <c:v>72029</c:v>
                </c:pt>
                <c:pt idx="5">
                  <c:v>74310</c:v>
                </c:pt>
                <c:pt idx="6">
                  <c:v>70759</c:v>
                </c:pt>
                <c:pt idx="7">
                  <c:v>83710</c:v>
                </c:pt>
                <c:pt idx="8">
                  <c:v>91141</c:v>
                </c:pt>
                <c:pt idx="9">
                  <c:v>93197</c:v>
                </c:pt>
                <c:pt idx="10">
                  <c:v>94330</c:v>
                </c:pt>
                <c:pt idx="11">
                  <c:v>88532</c:v>
                </c:pt>
                <c:pt idx="12">
                  <c:v>76366</c:v>
                </c:pt>
                <c:pt idx="13">
                  <c:v>75005</c:v>
                </c:pt>
                <c:pt idx="14">
                  <c:v>68541</c:v>
                </c:pt>
                <c:pt idx="15">
                  <c:v>68548</c:v>
                </c:pt>
                <c:pt idx="16">
                  <c:v>95474</c:v>
                </c:pt>
                <c:pt idx="17">
                  <c:v>91505</c:v>
                </c:pt>
                <c:pt idx="18">
                  <c:v>56161</c:v>
                </c:pt>
                <c:pt idx="19">
                  <c:v>56181</c:v>
                </c:pt>
                <c:pt idx="20">
                  <c:v>53310</c:v>
                </c:pt>
                <c:pt idx="21">
                  <c:v>54779</c:v>
                </c:pt>
                <c:pt idx="22">
                  <c:v>58188</c:v>
                </c:pt>
                <c:pt idx="23">
                  <c:v>51511</c:v>
                </c:pt>
                <c:pt idx="24">
                  <c:v>52950</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16.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9.3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4.3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16.12</c:v>
                </c:pt>
                <c:pt idx="1">
                  <c:v>10.76</c:v>
                </c:pt>
                <c:pt idx="2">
                  <c:v>21.18</c:v>
                </c:pt>
                <c:pt idx="3">
                  <c:v>27.97</c:v>
                </c:pt>
                <c:pt idx="4">
                  <c:v>28.82</c:v>
                </c:pt>
                <c:pt idx="5">
                  <c:v>29.3</c:v>
                </c:pt>
                <c:pt idx="6">
                  <c:v>29.36</c:v>
                </c:pt>
                <c:pt idx="7">
                  <c:v>28.32</c:v>
                </c:pt>
                <c:pt idx="8">
                  <c:v>23.8</c:v>
                </c:pt>
                <c:pt idx="9">
                  <c:v>21.68</c:v>
                </c:pt>
                <c:pt idx="10">
                  <c:v>20.59</c:v>
                </c:pt>
                <c:pt idx="11">
                  <c:v>19.1</c:v>
                </c:pt>
                <c:pt idx="12">
                  <c:v>19.33</c:v>
                </c:pt>
                <c:pt idx="13">
                  <c:v>19.32</c:v>
                </c:pt>
                <c:pt idx="14">
                  <c:v>18.73</c:v>
                </c:pt>
                <c:pt idx="15">
                  <c:v>18.29</c:v>
                </c:pt>
                <c:pt idx="16">
                  <c:v>12.55</c:v>
                </c:pt>
                <c:pt idx="17">
                  <c:v>7.13</c:v>
                </c:pt>
                <c:pt idx="18">
                  <c:v>18.04</c:v>
                </c:pt>
                <c:pt idx="19">
                  <c:v>17.78</c:v>
                </c:pt>
                <c:pt idx="20">
                  <c:v>16.82</c:v>
                </c:pt>
                <c:pt idx="21">
                  <c:v>17.32</c:v>
                </c:pt>
                <c:pt idx="22">
                  <c:v>15.76</c:v>
                </c:pt>
                <c:pt idx="23">
                  <c:v>14.21</c:v>
                </c:pt>
                <c:pt idx="24">
                  <c:v>14.34</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304,84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302,18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308,45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304849</c:v>
                </c:pt>
                <c:pt idx="1">
                  <c:v>263731</c:v>
                </c:pt>
                <c:pt idx="2">
                  <c:v>259921</c:v>
                </c:pt>
                <c:pt idx="3">
                  <c:v>261831</c:v>
                </c:pt>
                <c:pt idx="4">
                  <c:v>320738</c:v>
                </c:pt>
                <c:pt idx="5">
                  <c:v>274227</c:v>
                </c:pt>
                <c:pt idx="6">
                  <c:v>258633</c:v>
                </c:pt>
                <c:pt idx="7">
                  <c:v>312597</c:v>
                </c:pt>
                <c:pt idx="8">
                  <c:v>299619</c:v>
                </c:pt>
                <c:pt idx="9">
                  <c:v>289852</c:v>
                </c:pt>
                <c:pt idx="10">
                  <c:v>294369</c:v>
                </c:pt>
                <c:pt idx="11">
                  <c:v>314433</c:v>
                </c:pt>
                <c:pt idx="12">
                  <c:v>335032</c:v>
                </c:pt>
                <c:pt idx="13">
                  <c:v>302188</c:v>
                </c:pt>
                <c:pt idx="14">
                  <c:v>311273</c:v>
                </c:pt>
                <c:pt idx="15">
                  <c:v>288822</c:v>
                </c:pt>
                <c:pt idx="16">
                  <c:v>325445</c:v>
                </c:pt>
                <c:pt idx="17">
                  <c:v>285805</c:v>
                </c:pt>
                <c:pt idx="18">
                  <c:v>275569</c:v>
                </c:pt>
                <c:pt idx="19">
                  <c:v>291639</c:v>
                </c:pt>
                <c:pt idx="20">
                  <c:v>278573</c:v>
                </c:pt>
                <c:pt idx="21">
                  <c:v>295122</c:v>
                </c:pt>
                <c:pt idx="22">
                  <c:v>293219</c:v>
                </c:pt>
                <c:pt idx="23">
                  <c:v>305647</c:v>
                </c:pt>
                <c:pt idx="24">
                  <c:v>308458</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1.4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1.45</c:v>
                </c:pt>
                <c:pt idx="1">
                  <c:v>1.44</c:v>
                </c:pt>
                <c:pt idx="2">
                  <c:v>1.43</c:v>
                </c:pt>
                <c:pt idx="3">
                  <c:v>1.43</c:v>
                </c:pt>
                <c:pt idx="4">
                  <c:v>1.45</c:v>
                </c:pt>
                <c:pt idx="5">
                  <c:v>1.42</c:v>
                </c:pt>
                <c:pt idx="6">
                  <c:v>1.48</c:v>
                </c:pt>
                <c:pt idx="7">
                  <c:v>1.52</c:v>
                </c:pt>
                <c:pt idx="8">
                  <c:v>1.54</c:v>
                </c:pt>
                <c:pt idx="9">
                  <c:v>1.51</c:v>
                </c:pt>
                <c:pt idx="10">
                  <c:v>1.51</c:v>
                </c:pt>
                <c:pt idx="11">
                  <c:v>1.49</c:v>
                </c:pt>
                <c:pt idx="12">
                  <c:v>1.52</c:v>
                </c:pt>
                <c:pt idx="13">
                  <c:v>1.51</c:v>
                </c:pt>
                <c:pt idx="14">
                  <c:v>1.51</c:v>
                </c:pt>
                <c:pt idx="15">
                  <c:v>1.53</c:v>
                </c:pt>
                <c:pt idx="16">
                  <c:v>1.5</c:v>
                </c:pt>
                <c:pt idx="17">
                  <c:v>1.47</c:v>
                </c:pt>
                <c:pt idx="18">
                  <c:v>1.48</c:v>
                </c:pt>
                <c:pt idx="19">
                  <c:v>1.5</c:v>
                </c:pt>
                <c:pt idx="20">
                  <c:v>1.51</c:v>
                </c:pt>
                <c:pt idx="21">
                  <c:v>1.53</c:v>
                </c:pt>
                <c:pt idx="22">
                  <c:v>1.55</c:v>
                </c:pt>
                <c:pt idx="23">
                  <c:v>1.54</c:v>
                </c:pt>
                <c:pt idx="24">
                  <c:v>1.51</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6,002,47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5,962,79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7,237,10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6002473</c:v>
                </c:pt>
                <c:pt idx="1">
                  <c:v>5526188</c:v>
                </c:pt>
                <c:pt idx="2">
                  <c:v>5519816</c:v>
                </c:pt>
                <c:pt idx="3">
                  <c:v>5186805</c:v>
                </c:pt>
                <c:pt idx="4">
                  <c:v>6582845</c:v>
                </c:pt>
                <c:pt idx="5">
                  <c:v>5665574</c:v>
                </c:pt>
                <c:pt idx="6">
                  <c:v>5347258</c:v>
                </c:pt>
                <c:pt idx="7">
                  <c:v>6769729</c:v>
                </c:pt>
                <c:pt idx="8">
                  <c:v>6415310</c:v>
                </c:pt>
                <c:pt idx="9">
                  <c:v>6287954</c:v>
                </c:pt>
                <c:pt idx="10">
                  <c:v>5934273</c:v>
                </c:pt>
                <c:pt idx="11">
                  <c:v>6201380</c:v>
                </c:pt>
                <c:pt idx="12">
                  <c:v>6556824</c:v>
                </c:pt>
                <c:pt idx="13">
                  <c:v>5962795</c:v>
                </c:pt>
                <c:pt idx="14">
                  <c:v>6222143</c:v>
                </c:pt>
                <c:pt idx="15">
                  <c:v>5841391</c:v>
                </c:pt>
                <c:pt idx="16">
                  <c:v>6821136</c:v>
                </c:pt>
                <c:pt idx="17">
                  <c:v>6132123</c:v>
                </c:pt>
                <c:pt idx="18">
                  <c:v>6047204</c:v>
                </c:pt>
                <c:pt idx="19">
                  <c:v>6814131</c:v>
                </c:pt>
                <c:pt idx="20">
                  <c:v>6539571</c:v>
                </c:pt>
                <c:pt idx="21">
                  <c:v>7025361</c:v>
                </c:pt>
                <c:pt idx="22">
                  <c:v>6953366</c:v>
                </c:pt>
                <c:pt idx="23">
                  <c:v>7120591</c:v>
                </c:pt>
                <c:pt idx="24">
                  <c:v>7237101</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1.8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2.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1.87</c:v>
                </c:pt>
                <c:pt idx="1">
                  <c:v>1.87</c:v>
                </c:pt>
                <c:pt idx="2">
                  <c:v>1.87</c:v>
                </c:pt>
                <c:pt idx="3">
                  <c:v>1.86</c:v>
                </c:pt>
                <c:pt idx="4">
                  <c:v>1.9</c:v>
                </c:pt>
                <c:pt idx="5">
                  <c:v>1.89</c:v>
                </c:pt>
                <c:pt idx="6">
                  <c:v>1.87</c:v>
                </c:pt>
                <c:pt idx="7">
                  <c:v>1.98</c:v>
                </c:pt>
                <c:pt idx="8">
                  <c:v>1.99</c:v>
                </c:pt>
                <c:pt idx="9">
                  <c:v>1.98</c:v>
                </c:pt>
                <c:pt idx="10">
                  <c:v>1.96</c:v>
                </c:pt>
                <c:pt idx="11">
                  <c:v>1.93</c:v>
                </c:pt>
                <c:pt idx="12">
                  <c:v>1.98</c:v>
                </c:pt>
                <c:pt idx="13">
                  <c:v>1.99</c:v>
                </c:pt>
                <c:pt idx="14">
                  <c:v>1.99</c:v>
                </c:pt>
                <c:pt idx="15">
                  <c:v>2.01</c:v>
                </c:pt>
                <c:pt idx="16">
                  <c:v>2.0</c:v>
                </c:pt>
                <c:pt idx="17">
                  <c:v>2.0</c:v>
                </c:pt>
                <c:pt idx="18">
                  <c:v>1.97</c:v>
                </c:pt>
                <c:pt idx="19">
                  <c:v>2.02</c:v>
                </c:pt>
                <c:pt idx="20">
                  <c:v>2.08</c:v>
                </c:pt>
                <c:pt idx="21">
                  <c:v>2.09</c:v>
                </c:pt>
                <c:pt idx="22">
                  <c:v>2.09</c:v>
                </c:pt>
                <c:pt idx="23">
                  <c:v>2.05</c:v>
                </c:pt>
                <c:pt idx="24">
                  <c:v>2.0</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474,35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418,52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534,44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474355</c:v>
                </c:pt>
                <c:pt idx="1">
                  <c:v>406864</c:v>
                </c:pt>
                <c:pt idx="2">
                  <c:v>386191</c:v>
                </c:pt>
                <c:pt idx="3">
                  <c:v>355293</c:v>
                </c:pt>
                <c:pt idx="4">
                  <c:v>391108</c:v>
                </c:pt>
                <c:pt idx="5">
                  <c:v>367431</c:v>
                </c:pt>
                <c:pt idx="6">
                  <c:v>362237</c:v>
                </c:pt>
                <c:pt idx="7">
                  <c:v>409861</c:v>
                </c:pt>
                <c:pt idx="8">
                  <c:v>408772</c:v>
                </c:pt>
                <c:pt idx="9">
                  <c:v>434489</c:v>
                </c:pt>
                <c:pt idx="10">
                  <c:v>457367</c:v>
                </c:pt>
                <c:pt idx="11">
                  <c:v>502672</c:v>
                </c:pt>
                <c:pt idx="12">
                  <c:v>507242</c:v>
                </c:pt>
                <c:pt idx="13">
                  <c:v>418526</c:v>
                </c:pt>
                <c:pt idx="14">
                  <c:v>414315</c:v>
                </c:pt>
                <c:pt idx="15">
                  <c:v>378473</c:v>
                </c:pt>
                <c:pt idx="16">
                  <c:v>413812</c:v>
                </c:pt>
                <c:pt idx="17">
                  <c:v>388898</c:v>
                </c:pt>
                <c:pt idx="18">
                  <c:v>414914</c:v>
                </c:pt>
                <c:pt idx="19">
                  <c:v>478040</c:v>
                </c:pt>
                <c:pt idx="20">
                  <c:v>456334</c:v>
                </c:pt>
                <c:pt idx="21">
                  <c:v>487956</c:v>
                </c:pt>
                <c:pt idx="22">
                  <c:v>524398</c:v>
                </c:pt>
                <c:pt idx="23">
                  <c:v>570677</c:v>
                </c:pt>
                <c:pt idx="24">
                  <c:v>534447</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0.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0.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0.4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0.38</c:v>
                </c:pt>
                <c:pt idx="1">
                  <c:v>0.38</c:v>
                </c:pt>
                <c:pt idx="2">
                  <c:v>0.37</c:v>
                </c:pt>
                <c:pt idx="3">
                  <c:v>0.37</c:v>
                </c:pt>
                <c:pt idx="4">
                  <c:v>0.37</c:v>
                </c:pt>
                <c:pt idx="5">
                  <c:v>0.39</c:v>
                </c:pt>
                <c:pt idx="6">
                  <c:v>0.4</c:v>
                </c:pt>
                <c:pt idx="7">
                  <c:v>0.41</c:v>
                </c:pt>
                <c:pt idx="8">
                  <c:v>0.41</c:v>
                </c:pt>
                <c:pt idx="9">
                  <c:v>0.41</c:v>
                </c:pt>
                <c:pt idx="10">
                  <c:v>0.41</c:v>
                </c:pt>
                <c:pt idx="11">
                  <c:v>0.42</c:v>
                </c:pt>
                <c:pt idx="12">
                  <c:v>0.43</c:v>
                </c:pt>
                <c:pt idx="13">
                  <c:v>0.42</c:v>
                </c:pt>
                <c:pt idx="14">
                  <c:v>0.4</c:v>
                </c:pt>
                <c:pt idx="15">
                  <c:v>0.4</c:v>
                </c:pt>
                <c:pt idx="16">
                  <c:v>0.41</c:v>
                </c:pt>
                <c:pt idx="17">
                  <c:v>0.42</c:v>
                </c:pt>
                <c:pt idx="18">
                  <c:v>0.42</c:v>
                </c:pt>
                <c:pt idx="19">
                  <c:v>0.43</c:v>
                </c:pt>
                <c:pt idx="20">
                  <c:v>0.43</c:v>
                </c:pt>
                <c:pt idx="21">
                  <c:v>0.42</c:v>
                </c:pt>
                <c:pt idx="22">
                  <c:v>0.42</c:v>
                </c:pt>
                <c:pt idx="23">
                  <c:v>0.43</c:v>
                </c:pt>
                <c:pt idx="24">
                  <c:v>0.4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471,58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158,75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296,99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1471585</c:v>
                </c:pt>
                <c:pt idx="1">
                  <c:v>1207281</c:v>
                </c:pt>
                <c:pt idx="2">
                  <c:v>1204319</c:v>
                </c:pt>
                <c:pt idx="3">
                  <c:v>1123346</c:v>
                </c:pt>
                <c:pt idx="4">
                  <c:v>1352111</c:v>
                </c:pt>
                <c:pt idx="5">
                  <c:v>1049219</c:v>
                </c:pt>
                <c:pt idx="6">
                  <c:v>1014346</c:v>
                </c:pt>
                <c:pt idx="7">
                  <c:v>1150709</c:v>
                </c:pt>
                <c:pt idx="8">
                  <c:v>1217698</c:v>
                </c:pt>
                <c:pt idx="9">
                  <c:v>1309137</c:v>
                </c:pt>
                <c:pt idx="10">
                  <c:v>1401043</c:v>
                </c:pt>
                <c:pt idx="11">
                  <c:v>1508519</c:v>
                </c:pt>
                <c:pt idx="12">
                  <c:v>1454557</c:v>
                </c:pt>
                <c:pt idx="13">
                  <c:v>1158758</c:v>
                </c:pt>
                <c:pt idx="14">
                  <c:v>1109666</c:v>
                </c:pt>
                <c:pt idx="15">
                  <c:v>1084986</c:v>
                </c:pt>
                <c:pt idx="16">
                  <c:v>1323884</c:v>
                </c:pt>
                <c:pt idx="17">
                  <c:v>1013923</c:v>
                </c:pt>
                <c:pt idx="18">
                  <c:v>979775</c:v>
                </c:pt>
                <c:pt idx="19">
                  <c:v>1113469</c:v>
                </c:pt>
                <c:pt idx="20">
                  <c:v>1077916</c:v>
                </c:pt>
                <c:pt idx="21">
                  <c:v>1181813</c:v>
                </c:pt>
                <c:pt idx="22">
                  <c:v>1322409</c:v>
                </c:pt>
                <c:pt idx="23">
                  <c:v>1375681</c:v>
                </c:pt>
                <c:pt idx="24">
                  <c:v>1296996</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1.7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8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8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1.7</c:v>
                </c:pt>
                <c:pt idx="1">
                  <c:v>1.69</c:v>
                </c:pt>
                <c:pt idx="2">
                  <c:v>1.67</c:v>
                </c:pt>
                <c:pt idx="3">
                  <c:v>1.65</c:v>
                </c:pt>
                <c:pt idx="4">
                  <c:v>1.59</c:v>
                </c:pt>
                <c:pt idx="5">
                  <c:v>1.7</c:v>
                </c:pt>
                <c:pt idx="6">
                  <c:v>1.77</c:v>
                </c:pt>
                <c:pt idx="7">
                  <c:v>1.81</c:v>
                </c:pt>
                <c:pt idx="8">
                  <c:v>1.84</c:v>
                </c:pt>
                <c:pt idx="9">
                  <c:v>1.83</c:v>
                </c:pt>
                <c:pt idx="10">
                  <c:v>1.84</c:v>
                </c:pt>
                <c:pt idx="11">
                  <c:v>1.86</c:v>
                </c:pt>
                <c:pt idx="12">
                  <c:v>1.87</c:v>
                </c:pt>
                <c:pt idx="13">
                  <c:v>1.86</c:v>
                </c:pt>
                <c:pt idx="14">
                  <c:v>1.85</c:v>
                </c:pt>
                <c:pt idx="15">
                  <c:v>1.89</c:v>
                </c:pt>
                <c:pt idx="16">
                  <c:v>1.87</c:v>
                </c:pt>
                <c:pt idx="17">
                  <c:v>1.8</c:v>
                </c:pt>
                <c:pt idx="18">
                  <c:v>1.83</c:v>
                </c:pt>
                <c:pt idx="19">
                  <c:v>1.85</c:v>
                </c:pt>
                <c:pt idx="20">
                  <c:v>1.85</c:v>
                </c:pt>
                <c:pt idx="21">
                  <c:v>1.85</c:v>
                </c:pt>
                <c:pt idx="22">
                  <c:v>1.87</c:v>
                </c:pt>
                <c:pt idx="23">
                  <c:v>1.88</c:v>
                </c:pt>
                <c:pt idx="24">
                  <c:v>1.86</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587,81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462,42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475,18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587816</c:v>
                </c:pt>
                <c:pt idx="1">
                  <c:v>474402</c:v>
                </c:pt>
                <c:pt idx="2">
                  <c:v>492448</c:v>
                </c:pt>
                <c:pt idx="3">
                  <c:v>495831</c:v>
                </c:pt>
                <c:pt idx="4">
                  <c:v>560295</c:v>
                </c:pt>
                <c:pt idx="5">
                  <c:v>414239</c:v>
                </c:pt>
                <c:pt idx="6">
                  <c:v>413113</c:v>
                </c:pt>
                <c:pt idx="7">
                  <c:v>492887</c:v>
                </c:pt>
                <c:pt idx="8">
                  <c:v>537501</c:v>
                </c:pt>
                <c:pt idx="9">
                  <c:v>573241</c:v>
                </c:pt>
                <c:pt idx="10">
                  <c:v>586804</c:v>
                </c:pt>
                <c:pt idx="11">
                  <c:v>602475</c:v>
                </c:pt>
                <c:pt idx="12">
                  <c:v>585713</c:v>
                </c:pt>
                <c:pt idx="13">
                  <c:v>462420</c:v>
                </c:pt>
                <c:pt idx="14">
                  <c:v>463050</c:v>
                </c:pt>
                <c:pt idx="15">
                  <c:v>447707</c:v>
                </c:pt>
                <c:pt idx="16">
                  <c:v>566201</c:v>
                </c:pt>
                <c:pt idx="17">
                  <c:v>375281</c:v>
                </c:pt>
                <c:pt idx="18">
                  <c:v>384379</c:v>
                </c:pt>
                <c:pt idx="19">
                  <c:v>433657</c:v>
                </c:pt>
                <c:pt idx="20">
                  <c:v>449667</c:v>
                </c:pt>
                <c:pt idx="21">
                  <c:v>477847</c:v>
                </c:pt>
                <c:pt idx="22">
                  <c:v>514559</c:v>
                </c:pt>
                <c:pt idx="23">
                  <c:v>522619</c:v>
                </c:pt>
                <c:pt idx="24">
                  <c:v>475181</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2.3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5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2.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2.31</c:v>
                </c:pt>
                <c:pt idx="1">
                  <c:v>2.32</c:v>
                </c:pt>
                <c:pt idx="2">
                  <c:v>2.37</c:v>
                </c:pt>
                <c:pt idx="3">
                  <c:v>2.46</c:v>
                </c:pt>
                <c:pt idx="4">
                  <c:v>2.42</c:v>
                </c:pt>
                <c:pt idx="5">
                  <c:v>2.26</c:v>
                </c:pt>
                <c:pt idx="6">
                  <c:v>2.44</c:v>
                </c:pt>
                <c:pt idx="7">
                  <c:v>2.51</c:v>
                </c:pt>
                <c:pt idx="8">
                  <c:v>2.52</c:v>
                </c:pt>
                <c:pt idx="9">
                  <c:v>2.57</c:v>
                </c:pt>
                <c:pt idx="10">
                  <c:v>2.53</c:v>
                </c:pt>
                <c:pt idx="11">
                  <c:v>2.6</c:v>
                </c:pt>
                <c:pt idx="12">
                  <c:v>2.56</c:v>
                </c:pt>
                <c:pt idx="13">
                  <c:v>2.57</c:v>
                </c:pt>
                <c:pt idx="14">
                  <c:v>2.42</c:v>
                </c:pt>
                <c:pt idx="15">
                  <c:v>2.29</c:v>
                </c:pt>
                <c:pt idx="16">
                  <c:v>2.11</c:v>
                </c:pt>
                <c:pt idx="17">
                  <c:v>2.44</c:v>
                </c:pt>
                <c:pt idx="18">
                  <c:v>2.62</c:v>
                </c:pt>
                <c:pt idx="19">
                  <c:v>2.64</c:v>
                </c:pt>
                <c:pt idx="20">
                  <c:v>2.56</c:v>
                </c:pt>
                <c:pt idx="21">
                  <c:v>2.58</c:v>
                </c:pt>
                <c:pt idx="22">
                  <c:v>2.49</c:v>
                </c:pt>
                <c:pt idx="23">
                  <c:v>2.53</c:v>
                </c:pt>
                <c:pt idx="24">
                  <c:v>2.5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020,3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461,85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790,36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2020379</c:v>
                </c:pt>
                <c:pt idx="1">
                  <c:v>1562285</c:v>
                </c:pt>
                <c:pt idx="2">
                  <c:v>1553940</c:v>
                </c:pt>
                <c:pt idx="3">
                  <c:v>1448097</c:v>
                </c:pt>
                <c:pt idx="4">
                  <c:v>1803695</c:v>
                </c:pt>
                <c:pt idx="5">
                  <c:v>1331834</c:v>
                </c:pt>
                <c:pt idx="6">
                  <c:v>1235929</c:v>
                </c:pt>
                <c:pt idx="7">
                  <c:v>1429800</c:v>
                </c:pt>
                <c:pt idx="8">
                  <c:v>1461414</c:v>
                </c:pt>
                <c:pt idx="9">
                  <c:v>1628120</c:v>
                </c:pt>
                <c:pt idx="10">
                  <c:v>1761092</c:v>
                </c:pt>
                <c:pt idx="11">
                  <c:v>1922431</c:v>
                </c:pt>
                <c:pt idx="12">
                  <c:v>1799598</c:v>
                </c:pt>
                <c:pt idx="13">
                  <c:v>1461851</c:v>
                </c:pt>
                <c:pt idx="14">
                  <c:v>1464327</c:v>
                </c:pt>
                <c:pt idx="15">
                  <c:v>1340304</c:v>
                </c:pt>
                <c:pt idx="16">
                  <c:v>1767130</c:v>
                </c:pt>
                <c:pt idx="17">
                  <c:v>1250817</c:v>
                </c:pt>
                <c:pt idx="18">
                  <c:v>1305837</c:v>
                </c:pt>
                <c:pt idx="19">
                  <c:v>1498326</c:v>
                </c:pt>
                <c:pt idx="20">
                  <c:v>1425353</c:v>
                </c:pt>
                <c:pt idx="21">
                  <c:v>1583270</c:v>
                </c:pt>
                <c:pt idx="22">
                  <c:v>1849210</c:v>
                </c:pt>
                <c:pt idx="23">
                  <c:v>1854171</c:v>
                </c:pt>
                <c:pt idx="24">
                  <c:v>1790368</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2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3.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3.0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27</c:v>
                </c:pt>
                <c:pt idx="1">
                  <c:v>3.21</c:v>
                </c:pt>
                <c:pt idx="2">
                  <c:v>2.92</c:v>
                </c:pt>
                <c:pt idx="3">
                  <c:v>2.86</c:v>
                </c:pt>
                <c:pt idx="4">
                  <c:v>2.71</c:v>
                </c:pt>
                <c:pt idx="5">
                  <c:v>3.02</c:v>
                </c:pt>
                <c:pt idx="6">
                  <c:v>3.12</c:v>
                </c:pt>
                <c:pt idx="7">
                  <c:v>3.13</c:v>
                </c:pt>
                <c:pt idx="8">
                  <c:v>3.17</c:v>
                </c:pt>
                <c:pt idx="9">
                  <c:v>3.17</c:v>
                </c:pt>
                <c:pt idx="10">
                  <c:v>3.12</c:v>
                </c:pt>
                <c:pt idx="11">
                  <c:v>3.16</c:v>
                </c:pt>
                <c:pt idx="12">
                  <c:v>3.15</c:v>
                </c:pt>
                <c:pt idx="13">
                  <c:v>3.12</c:v>
                </c:pt>
                <c:pt idx="14">
                  <c:v>2.94</c:v>
                </c:pt>
                <c:pt idx="15">
                  <c:v>2.85</c:v>
                </c:pt>
                <c:pt idx="16">
                  <c:v>2.7</c:v>
                </c:pt>
                <c:pt idx="17">
                  <c:v>2.99</c:v>
                </c:pt>
                <c:pt idx="18">
                  <c:v>3.14</c:v>
                </c:pt>
                <c:pt idx="19">
                  <c:v>3.13</c:v>
                </c:pt>
                <c:pt idx="20">
                  <c:v>3.06</c:v>
                </c:pt>
                <c:pt idx="21">
                  <c:v>3.07</c:v>
                </c:pt>
                <c:pt idx="22">
                  <c:v>3.1</c:v>
                </c:pt>
                <c:pt idx="23">
                  <c:v>3.19</c:v>
                </c:pt>
                <c:pt idx="24">
                  <c:v>3.08</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2"/>
              <c:tx>
                <c:rich>
                  <a:bodyPr/>
                  <a:lstStyle/>
                  <a:p>
                    <a:r>
                      <a:t>Value Sales </a:t>
                    </a:r>
                  </a:p>
                  <a:p>
                    <a:r>
                      <a:t> 4</a:t>
                    </a:r>
                  </a:p>
                </c:rich>
              </c:tx>
              <c:dLblPos val="b"/>
              <c:showLegendKey val="0"/>
              <c:showVal val="1"/>
              <c:showCatName val="0"/>
              <c:showSerName val="0"/>
              <c:showPercent val="0"/>
              <c:showBubbleSize val="0"/>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4</c:f>
              <c:strCache>
                <c:ptCount val="3"/>
                <c:pt idx="0">
                  <c:v>Jul-22</c:v>
                </c:pt>
                <c:pt idx="1">
                  <c:v>Feb-24</c:v>
                </c:pt>
                <c:pt idx="2">
                  <c:v>Mar-24</c:v>
                </c:pt>
              </c:strCache>
            </c:strRef>
          </c:cat>
          <c:val>
            <c:numRef>
              <c:f>Sheet1!$B$2:$B$4</c:f>
              <c:numCache>
                <c:formatCode>General</c:formatCode>
                <c:ptCount val="3"/>
                <c:pt idx="0">
                  <c:v>10</c:v>
                </c:pt>
                <c:pt idx="1">
                  <c:v>6</c:v>
                </c:pt>
                <c:pt idx="2">
                  <c:v>4</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1.6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2"/>
              <c:tx>
                <c:rich>
                  <a:bodyPr/>
                  <a:lstStyle/>
                  <a:p>
                    <a:r>
                      <a:t>Av Price/KG </a:t>
                    </a:r>
                  </a:p>
                  <a:p>
                    <a:r>
                      <a:t> $ 2.00</a:t>
                    </a:r>
                  </a:p>
                </c:rich>
              </c:tx>
              <c:dLblPos val="t"/>
              <c:showLegendKey val="0"/>
              <c:showVal val="1"/>
              <c:showCatName val="0"/>
              <c:showSerName val="0"/>
              <c:showPercent val="0"/>
              <c:showBubbleSize val="0"/>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4</c:f>
              <c:strCache>
                <c:ptCount val="3"/>
                <c:pt idx="0">
                  <c:v>Jul-22</c:v>
                </c:pt>
                <c:pt idx="1">
                  <c:v>Feb-24</c:v>
                </c:pt>
                <c:pt idx="2">
                  <c:v>Mar-24</c:v>
                </c:pt>
              </c:strCache>
            </c:strRef>
          </c:cat>
          <c:val>
            <c:numRef>
              <c:f>Sheet1!$C$2:$C$4</c:f>
              <c:numCache>
                <c:formatCode>General</c:formatCode>
                <c:ptCount val="3"/>
                <c:pt idx="0">
                  <c:v>1.67</c:v>
                </c:pt>
                <c:pt idx="1">
                  <c:v>3.0</c:v>
                </c:pt>
                <c:pt idx="2">
                  <c:v>2.0</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6,44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38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60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6442</c:v>
                </c:pt>
                <c:pt idx="1">
                  <c:v>4580</c:v>
                </c:pt>
                <c:pt idx="2">
                  <c:v>50057</c:v>
                </c:pt>
                <c:pt idx="3">
                  <c:v>80249</c:v>
                </c:pt>
                <c:pt idx="4">
                  <c:v>72762</c:v>
                </c:pt>
                <c:pt idx="5">
                  <c:v>6303</c:v>
                </c:pt>
                <c:pt idx="6">
                  <c:v>3700</c:v>
                </c:pt>
                <c:pt idx="7">
                  <c:v>1796</c:v>
                </c:pt>
                <c:pt idx="8">
                  <c:v>1596</c:v>
                </c:pt>
                <c:pt idx="9">
                  <c:v>1136</c:v>
                </c:pt>
                <c:pt idx="10">
                  <c:v>1506</c:v>
                </c:pt>
                <c:pt idx="11">
                  <c:v>1588</c:v>
                </c:pt>
                <c:pt idx="12">
                  <c:v>1430</c:v>
                </c:pt>
                <c:pt idx="13">
                  <c:v>1388</c:v>
                </c:pt>
                <c:pt idx="14">
                  <c:v>30000</c:v>
                </c:pt>
                <c:pt idx="15">
                  <c:v>79276</c:v>
                </c:pt>
                <c:pt idx="16">
                  <c:v>149826</c:v>
                </c:pt>
                <c:pt idx="17">
                  <c:v>4630</c:v>
                </c:pt>
                <c:pt idx="18">
                  <c:v>1602</c:v>
                </c:pt>
                <c:pt idx="19">
                  <c:v>1322</c:v>
                </c:pt>
                <c:pt idx="20">
                  <c:v>1294</c:v>
                </c:pt>
                <c:pt idx="21">
                  <c:v>1366</c:v>
                </c:pt>
                <c:pt idx="22">
                  <c:v>1360</c:v>
                </c:pt>
                <c:pt idx="23">
                  <c:v>1068</c:v>
                </c:pt>
                <c:pt idx="24">
                  <c:v>1604</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29.8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3.3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3.7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29.82</c:v>
                </c:pt>
                <c:pt idx="1">
                  <c:v>29.74</c:v>
                </c:pt>
                <c:pt idx="2">
                  <c:v>1.1</c:v>
                </c:pt>
                <c:pt idx="3">
                  <c:v>1.05</c:v>
                </c:pt>
                <c:pt idx="4">
                  <c:v>1.01</c:v>
                </c:pt>
                <c:pt idx="5">
                  <c:v>2.35</c:v>
                </c:pt>
                <c:pt idx="6">
                  <c:v>4.93</c:v>
                </c:pt>
                <c:pt idx="7">
                  <c:v>3.65</c:v>
                </c:pt>
                <c:pt idx="8">
                  <c:v>3.91</c:v>
                </c:pt>
                <c:pt idx="9">
                  <c:v>3.25</c:v>
                </c:pt>
                <c:pt idx="10">
                  <c:v>3.39</c:v>
                </c:pt>
                <c:pt idx="11">
                  <c:v>3.63</c:v>
                </c:pt>
                <c:pt idx="12">
                  <c:v>3.5</c:v>
                </c:pt>
                <c:pt idx="13">
                  <c:v>3.3</c:v>
                </c:pt>
                <c:pt idx="14">
                  <c:v>3.35</c:v>
                </c:pt>
                <c:pt idx="15">
                  <c:v>3.41</c:v>
                </c:pt>
                <c:pt idx="16">
                  <c:v>2.99</c:v>
                </c:pt>
                <c:pt idx="17">
                  <c:v>1.71</c:v>
                </c:pt>
                <c:pt idx="18">
                  <c:v>3.23</c:v>
                </c:pt>
                <c:pt idx="19">
                  <c:v>3.71</c:v>
                </c:pt>
                <c:pt idx="20">
                  <c:v>3.54</c:v>
                </c:pt>
                <c:pt idx="21">
                  <c:v>3.61</c:v>
                </c:pt>
                <c:pt idx="22">
                  <c:v>3.66</c:v>
                </c:pt>
                <c:pt idx="23">
                  <c:v>3.68</c:v>
                </c:pt>
                <c:pt idx="24">
                  <c:v>3.7</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92,42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07,43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09,09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92423</c:v>
                </c:pt>
                <c:pt idx="1">
                  <c:v>88835</c:v>
                </c:pt>
                <c:pt idx="2">
                  <c:v>90431</c:v>
                </c:pt>
                <c:pt idx="3">
                  <c:v>87494</c:v>
                </c:pt>
                <c:pt idx="4">
                  <c:v>97151</c:v>
                </c:pt>
                <c:pt idx="5">
                  <c:v>99666</c:v>
                </c:pt>
                <c:pt idx="6">
                  <c:v>94479</c:v>
                </c:pt>
                <c:pt idx="7">
                  <c:v>113285</c:v>
                </c:pt>
                <c:pt idx="8">
                  <c:v>106434</c:v>
                </c:pt>
                <c:pt idx="9">
                  <c:v>107760</c:v>
                </c:pt>
                <c:pt idx="10">
                  <c:v>102820</c:v>
                </c:pt>
                <c:pt idx="11">
                  <c:v>109052</c:v>
                </c:pt>
                <c:pt idx="12">
                  <c:v>113510</c:v>
                </c:pt>
                <c:pt idx="13">
                  <c:v>107433</c:v>
                </c:pt>
                <c:pt idx="14">
                  <c:v>110893</c:v>
                </c:pt>
                <c:pt idx="15">
                  <c:v>103604</c:v>
                </c:pt>
                <c:pt idx="16">
                  <c:v>106751</c:v>
                </c:pt>
                <c:pt idx="17">
                  <c:v>109417</c:v>
                </c:pt>
                <c:pt idx="18">
                  <c:v>108437</c:v>
                </c:pt>
                <c:pt idx="19">
                  <c:v>122280</c:v>
                </c:pt>
                <c:pt idx="20">
                  <c:v>114972</c:v>
                </c:pt>
                <c:pt idx="21">
                  <c:v>117992</c:v>
                </c:pt>
                <c:pt idx="22">
                  <c:v>116259</c:v>
                </c:pt>
                <c:pt idx="23">
                  <c:v>115742</c:v>
                </c:pt>
                <c:pt idx="24">
                  <c:v>109092</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1.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4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2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1.38</c:v>
                </c:pt>
                <c:pt idx="1">
                  <c:v>1.4</c:v>
                </c:pt>
                <c:pt idx="2">
                  <c:v>1.39</c:v>
                </c:pt>
                <c:pt idx="3">
                  <c:v>1.39</c:v>
                </c:pt>
                <c:pt idx="4">
                  <c:v>1.38</c:v>
                </c:pt>
                <c:pt idx="5">
                  <c:v>1.39</c:v>
                </c:pt>
                <c:pt idx="6">
                  <c:v>1.4</c:v>
                </c:pt>
                <c:pt idx="7">
                  <c:v>1.46</c:v>
                </c:pt>
                <c:pt idx="8">
                  <c:v>1.45</c:v>
                </c:pt>
                <c:pt idx="9">
                  <c:v>1.42</c:v>
                </c:pt>
                <c:pt idx="10">
                  <c:v>1.43</c:v>
                </c:pt>
                <c:pt idx="11">
                  <c:v>1.44</c:v>
                </c:pt>
                <c:pt idx="12">
                  <c:v>1.44</c:v>
                </c:pt>
                <c:pt idx="13">
                  <c:v>1.45</c:v>
                </c:pt>
                <c:pt idx="14">
                  <c:v>1.45</c:v>
                </c:pt>
                <c:pt idx="15">
                  <c:v>1.45</c:v>
                </c:pt>
                <c:pt idx="16">
                  <c:v>1.45</c:v>
                </c:pt>
                <c:pt idx="17">
                  <c:v>1.47</c:v>
                </c:pt>
                <c:pt idx="18">
                  <c:v>1.47</c:v>
                </c:pt>
                <c:pt idx="19">
                  <c:v>1.48</c:v>
                </c:pt>
                <c:pt idx="20">
                  <c:v>1.49</c:v>
                </c:pt>
                <c:pt idx="21">
                  <c:v>1.5</c:v>
                </c:pt>
                <c:pt idx="22">
                  <c:v>1.49</c:v>
                </c:pt>
                <c:pt idx="23">
                  <c:v>1.42</c:v>
                </c:pt>
                <c:pt idx="24">
                  <c:v>1.22</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53,41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74,79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91,69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153416</c:v>
                </c:pt>
                <c:pt idx="1">
                  <c:v>140968</c:v>
                </c:pt>
                <c:pt idx="2">
                  <c:v>138900</c:v>
                </c:pt>
                <c:pt idx="3">
                  <c:v>129806</c:v>
                </c:pt>
                <c:pt idx="4">
                  <c:v>131098</c:v>
                </c:pt>
                <c:pt idx="5">
                  <c:v>144953</c:v>
                </c:pt>
                <c:pt idx="6">
                  <c:v>157006</c:v>
                </c:pt>
                <c:pt idx="7">
                  <c:v>180816</c:v>
                </c:pt>
                <c:pt idx="8">
                  <c:v>171279</c:v>
                </c:pt>
                <c:pt idx="9">
                  <c:v>181528</c:v>
                </c:pt>
                <c:pt idx="10">
                  <c:v>179657</c:v>
                </c:pt>
                <c:pt idx="11">
                  <c:v>190051</c:v>
                </c:pt>
                <c:pt idx="12">
                  <c:v>187318</c:v>
                </c:pt>
                <c:pt idx="13">
                  <c:v>174790</c:v>
                </c:pt>
                <c:pt idx="14">
                  <c:v>169650</c:v>
                </c:pt>
                <c:pt idx="15">
                  <c:v>157323</c:v>
                </c:pt>
                <c:pt idx="16">
                  <c:v>157850</c:v>
                </c:pt>
                <c:pt idx="17">
                  <c:v>169607</c:v>
                </c:pt>
                <c:pt idx="18">
                  <c:v>172242</c:v>
                </c:pt>
                <c:pt idx="19">
                  <c:v>192414</c:v>
                </c:pt>
                <c:pt idx="20">
                  <c:v>186772</c:v>
                </c:pt>
                <c:pt idx="21">
                  <c:v>196243</c:v>
                </c:pt>
                <c:pt idx="22">
                  <c:v>197772</c:v>
                </c:pt>
                <c:pt idx="23">
                  <c:v>200893</c:v>
                </c:pt>
                <c:pt idx="24">
                  <c:v>191698</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0.3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0.4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0.4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0.32</c:v>
                </c:pt>
                <c:pt idx="1">
                  <c:v>0.32</c:v>
                </c:pt>
                <c:pt idx="2">
                  <c:v>0.32</c:v>
                </c:pt>
                <c:pt idx="3">
                  <c:v>0.32</c:v>
                </c:pt>
                <c:pt idx="4">
                  <c:v>0.32</c:v>
                </c:pt>
                <c:pt idx="5">
                  <c:v>0.34</c:v>
                </c:pt>
                <c:pt idx="6">
                  <c:v>0.38</c:v>
                </c:pt>
                <c:pt idx="7">
                  <c:v>0.39</c:v>
                </c:pt>
                <c:pt idx="8">
                  <c:v>0.38</c:v>
                </c:pt>
                <c:pt idx="9">
                  <c:v>0.38</c:v>
                </c:pt>
                <c:pt idx="10">
                  <c:v>0.39</c:v>
                </c:pt>
                <c:pt idx="11">
                  <c:v>0.39</c:v>
                </c:pt>
                <c:pt idx="12">
                  <c:v>0.4</c:v>
                </c:pt>
                <c:pt idx="13">
                  <c:v>0.4</c:v>
                </c:pt>
                <c:pt idx="14">
                  <c:v>0.39</c:v>
                </c:pt>
                <c:pt idx="15">
                  <c:v>0.4</c:v>
                </c:pt>
                <c:pt idx="16">
                  <c:v>0.4</c:v>
                </c:pt>
                <c:pt idx="17">
                  <c:v>0.4</c:v>
                </c:pt>
                <c:pt idx="18">
                  <c:v>0.4</c:v>
                </c:pt>
                <c:pt idx="19">
                  <c:v>0.41</c:v>
                </c:pt>
                <c:pt idx="20">
                  <c:v>0.4</c:v>
                </c:pt>
                <c:pt idx="21">
                  <c:v>0.41</c:v>
                </c:pt>
                <c:pt idx="22">
                  <c:v>0.4</c:v>
                </c:pt>
                <c:pt idx="23">
                  <c:v>0.4</c:v>
                </c:pt>
                <c:pt idx="24">
                  <c:v>0.4</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476,25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424,14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457,30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476250</c:v>
                </c:pt>
                <c:pt idx="1">
                  <c:v>435424</c:v>
                </c:pt>
                <c:pt idx="2">
                  <c:v>422030</c:v>
                </c:pt>
                <c:pt idx="3">
                  <c:v>388574</c:v>
                </c:pt>
                <c:pt idx="4">
                  <c:v>411135</c:v>
                </c:pt>
                <c:pt idx="5">
                  <c:v>418191</c:v>
                </c:pt>
                <c:pt idx="6">
                  <c:v>384116</c:v>
                </c:pt>
                <c:pt idx="7">
                  <c:v>450933</c:v>
                </c:pt>
                <c:pt idx="8">
                  <c:v>454577</c:v>
                </c:pt>
                <c:pt idx="9">
                  <c:v>477858</c:v>
                </c:pt>
                <c:pt idx="10">
                  <c:v>489202</c:v>
                </c:pt>
                <c:pt idx="11">
                  <c:v>495539</c:v>
                </c:pt>
                <c:pt idx="12">
                  <c:v>468834</c:v>
                </c:pt>
                <c:pt idx="13">
                  <c:v>424143</c:v>
                </c:pt>
                <c:pt idx="14">
                  <c:v>407266</c:v>
                </c:pt>
                <c:pt idx="15">
                  <c:v>392443</c:v>
                </c:pt>
                <c:pt idx="16">
                  <c:v>479866</c:v>
                </c:pt>
                <c:pt idx="17">
                  <c:v>397059</c:v>
                </c:pt>
                <c:pt idx="18">
                  <c:v>389089</c:v>
                </c:pt>
                <c:pt idx="19">
                  <c:v>442218</c:v>
                </c:pt>
                <c:pt idx="20">
                  <c:v>438640</c:v>
                </c:pt>
                <c:pt idx="21">
                  <c:v>462701</c:v>
                </c:pt>
                <c:pt idx="22">
                  <c:v>485153</c:v>
                </c:pt>
                <c:pt idx="23">
                  <c:v>481851</c:v>
                </c:pt>
                <c:pt idx="24">
                  <c:v>457308</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1.7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8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8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1.71</c:v>
                </c:pt>
                <c:pt idx="1">
                  <c:v>1.71</c:v>
                </c:pt>
                <c:pt idx="2">
                  <c:v>1.72</c:v>
                </c:pt>
                <c:pt idx="3">
                  <c:v>1.7</c:v>
                </c:pt>
                <c:pt idx="4">
                  <c:v>1.64</c:v>
                </c:pt>
                <c:pt idx="5">
                  <c:v>1.63</c:v>
                </c:pt>
                <c:pt idx="6">
                  <c:v>1.75</c:v>
                </c:pt>
                <c:pt idx="7">
                  <c:v>1.81</c:v>
                </c:pt>
                <c:pt idx="8">
                  <c:v>1.85</c:v>
                </c:pt>
                <c:pt idx="9">
                  <c:v>1.85</c:v>
                </c:pt>
                <c:pt idx="10">
                  <c:v>1.85</c:v>
                </c:pt>
                <c:pt idx="11">
                  <c:v>1.87</c:v>
                </c:pt>
                <c:pt idx="12">
                  <c:v>1.89</c:v>
                </c:pt>
                <c:pt idx="13">
                  <c:v>1.89</c:v>
                </c:pt>
                <c:pt idx="14">
                  <c:v>1.88</c:v>
                </c:pt>
                <c:pt idx="15">
                  <c:v>1.9</c:v>
                </c:pt>
                <c:pt idx="16">
                  <c:v>1.83</c:v>
                </c:pt>
                <c:pt idx="17">
                  <c:v>1.84</c:v>
                </c:pt>
                <c:pt idx="18">
                  <c:v>1.87</c:v>
                </c:pt>
                <c:pt idx="19">
                  <c:v>1.9</c:v>
                </c:pt>
                <c:pt idx="20">
                  <c:v>1.89</c:v>
                </c:pt>
                <c:pt idx="21">
                  <c:v>1.89</c:v>
                </c:pt>
                <c:pt idx="22">
                  <c:v>1.91</c:v>
                </c:pt>
                <c:pt idx="23">
                  <c:v>1.88</c:v>
                </c:pt>
                <c:pt idx="24">
                  <c:v>1.87</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85,17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69,05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62,76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185172</c:v>
                </c:pt>
                <c:pt idx="1">
                  <c:v>173786</c:v>
                </c:pt>
                <c:pt idx="2">
                  <c:v>179244</c:v>
                </c:pt>
                <c:pt idx="3">
                  <c:v>173994</c:v>
                </c:pt>
                <c:pt idx="4">
                  <c:v>187076</c:v>
                </c:pt>
                <c:pt idx="5">
                  <c:v>170166</c:v>
                </c:pt>
                <c:pt idx="6">
                  <c:v>152223</c:v>
                </c:pt>
                <c:pt idx="7">
                  <c:v>180645</c:v>
                </c:pt>
                <c:pt idx="8">
                  <c:v>193858</c:v>
                </c:pt>
                <c:pt idx="9">
                  <c:v>212801</c:v>
                </c:pt>
                <c:pt idx="10">
                  <c:v>205115</c:v>
                </c:pt>
                <c:pt idx="11">
                  <c:v>196814</c:v>
                </c:pt>
                <c:pt idx="12">
                  <c:v>188595</c:v>
                </c:pt>
                <c:pt idx="13">
                  <c:v>169056</c:v>
                </c:pt>
                <c:pt idx="14">
                  <c:v>165933</c:v>
                </c:pt>
                <c:pt idx="15">
                  <c:v>145377</c:v>
                </c:pt>
                <c:pt idx="16">
                  <c:v>174517</c:v>
                </c:pt>
                <c:pt idx="17">
                  <c:v>141638</c:v>
                </c:pt>
                <c:pt idx="18">
                  <c:v>144947</c:v>
                </c:pt>
                <c:pt idx="19">
                  <c:v>164702</c:v>
                </c:pt>
                <c:pt idx="20">
                  <c:v>168766</c:v>
                </c:pt>
                <c:pt idx="21">
                  <c:v>177732</c:v>
                </c:pt>
                <c:pt idx="22">
                  <c:v>182717</c:v>
                </c:pt>
                <c:pt idx="23">
                  <c:v>171346</c:v>
                </c:pt>
                <c:pt idx="24">
                  <c:v>162762</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2.2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3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2.2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2.27</c:v>
                </c:pt>
                <c:pt idx="1">
                  <c:v>2.28</c:v>
                </c:pt>
                <c:pt idx="2">
                  <c:v>2.35</c:v>
                </c:pt>
                <c:pt idx="3">
                  <c:v>2.4</c:v>
                </c:pt>
                <c:pt idx="4">
                  <c:v>2.37</c:v>
                </c:pt>
                <c:pt idx="5">
                  <c:v>1.94</c:v>
                </c:pt>
                <c:pt idx="6">
                  <c:v>2.27</c:v>
                </c:pt>
                <c:pt idx="7">
                  <c:v>2.43</c:v>
                </c:pt>
                <c:pt idx="8">
                  <c:v>2.37</c:v>
                </c:pt>
                <c:pt idx="9">
                  <c:v>2.41</c:v>
                </c:pt>
                <c:pt idx="10">
                  <c:v>2.34</c:v>
                </c:pt>
                <c:pt idx="11">
                  <c:v>2.44</c:v>
                </c:pt>
                <c:pt idx="12">
                  <c:v>2.35</c:v>
                </c:pt>
                <c:pt idx="13">
                  <c:v>2.31</c:v>
                </c:pt>
                <c:pt idx="14">
                  <c:v>2.27</c:v>
                </c:pt>
                <c:pt idx="15">
                  <c:v>2.27</c:v>
                </c:pt>
                <c:pt idx="16">
                  <c:v>1.87</c:v>
                </c:pt>
                <c:pt idx="17">
                  <c:v>2.16</c:v>
                </c:pt>
                <c:pt idx="18">
                  <c:v>2.39</c:v>
                </c:pt>
                <c:pt idx="19">
                  <c:v>2.4</c:v>
                </c:pt>
                <c:pt idx="20">
                  <c:v>2.35</c:v>
                </c:pt>
                <c:pt idx="21">
                  <c:v>2.35</c:v>
                </c:pt>
                <c:pt idx="22">
                  <c:v>2.22</c:v>
                </c:pt>
                <c:pt idx="23">
                  <c:v>2.31</c:v>
                </c:pt>
                <c:pt idx="24">
                  <c:v>2.28</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43,789,14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35,604,20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43,039,01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43789148</c:v>
                </c:pt>
                <c:pt idx="1">
                  <c:v>37094816</c:v>
                </c:pt>
                <c:pt idx="2">
                  <c:v>35947915</c:v>
                </c:pt>
                <c:pt idx="3">
                  <c:v>33522611</c:v>
                </c:pt>
                <c:pt idx="4">
                  <c:v>37624830</c:v>
                </c:pt>
                <c:pt idx="5">
                  <c:v>32952541</c:v>
                </c:pt>
                <c:pt idx="6">
                  <c:v>32389148</c:v>
                </c:pt>
                <c:pt idx="7">
                  <c:v>37795088</c:v>
                </c:pt>
                <c:pt idx="8">
                  <c:v>36461059</c:v>
                </c:pt>
                <c:pt idx="9">
                  <c:v>41109277</c:v>
                </c:pt>
                <c:pt idx="10">
                  <c:v>44699539</c:v>
                </c:pt>
                <c:pt idx="11">
                  <c:v>45713127</c:v>
                </c:pt>
                <c:pt idx="12">
                  <c:v>42083309</c:v>
                </c:pt>
                <c:pt idx="13">
                  <c:v>35604208</c:v>
                </c:pt>
                <c:pt idx="14">
                  <c:v>35059471</c:v>
                </c:pt>
                <c:pt idx="15">
                  <c:v>32274751</c:v>
                </c:pt>
                <c:pt idx="16">
                  <c:v>38180317</c:v>
                </c:pt>
                <c:pt idx="17">
                  <c:v>31684129</c:v>
                </c:pt>
                <c:pt idx="18">
                  <c:v>31841427</c:v>
                </c:pt>
                <c:pt idx="19">
                  <c:v>37262662</c:v>
                </c:pt>
                <c:pt idx="20">
                  <c:v>37215612</c:v>
                </c:pt>
                <c:pt idx="21">
                  <c:v>40540355</c:v>
                </c:pt>
                <c:pt idx="22">
                  <c:v>43292941</c:v>
                </c:pt>
                <c:pt idx="23">
                  <c:v>45495587</c:v>
                </c:pt>
                <c:pt idx="24">
                  <c:v>4303901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1.1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2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2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1.18</c:v>
                </c:pt>
                <c:pt idx="1">
                  <c:v>1.15</c:v>
                </c:pt>
                <c:pt idx="2">
                  <c:v>1.14</c:v>
                </c:pt>
                <c:pt idx="3">
                  <c:v>1.11</c:v>
                </c:pt>
                <c:pt idx="4">
                  <c:v>1.14</c:v>
                </c:pt>
                <c:pt idx="5">
                  <c:v>1.14</c:v>
                </c:pt>
                <c:pt idx="6">
                  <c:v>1.15</c:v>
                </c:pt>
                <c:pt idx="7">
                  <c:v>1.2</c:v>
                </c:pt>
                <c:pt idx="8">
                  <c:v>1.22</c:v>
                </c:pt>
                <c:pt idx="9">
                  <c:v>1.22</c:v>
                </c:pt>
                <c:pt idx="10">
                  <c:v>1.26</c:v>
                </c:pt>
                <c:pt idx="11">
                  <c:v>1.24</c:v>
                </c:pt>
                <c:pt idx="12">
                  <c:v>1.24</c:v>
                </c:pt>
                <c:pt idx="13">
                  <c:v>1.21</c:v>
                </c:pt>
                <c:pt idx="14">
                  <c:v>1.19</c:v>
                </c:pt>
                <c:pt idx="15">
                  <c:v>1.17</c:v>
                </c:pt>
                <c:pt idx="16">
                  <c:v>1.21</c:v>
                </c:pt>
                <c:pt idx="17">
                  <c:v>1.15</c:v>
                </c:pt>
                <c:pt idx="18">
                  <c:v>1.17</c:v>
                </c:pt>
                <c:pt idx="19">
                  <c:v>1.18</c:v>
                </c:pt>
                <c:pt idx="20">
                  <c:v>1.21</c:v>
                </c:pt>
                <c:pt idx="21">
                  <c:v>1.21</c:v>
                </c:pt>
                <c:pt idx="22">
                  <c:v>1.23</c:v>
                </c:pt>
                <c:pt idx="23">
                  <c:v>1.22</c:v>
                </c:pt>
                <c:pt idx="24">
                  <c:v>1.21</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612,41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511,33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589,03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612416</c:v>
                </c:pt>
                <c:pt idx="1">
                  <c:v>556346</c:v>
                </c:pt>
                <c:pt idx="2">
                  <c:v>536777</c:v>
                </c:pt>
                <c:pt idx="3">
                  <c:v>496357</c:v>
                </c:pt>
                <c:pt idx="4">
                  <c:v>539406</c:v>
                </c:pt>
                <c:pt idx="5">
                  <c:v>532153</c:v>
                </c:pt>
                <c:pt idx="6">
                  <c:v>473494</c:v>
                </c:pt>
                <c:pt idx="7">
                  <c:v>554327</c:v>
                </c:pt>
                <c:pt idx="8">
                  <c:v>538476</c:v>
                </c:pt>
                <c:pt idx="9">
                  <c:v>569608</c:v>
                </c:pt>
                <c:pt idx="10">
                  <c:v>580918</c:v>
                </c:pt>
                <c:pt idx="11">
                  <c:v>604700</c:v>
                </c:pt>
                <c:pt idx="12">
                  <c:v>565953</c:v>
                </c:pt>
                <c:pt idx="13">
                  <c:v>511336</c:v>
                </c:pt>
                <c:pt idx="14">
                  <c:v>491398</c:v>
                </c:pt>
                <c:pt idx="15">
                  <c:v>458067</c:v>
                </c:pt>
                <c:pt idx="16">
                  <c:v>505496</c:v>
                </c:pt>
                <c:pt idx="17">
                  <c:v>480196</c:v>
                </c:pt>
                <c:pt idx="18">
                  <c:v>478831</c:v>
                </c:pt>
                <c:pt idx="19">
                  <c:v>552818</c:v>
                </c:pt>
                <c:pt idx="20">
                  <c:v>540503</c:v>
                </c:pt>
                <c:pt idx="21">
                  <c:v>585612</c:v>
                </c:pt>
                <c:pt idx="22">
                  <c:v>617846</c:v>
                </c:pt>
                <c:pt idx="23">
                  <c:v>628818</c:v>
                </c:pt>
                <c:pt idx="24">
                  <c:v>589034</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3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3.0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3.0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39</c:v>
                </c:pt>
                <c:pt idx="1">
                  <c:v>3.28</c:v>
                </c:pt>
                <c:pt idx="2">
                  <c:v>3.27</c:v>
                </c:pt>
                <c:pt idx="3">
                  <c:v>3.2</c:v>
                </c:pt>
                <c:pt idx="4">
                  <c:v>2.85</c:v>
                </c:pt>
                <c:pt idx="5">
                  <c:v>3.03</c:v>
                </c:pt>
                <c:pt idx="6">
                  <c:v>3.05</c:v>
                </c:pt>
                <c:pt idx="7">
                  <c:v>3.11</c:v>
                </c:pt>
                <c:pt idx="8">
                  <c:v>3.13</c:v>
                </c:pt>
                <c:pt idx="9">
                  <c:v>3.14</c:v>
                </c:pt>
                <c:pt idx="10">
                  <c:v>3.16</c:v>
                </c:pt>
                <c:pt idx="11">
                  <c:v>3.11</c:v>
                </c:pt>
                <c:pt idx="12">
                  <c:v>3.07</c:v>
                </c:pt>
                <c:pt idx="13">
                  <c:v>3.05</c:v>
                </c:pt>
                <c:pt idx="14">
                  <c:v>3.03</c:v>
                </c:pt>
                <c:pt idx="15">
                  <c:v>3.01</c:v>
                </c:pt>
                <c:pt idx="16">
                  <c:v>2.84</c:v>
                </c:pt>
                <c:pt idx="17">
                  <c:v>3.02</c:v>
                </c:pt>
                <c:pt idx="18">
                  <c:v>3.08</c:v>
                </c:pt>
                <c:pt idx="19">
                  <c:v>3.1</c:v>
                </c:pt>
                <c:pt idx="20">
                  <c:v>3.08</c:v>
                </c:pt>
                <c:pt idx="21">
                  <c:v>3.08</c:v>
                </c:pt>
                <c:pt idx="22">
                  <c:v>3.16</c:v>
                </c:pt>
                <c:pt idx="23">
                  <c:v>3.12</c:v>
                </c:pt>
                <c:pt idx="24">
                  <c:v>3.09</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Value Sales </a:t>
                    </a:r>
                  </a:p>
                  <a:p>
                    <a:r>
                      <a:t> 1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15</c:f>
              <c:strCache>
                <c:ptCount val="14"/>
                <c:pt idx="0">
                  <c:v>Mar-22</c:v>
                </c:pt>
                <c:pt idx="1">
                  <c:v>Oct-22</c:v>
                </c:pt>
                <c:pt idx="2">
                  <c:v>Nov-22</c:v>
                </c:pt>
                <c:pt idx="3">
                  <c:v>Dec-22</c:v>
                </c:pt>
                <c:pt idx="4">
                  <c:v>Jan-23</c:v>
                </c:pt>
                <c:pt idx="5">
                  <c:v>Feb-23</c:v>
                </c:pt>
                <c:pt idx="6">
                  <c:v>Mar-23</c:v>
                </c:pt>
                <c:pt idx="7">
                  <c:v>Oct-23</c:v>
                </c:pt>
                <c:pt idx="8">
                  <c:v>Nov-23</c:v>
                </c:pt>
                <c:pt idx="9">
                  <c:v>Dec-23</c:v>
                </c:pt>
                <c:pt idx="10">
                  <c:v>Jan-24</c:v>
                </c:pt>
                <c:pt idx="11">
                  <c:v>Feb-24</c:v>
                </c:pt>
                <c:pt idx="12">
                  <c:v>Mar-24</c:v>
                </c:pt>
                <c:pt idx="13">
                  <c:v>Apr-24</c:v>
                </c:pt>
              </c:strCache>
            </c:strRef>
          </c:cat>
          <c:val>
            <c:numRef>
              <c:f>Sheet1!$B$2:$B$15</c:f>
              <c:numCache>
                <c:formatCode>General</c:formatCode>
                <c:ptCount val="14"/>
                <c:pt idx="0">
                  <c:v>3</c:v>
                </c:pt>
                <c:pt idx="1">
                  <c:v>6953</c:v>
                </c:pt>
                <c:pt idx="2">
                  <c:v>16944</c:v>
                </c:pt>
                <c:pt idx="3">
                  <c:v>15877</c:v>
                </c:pt>
                <c:pt idx="4">
                  <c:v>365</c:v>
                </c:pt>
                <c:pt idx="5">
                  <c:v>2</c:v>
                </c:pt>
                <c:pt idx="6">
                  <c:v>50</c:v>
                </c:pt>
                <c:pt idx="7">
                  <c:v>2727</c:v>
                </c:pt>
                <c:pt idx="8">
                  <c:v>10037</c:v>
                </c:pt>
                <c:pt idx="9">
                  <c:v>36651</c:v>
                </c:pt>
                <c:pt idx="10">
                  <c:v>354</c:v>
                </c:pt>
                <c:pt idx="11">
                  <c:v>19</c:v>
                </c:pt>
                <c:pt idx="12">
                  <c:v>16</c:v>
                </c:pt>
                <c:pt idx="13">
                  <c:v>1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Av Price/KG </a:t>
                    </a:r>
                  </a:p>
                  <a:p>
                    <a:r>
                      <a:t> $ 4.7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15</c:f>
              <c:strCache>
                <c:ptCount val="14"/>
                <c:pt idx="0">
                  <c:v>Mar-22</c:v>
                </c:pt>
                <c:pt idx="1">
                  <c:v>Oct-22</c:v>
                </c:pt>
                <c:pt idx="2">
                  <c:v>Nov-22</c:v>
                </c:pt>
                <c:pt idx="3">
                  <c:v>Dec-22</c:v>
                </c:pt>
                <c:pt idx="4">
                  <c:v>Jan-23</c:v>
                </c:pt>
                <c:pt idx="5">
                  <c:v>Feb-23</c:v>
                </c:pt>
                <c:pt idx="6">
                  <c:v>Mar-23</c:v>
                </c:pt>
                <c:pt idx="7">
                  <c:v>Oct-23</c:v>
                </c:pt>
                <c:pt idx="8">
                  <c:v>Nov-23</c:v>
                </c:pt>
                <c:pt idx="9">
                  <c:v>Dec-23</c:v>
                </c:pt>
                <c:pt idx="10">
                  <c:v>Jan-24</c:v>
                </c:pt>
                <c:pt idx="11">
                  <c:v>Feb-24</c:v>
                </c:pt>
                <c:pt idx="12">
                  <c:v>Mar-24</c:v>
                </c:pt>
                <c:pt idx="13">
                  <c:v>Apr-24</c:v>
                </c:pt>
              </c:strCache>
            </c:strRef>
          </c:cat>
          <c:val>
            <c:numRef>
              <c:f>Sheet1!$C$2:$C$15</c:f>
              <c:numCache>
                <c:formatCode>General</c:formatCode>
                <c:ptCount val="14"/>
                <c:pt idx="0">
                  <c:v>3.0</c:v>
                </c:pt>
                <c:pt idx="1">
                  <c:v>1.0</c:v>
                </c:pt>
                <c:pt idx="2">
                  <c:v>1.0</c:v>
                </c:pt>
                <c:pt idx="3">
                  <c:v>0.92</c:v>
                </c:pt>
                <c:pt idx="4">
                  <c:v>0.51</c:v>
                </c:pt>
                <c:pt idx="5">
                  <c:v>0.2</c:v>
                </c:pt>
                <c:pt idx="6">
                  <c:v>1.67</c:v>
                </c:pt>
                <c:pt idx="7">
                  <c:v>3.3</c:v>
                </c:pt>
                <c:pt idx="8">
                  <c:v>3.37</c:v>
                </c:pt>
                <c:pt idx="9">
                  <c:v>2.48</c:v>
                </c:pt>
                <c:pt idx="10">
                  <c:v>1.13</c:v>
                </c:pt>
                <c:pt idx="11">
                  <c:v>1.19</c:v>
                </c:pt>
                <c:pt idx="12">
                  <c:v>1.33</c:v>
                </c:pt>
                <c:pt idx="13">
                  <c:v>4.75</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916,00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893,54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2,056,06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1916007</c:v>
                </c:pt>
                <c:pt idx="1">
                  <c:v>1722783</c:v>
                </c:pt>
                <c:pt idx="2">
                  <c:v>1682700</c:v>
                </c:pt>
                <c:pt idx="3">
                  <c:v>1658235</c:v>
                </c:pt>
                <c:pt idx="4">
                  <c:v>2110229</c:v>
                </c:pt>
                <c:pt idx="5">
                  <c:v>1685748</c:v>
                </c:pt>
                <c:pt idx="6">
                  <c:v>1622264</c:v>
                </c:pt>
                <c:pt idx="7">
                  <c:v>2021305</c:v>
                </c:pt>
                <c:pt idx="8">
                  <c:v>1871627</c:v>
                </c:pt>
                <c:pt idx="9">
                  <c:v>1844400</c:v>
                </c:pt>
                <c:pt idx="10">
                  <c:v>1816065</c:v>
                </c:pt>
                <c:pt idx="11">
                  <c:v>1952265</c:v>
                </c:pt>
                <c:pt idx="12">
                  <c:v>2082807</c:v>
                </c:pt>
                <c:pt idx="13">
                  <c:v>1893546</c:v>
                </c:pt>
                <c:pt idx="14">
                  <c:v>1968080</c:v>
                </c:pt>
                <c:pt idx="15">
                  <c:v>1835425</c:v>
                </c:pt>
                <c:pt idx="16">
                  <c:v>2097139</c:v>
                </c:pt>
                <c:pt idx="17">
                  <c:v>1851496</c:v>
                </c:pt>
                <c:pt idx="18">
                  <c:v>1837201</c:v>
                </c:pt>
                <c:pt idx="19">
                  <c:v>1959208</c:v>
                </c:pt>
                <c:pt idx="20">
                  <c:v>1874155</c:v>
                </c:pt>
                <c:pt idx="21">
                  <c:v>1999993</c:v>
                </c:pt>
                <c:pt idx="22">
                  <c:v>2013170</c:v>
                </c:pt>
                <c:pt idx="23">
                  <c:v>2091396</c:v>
                </c:pt>
                <c:pt idx="24">
                  <c:v>2056066</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1.5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6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6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1.57</c:v>
                </c:pt>
                <c:pt idx="1">
                  <c:v>1.58</c:v>
                </c:pt>
                <c:pt idx="2">
                  <c:v>1.58</c:v>
                </c:pt>
                <c:pt idx="3">
                  <c:v>1.58</c:v>
                </c:pt>
                <c:pt idx="4">
                  <c:v>1.6</c:v>
                </c:pt>
                <c:pt idx="5">
                  <c:v>1.58</c:v>
                </c:pt>
                <c:pt idx="6">
                  <c:v>1.64</c:v>
                </c:pt>
                <c:pt idx="7">
                  <c:v>1.69</c:v>
                </c:pt>
                <c:pt idx="8">
                  <c:v>1.69</c:v>
                </c:pt>
                <c:pt idx="9">
                  <c:v>1.67</c:v>
                </c:pt>
                <c:pt idx="10">
                  <c:v>1.67</c:v>
                </c:pt>
                <c:pt idx="11">
                  <c:v>1.67</c:v>
                </c:pt>
                <c:pt idx="12">
                  <c:v>1.69</c:v>
                </c:pt>
                <c:pt idx="13">
                  <c:v>1.69</c:v>
                </c:pt>
                <c:pt idx="14">
                  <c:v>1.68</c:v>
                </c:pt>
                <c:pt idx="15">
                  <c:v>1.69</c:v>
                </c:pt>
                <c:pt idx="16">
                  <c:v>1.67</c:v>
                </c:pt>
                <c:pt idx="17">
                  <c:v>1.65</c:v>
                </c:pt>
                <c:pt idx="18">
                  <c:v>1.67</c:v>
                </c:pt>
                <c:pt idx="19">
                  <c:v>1.69</c:v>
                </c:pt>
                <c:pt idx="20">
                  <c:v>1.7</c:v>
                </c:pt>
                <c:pt idx="21">
                  <c:v>1.7</c:v>
                </c:pt>
                <c:pt idx="22">
                  <c:v>1.72</c:v>
                </c:pt>
                <c:pt idx="23">
                  <c:v>1.7</c:v>
                </c:pt>
                <c:pt idx="24">
                  <c:v>1.69</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619,03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239,14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2,808,32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2619031</c:v>
                </c:pt>
                <c:pt idx="1">
                  <c:v>2312988</c:v>
                </c:pt>
                <c:pt idx="2">
                  <c:v>2169326</c:v>
                </c:pt>
                <c:pt idx="3">
                  <c:v>2004604</c:v>
                </c:pt>
                <c:pt idx="4">
                  <c:v>2193376</c:v>
                </c:pt>
                <c:pt idx="5">
                  <c:v>2053438</c:v>
                </c:pt>
                <c:pt idx="6">
                  <c:v>2024296</c:v>
                </c:pt>
                <c:pt idx="7">
                  <c:v>2320715</c:v>
                </c:pt>
                <c:pt idx="8">
                  <c:v>2205483</c:v>
                </c:pt>
                <c:pt idx="9">
                  <c:v>2410852</c:v>
                </c:pt>
                <c:pt idx="10">
                  <c:v>2505632</c:v>
                </c:pt>
                <c:pt idx="11">
                  <c:v>2648915</c:v>
                </c:pt>
                <c:pt idx="12">
                  <c:v>2669282</c:v>
                </c:pt>
                <c:pt idx="13">
                  <c:v>2239141</c:v>
                </c:pt>
                <c:pt idx="14">
                  <c:v>2170159</c:v>
                </c:pt>
                <c:pt idx="15">
                  <c:v>2043230</c:v>
                </c:pt>
                <c:pt idx="16">
                  <c:v>2242242</c:v>
                </c:pt>
                <c:pt idx="17">
                  <c:v>2125803</c:v>
                </c:pt>
                <c:pt idx="18">
                  <c:v>2322504</c:v>
                </c:pt>
                <c:pt idx="19">
                  <c:v>2630497</c:v>
                </c:pt>
                <c:pt idx="20">
                  <c:v>2499496</c:v>
                </c:pt>
                <c:pt idx="21">
                  <c:v>2731284</c:v>
                </c:pt>
                <c:pt idx="22">
                  <c:v>2838663</c:v>
                </c:pt>
                <c:pt idx="23">
                  <c:v>3049834</c:v>
                </c:pt>
                <c:pt idx="24">
                  <c:v>2808327</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0.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0.4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0.4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0.42</c:v>
                </c:pt>
                <c:pt idx="1">
                  <c:v>0.43</c:v>
                </c:pt>
                <c:pt idx="2">
                  <c:v>0.42</c:v>
                </c:pt>
                <c:pt idx="3">
                  <c:v>0.41</c:v>
                </c:pt>
                <c:pt idx="4">
                  <c:v>0.41</c:v>
                </c:pt>
                <c:pt idx="5">
                  <c:v>0.41</c:v>
                </c:pt>
                <c:pt idx="6">
                  <c:v>0.43</c:v>
                </c:pt>
                <c:pt idx="7">
                  <c:v>0.43</c:v>
                </c:pt>
                <c:pt idx="8">
                  <c:v>0.43</c:v>
                </c:pt>
                <c:pt idx="9">
                  <c:v>0.43</c:v>
                </c:pt>
                <c:pt idx="10">
                  <c:v>0.43</c:v>
                </c:pt>
                <c:pt idx="11">
                  <c:v>0.43</c:v>
                </c:pt>
                <c:pt idx="12">
                  <c:v>0.45</c:v>
                </c:pt>
                <c:pt idx="13">
                  <c:v>0.44</c:v>
                </c:pt>
                <c:pt idx="14">
                  <c:v>0.42</c:v>
                </c:pt>
                <c:pt idx="15">
                  <c:v>0.42</c:v>
                </c:pt>
                <c:pt idx="16">
                  <c:v>0.43</c:v>
                </c:pt>
                <c:pt idx="17">
                  <c:v>0.43</c:v>
                </c:pt>
                <c:pt idx="18">
                  <c:v>0.44</c:v>
                </c:pt>
                <c:pt idx="19">
                  <c:v>0.45</c:v>
                </c:pt>
                <c:pt idx="20">
                  <c:v>0.45</c:v>
                </c:pt>
                <c:pt idx="21">
                  <c:v>0.45</c:v>
                </c:pt>
                <c:pt idx="22">
                  <c:v>0.45</c:v>
                </c:pt>
                <c:pt idx="23">
                  <c:v>0.46</c:v>
                </c:pt>
                <c:pt idx="24">
                  <c:v>0.44</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7,834,96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6,339,60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7,356,93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7834966</c:v>
                </c:pt>
                <c:pt idx="1">
                  <c:v>6660536</c:v>
                </c:pt>
                <c:pt idx="2">
                  <c:v>6598860</c:v>
                </c:pt>
                <c:pt idx="3">
                  <c:v>6224632</c:v>
                </c:pt>
                <c:pt idx="4">
                  <c:v>7416629</c:v>
                </c:pt>
                <c:pt idx="5">
                  <c:v>5857030</c:v>
                </c:pt>
                <c:pt idx="6">
                  <c:v>5690061</c:v>
                </c:pt>
                <c:pt idx="7">
                  <c:v>6564743</c:v>
                </c:pt>
                <c:pt idx="8">
                  <c:v>6620995</c:v>
                </c:pt>
                <c:pt idx="9">
                  <c:v>7362397</c:v>
                </c:pt>
                <c:pt idx="10">
                  <c:v>7835160</c:v>
                </c:pt>
                <c:pt idx="11">
                  <c:v>8103884</c:v>
                </c:pt>
                <c:pt idx="12">
                  <c:v>7744953</c:v>
                </c:pt>
                <c:pt idx="13">
                  <c:v>6339604</c:v>
                </c:pt>
                <c:pt idx="14">
                  <c:v>6057962</c:v>
                </c:pt>
                <c:pt idx="15">
                  <c:v>6019438</c:v>
                </c:pt>
                <c:pt idx="16">
                  <c:v>7546082</c:v>
                </c:pt>
                <c:pt idx="17">
                  <c:v>5725626</c:v>
                </c:pt>
                <c:pt idx="18">
                  <c:v>5674604</c:v>
                </c:pt>
                <c:pt idx="19">
                  <c:v>6478275</c:v>
                </c:pt>
                <c:pt idx="20">
                  <c:v>6278980</c:v>
                </c:pt>
                <c:pt idx="21">
                  <c:v>6965095</c:v>
                </c:pt>
                <c:pt idx="22">
                  <c:v>7499249</c:v>
                </c:pt>
                <c:pt idx="23">
                  <c:v>7674469</c:v>
                </c:pt>
                <c:pt idx="24">
                  <c:v>7356931</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1.7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8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8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1.7</c:v>
                </c:pt>
                <c:pt idx="1">
                  <c:v>1.69</c:v>
                </c:pt>
                <c:pt idx="2">
                  <c:v>1.67</c:v>
                </c:pt>
                <c:pt idx="3">
                  <c:v>1.63</c:v>
                </c:pt>
                <c:pt idx="4">
                  <c:v>1.57</c:v>
                </c:pt>
                <c:pt idx="5">
                  <c:v>1.71</c:v>
                </c:pt>
                <c:pt idx="6">
                  <c:v>1.78</c:v>
                </c:pt>
                <c:pt idx="7">
                  <c:v>1.82</c:v>
                </c:pt>
                <c:pt idx="8">
                  <c:v>1.85</c:v>
                </c:pt>
                <c:pt idx="9">
                  <c:v>1.85</c:v>
                </c:pt>
                <c:pt idx="10">
                  <c:v>1.85</c:v>
                </c:pt>
                <c:pt idx="11">
                  <c:v>1.87</c:v>
                </c:pt>
                <c:pt idx="12">
                  <c:v>1.88</c:v>
                </c:pt>
                <c:pt idx="13">
                  <c:v>1.88</c:v>
                </c:pt>
                <c:pt idx="14">
                  <c:v>1.86</c:v>
                </c:pt>
                <c:pt idx="15">
                  <c:v>1.9</c:v>
                </c:pt>
                <c:pt idx="16">
                  <c:v>1.88</c:v>
                </c:pt>
                <c:pt idx="17">
                  <c:v>1.81</c:v>
                </c:pt>
                <c:pt idx="18">
                  <c:v>1.84</c:v>
                </c:pt>
                <c:pt idx="19">
                  <c:v>1.87</c:v>
                </c:pt>
                <c:pt idx="20">
                  <c:v>1.87</c:v>
                </c:pt>
                <c:pt idx="21">
                  <c:v>1.86</c:v>
                </c:pt>
                <c:pt idx="22">
                  <c:v>1.88</c:v>
                </c:pt>
                <c:pt idx="23">
                  <c:v>1.88</c:v>
                </c:pt>
                <c:pt idx="24">
                  <c:v>1.87</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3,605,96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3,121,67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3,242,57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3605960</c:v>
                </c:pt>
                <c:pt idx="1">
                  <c:v>3102739</c:v>
                </c:pt>
                <c:pt idx="2">
                  <c:v>3163047</c:v>
                </c:pt>
                <c:pt idx="3">
                  <c:v>3097982</c:v>
                </c:pt>
                <c:pt idx="4">
                  <c:v>3554169</c:v>
                </c:pt>
                <c:pt idx="5">
                  <c:v>2638294</c:v>
                </c:pt>
                <c:pt idx="6">
                  <c:v>2883955</c:v>
                </c:pt>
                <c:pt idx="7">
                  <c:v>3511075</c:v>
                </c:pt>
                <c:pt idx="8">
                  <c:v>3546448</c:v>
                </c:pt>
                <c:pt idx="9">
                  <c:v>3913545</c:v>
                </c:pt>
                <c:pt idx="10">
                  <c:v>3987618</c:v>
                </c:pt>
                <c:pt idx="11">
                  <c:v>3935639</c:v>
                </c:pt>
                <c:pt idx="12">
                  <c:v>3851662</c:v>
                </c:pt>
                <c:pt idx="13">
                  <c:v>3121676</c:v>
                </c:pt>
                <c:pt idx="14">
                  <c:v>3107054</c:v>
                </c:pt>
                <c:pt idx="15">
                  <c:v>2964230</c:v>
                </c:pt>
                <c:pt idx="16">
                  <c:v>3847523</c:v>
                </c:pt>
                <c:pt idx="17">
                  <c:v>2567212</c:v>
                </c:pt>
                <c:pt idx="18">
                  <c:v>2700827</c:v>
                </c:pt>
                <c:pt idx="19">
                  <c:v>3031538</c:v>
                </c:pt>
                <c:pt idx="20">
                  <c:v>3125223</c:v>
                </c:pt>
                <c:pt idx="21">
                  <c:v>3384497</c:v>
                </c:pt>
                <c:pt idx="22">
                  <c:v>3518303</c:v>
                </c:pt>
                <c:pt idx="23">
                  <c:v>3510870</c:v>
                </c:pt>
                <c:pt idx="24">
                  <c:v>3242578</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2.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6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2.5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2.38</c:v>
                </c:pt>
                <c:pt idx="1">
                  <c:v>2.39</c:v>
                </c:pt>
                <c:pt idx="2">
                  <c:v>2.46</c:v>
                </c:pt>
                <c:pt idx="3">
                  <c:v>2.52</c:v>
                </c:pt>
                <c:pt idx="4">
                  <c:v>2.49</c:v>
                </c:pt>
                <c:pt idx="5">
                  <c:v>2.35</c:v>
                </c:pt>
                <c:pt idx="6">
                  <c:v>2.54</c:v>
                </c:pt>
                <c:pt idx="7">
                  <c:v>2.62</c:v>
                </c:pt>
                <c:pt idx="8">
                  <c:v>2.61</c:v>
                </c:pt>
                <c:pt idx="9">
                  <c:v>2.65</c:v>
                </c:pt>
                <c:pt idx="10">
                  <c:v>2.62</c:v>
                </c:pt>
                <c:pt idx="11">
                  <c:v>2.68</c:v>
                </c:pt>
                <c:pt idx="12">
                  <c:v>2.62</c:v>
                </c:pt>
                <c:pt idx="13">
                  <c:v>2.62</c:v>
                </c:pt>
                <c:pt idx="14">
                  <c:v>2.5</c:v>
                </c:pt>
                <c:pt idx="15">
                  <c:v>2.35</c:v>
                </c:pt>
                <c:pt idx="16">
                  <c:v>2.14</c:v>
                </c:pt>
                <c:pt idx="17">
                  <c:v>2.47</c:v>
                </c:pt>
                <c:pt idx="18">
                  <c:v>2.69</c:v>
                </c:pt>
                <c:pt idx="19">
                  <c:v>2.72</c:v>
                </c:pt>
                <c:pt idx="20">
                  <c:v>2.64</c:v>
                </c:pt>
                <c:pt idx="21">
                  <c:v>2.63</c:v>
                </c:pt>
                <c:pt idx="22">
                  <c:v>2.57</c:v>
                </c:pt>
                <c:pt idx="23">
                  <c:v>2.59</c:v>
                </c:pt>
                <c:pt idx="24">
                  <c:v>2.59</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3,349,35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0,604,04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3,377,82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13349358</c:v>
                </c:pt>
                <c:pt idx="1">
                  <c:v>10917936</c:v>
                </c:pt>
                <c:pt idx="2">
                  <c:v>10864821</c:v>
                </c:pt>
                <c:pt idx="3">
                  <c:v>10080431</c:v>
                </c:pt>
                <c:pt idx="4">
                  <c:v>12331978</c:v>
                </c:pt>
                <c:pt idx="5">
                  <c:v>9540495</c:v>
                </c:pt>
                <c:pt idx="6">
                  <c:v>9307531</c:v>
                </c:pt>
                <c:pt idx="7">
                  <c:v>10848857</c:v>
                </c:pt>
                <c:pt idx="8">
                  <c:v>10563713</c:v>
                </c:pt>
                <c:pt idx="9">
                  <c:v>12101358</c:v>
                </c:pt>
                <c:pt idx="10">
                  <c:v>12868614</c:v>
                </c:pt>
                <c:pt idx="11">
                  <c:v>13436466</c:v>
                </c:pt>
                <c:pt idx="12">
                  <c:v>12680328</c:v>
                </c:pt>
                <c:pt idx="13">
                  <c:v>10604043</c:v>
                </c:pt>
                <c:pt idx="14">
                  <c:v>10738739</c:v>
                </c:pt>
                <c:pt idx="15">
                  <c:v>10128864</c:v>
                </c:pt>
                <c:pt idx="16">
                  <c:v>12838795</c:v>
                </c:pt>
                <c:pt idx="17">
                  <c:v>9421401</c:v>
                </c:pt>
                <c:pt idx="18">
                  <c:v>10212442</c:v>
                </c:pt>
                <c:pt idx="19">
                  <c:v>11734328</c:v>
                </c:pt>
                <c:pt idx="20">
                  <c:v>10969346</c:v>
                </c:pt>
                <c:pt idx="21">
                  <c:v>12303026</c:v>
                </c:pt>
                <c:pt idx="22">
                  <c:v>13619326</c:v>
                </c:pt>
                <c:pt idx="23">
                  <c:v>13579235</c:v>
                </c:pt>
                <c:pt idx="24">
                  <c:v>13377822</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2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3.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3.0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23</c:v>
                </c:pt>
                <c:pt idx="1">
                  <c:v>3.15</c:v>
                </c:pt>
                <c:pt idx="2">
                  <c:v>2.9</c:v>
                </c:pt>
                <c:pt idx="3">
                  <c:v>2.83</c:v>
                </c:pt>
                <c:pt idx="4">
                  <c:v>2.75</c:v>
                </c:pt>
                <c:pt idx="5">
                  <c:v>3.01</c:v>
                </c:pt>
                <c:pt idx="6">
                  <c:v>3.09</c:v>
                </c:pt>
                <c:pt idx="7">
                  <c:v>3.11</c:v>
                </c:pt>
                <c:pt idx="8">
                  <c:v>3.12</c:v>
                </c:pt>
                <c:pt idx="9">
                  <c:v>3.15</c:v>
                </c:pt>
                <c:pt idx="10">
                  <c:v>3.1</c:v>
                </c:pt>
                <c:pt idx="11">
                  <c:v>3.12</c:v>
                </c:pt>
                <c:pt idx="12">
                  <c:v>3.11</c:v>
                </c:pt>
                <c:pt idx="13">
                  <c:v>3.07</c:v>
                </c:pt>
                <c:pt idx="14">
                  <c:v>2.86</c:v>
                </c:pt>
                <c:pt idx="15">
                  <c:v>2.79</c:v>
                </c:pt>
                <c:pt idx="16">
                  <c:v>2.73</c:v>
                </c:pt>
                <c:pt idx="17">
                  <c:v>2.98</c:v>
                </c:pt>
                <c:pt idx="18">
                  <c:v>3.12</c:v>
                </c:pt>
                <c:pt idx="19">
                  <c:v>3.1</c:v>
                </c:pt>
                <c:pt idx="20">
                  <c:v>3.04</c:v>
                </c:pt>
                <c:pt idx="21">
                  <c:v>3.07</c:v>
                </c:pt>
                <c:pt idx="22">
                  <c:v>3.09</c:v>
                </c:pt>
                <c:pt idx="23">
                  <c:v>3.15</c:v>
                </c:pt>
                <c:pt idx="24">
                  <c:v>3.09</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4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2"/>
              <c:tx>
                <c:rich>
                  <a:bodyPr/>
                  <a:lstStyle/>
                  <a:p>
                    <a:r>
                      <a:t>Value Sales </a:t>
                    </a:r>
                  </a:p>
                  <a:p>
                    <a:r>
                      <a:t> 6</a:t>
                    </a:r>
                  </a:p>
                </c:rich>
              </c:tx>
              <c:dLblPos val="b"/>
              <c:showLegendKey val="0"/>
              <c:showVal val="1"/>
              <c:showCatName val="0"/>
              <c:showSerName val="0"/>
              <c:showPercent val="0"/>
              <c:showBubbleSize val="0"/>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14</c:f>
              <c:strCache>
                <c:ptCount val="13"/>
                <c:pt idx="0">
                  <c:v>Oct-21</c:v>
                </c:pt>
                <c:pt idx="1">
                  <c:v>Nov-21</c:v>
                </c:pt>
                <c:pt idx="2">
                  <c:v>Dec-21</c:v>
                </c:pt>
                <c:pt idx="3">
                  <c:v>Apr-22</c:v>
                </c:pt>
                <c:pt idx="4">
                  <c:v>May-22</c:v>
                </c:pt>
                <c:pt idx="5">
                  <c:v>Jun-22</c:v>
                </c:pt>
                <c:pt idx="6">
                  <c:v>Jan-23</c:v>
                </c:pt>
                <c:pt idx="7">
                  <c:v>May-23</c:v>
                </c:pt>
                <c:pt idx="8">
                  <c:v>Sep-23</c:v>
                </c:pt>
                <c:pt idx="9">
                  <c:v>Nov-23</c:v>
                </c:pt>
                <c:pt idx="10">
                  <c:v>Dec-23</c:v>
                </c:pt>
                <c:pt idx="11">
                  <c:v>Mar-24</c:v>
                </c:pt>
                <c:pt idx="12">
                  <c:v>Aug-24</c:v>
                </c:pt>
              </c:strCache>
            </c:strRef>
          </c:cat>
          <c:val>
            <c:numRef>
              <c:f>Sheet1!$B$2:$B$14</c:f>
              <c:numCache>
                <c:formatCode>General</c:formatCode>
                <c:ptCount val="13"/>
                <c:pt idx="0">
                  <c:v>146</c:v>
                </c:pt>
                <c:pt idx="1">
                  <c:v>2</c:v>
                </c:pt>
                <c:pt idx="2">
                  <c:v>6</c:v>
                </c:pt>
                <c:pt idx="3">
                  <c:v>12</c:v>
                </c:pt>
                <c:pt idx="4">
                  <c:v>1</c:v>
                </c:pt>
                <c:pt idx="5">
                  <c:v>3</c:v>
                </c:pt>
                <c:pt idx="6">
                  <c:v>10</c:v>
                </c:pt>
                <c:pt idx="7">
                  <c:v>2</c:v>
                </c:pt>
                <c:pt idx="8">
                  <c:v>6</c:v>
                </c:pt>
                <c:pt idx="9">
                  <c:v>2</c:v>
                </c:pt>
                <c:pt idx="10">
                  <c:v>2</c:v>
                </c:pt>
                <c:pt idx="11">
                  <c:v>4</c:v>
                </c:pt>
                <c:pt idx="12">
                  <c:v>6</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0.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2"/>
              <c:tx>
                <c:rich>
                  <a:bodyPr/>
                  <a:lstStyle/>
                  <a:p>
                    <a:r>
                      <a:t>Av Price/KG </a:t>
                    </a:r>
                  </a:p>
                  <a:p>
                    <a:r>
                      <a:t> $ 2.00</a:t>
                    </a:r>
                  </a:p>
                </c:rich>
              </c:tx>
              <c:dLblPos val="t"/>
              <c:showLegendKey val="0"/>
              <c:showVal val="1"/>
              <c:showCatName val="0"/>
              <c:showSerName val="0"/>
              <c:showPercent val="0"/>
              <c:showBubbleSize val="0"/>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14</c:f>
              <c:strCache>
                <c:ptCount val="13"/>
                <c:pt idx="0">
                  <c:v>Oct-21</c:v>
                </c:pt>
                <c:pt idx="1">
                  <c:v>Nov-21</c:v>
                </c:pt>
                <c:pt idx="2">
                  <c:v>Dec-21</c:v>
                </c:pt>
                <c:pt idx="3">
                  <c:v>Apr-22</c:v>
                </c:pt>
                <c:pt idx="4">
                  <c:v>May-22</c:v>
                </c:pt>
                <c:pt idx="5">
                  <c:v>Jun-22</c:v>
                </c:pt>
                <c:pt idx="6">
                  <c:v>Jan-23</c:v>
                </c:pt>
                <c:pt idx="7">
                  <c:v>May-23</c:v>
                </c:pt>
                <c:pt idx="8">
                  <c:v>Sep-23</c:v>
                </c:pt>
                <c:pt idx="9">
                  <c:v>Nov-23</c:v>
                </c:pt>
                <c:pt idx="10">
                  <c:v>Dec-23</c:v>
                </c:pt>
                <c:pt idx="11">
                  <c:v>Mar-24</c:v>
                </c:pt>
                <c:pt idx="12">
                  <c:v>Aug-24</c:v>
                </c:pt>
              </c:strCache>
            </c:strRef>
          </c:cat>
          <c:val>
            <c:numRef>
              <c:f>Sheet1!$C$2:$C$14</c:f>
              <c:numCache>
                <c:formatCode>General</c:formatCode>
                <c:ptCount val="13"/>
                <c:pt idx="0">
                  <c:v>0.42</c:v>
                </c:pt>
                <c:pt idx="1">
                  <c:v>0.33</c:v>
                </c:pt>
                <c:pt idx="2">
                  <c:v>2.0</c:v>
                </c:pt>
                <c:pt idx="3">
                  <c:v>2.0</c:v>
                </c:pt>
                <c:pt idx="4">
                  <c:v>0.0</c:v>
                </c:pt>
                <c:pt idx="5">
                  <c:v>1.5</c:v>
                </c:pt>
                <c:pt idx="6">
                  <c:v>3.33</c:v>
                </c:pt>
                <c:pt idx="7">
                  <c:v>0.67</c:v>
                </c:pt>
                <c:pt idx="8">
                  <c:v>2.0</c:v>
                </c:pt>
                <c:pt idx="9">
                  <c:v>2.0</c:v>
                </c:pt>
                <c:pt idx="10">
                  <c:v>2.0</c:v>
                </c:pt>
                <c:pt idx="11">
                  <c:v>1.33</c:v>
                </c:pt>
                <c:pt idx="12">
                  <c:v>2.0</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47,23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7,52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24,69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47237</c:v>
                </c:pt>
                <c:pt idx="1">
                  <c:v>46784</c:v>
                </c:pt>
                <c:pt idx="2">
                  <c:v>282066</c:v>
                </c:pt>
                <c:pt idx="3">
                  <c:v>509765</c:v>
                </c:pt>
                <c:pt idx="4">
                  <c:v>472989</c:v>
                </c:pt>
                <c:pt idx="5">
                  <c:v>49034</c:v>
                </c:pt>
                <c:pt idx="6">
                  <c:v>27632</c:v>
                </c:pt>
                <c:pt idx="7">
                  <c:v>21247</c:v>
                </c:pt>
                <c:pt idx="8">
                  <c:v>17761</c:v>
                </c:pt>
                <c:pt idx="9">
                  <c:v>19165</c:v>
                </c:pt>
                <c:pt idx="10">
                  <c:v>19392</c:v>
                </c:pt>
                <c:pt idx="11">
                  <c:v>18830</c:v>
                </c:pt>
                <c:pt idx="12">
                  <c:v>20245</c:v>
                </c:pt>
                <c:pt idx="13">
                  <c:v>17523</c:v>
                </c:pt>
                <c:pt idx="14">
                  <c:v>195253</c:v>
                </c:pt>
                <c:pt idx="15">
                  <c:v>787703</c:v>
                </c:pt>
                <c:pt idx="16">
                  <c:v>2904593</c:v>
                </c:pt>
                <c:pt idx="17">
                  <c:v>95070</c:v>
                </c:pt>
                <c:pt idx="18">
                  <c:v>21370</c:v>
                </c:pt>
                <c:pt idx="19">
                  <c:v>21140</c:v>
                </c:pt>
                <c:pt idx="20">
                  <c:v>20281</c:v>
                </c:pt>
                <c:pt idx="21">
                  <c:v>21272</c:v>
                </c:pt>
                <c:pt idx="22">
                  <c:v>25623</c:v>
                </c:pt>
                <c:pt idx="23">
                  <c:v>20284</c:v>
                </c:pt>
                <c:pt idx="24">
                  <c:v>24694</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29.8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3.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3.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29.82</c:v>
                </c:pt>
                <c:pt idx="1">
                  <c:v>29.63</c:v>
                </c:pt>
                <c:pt idx="2">
                  <c:v>1.18</c:v>
                </c:pt>
                <c:pt idx="3">
                  <c:v>1.08</c:v>
                </c:pt>
                <c:pt idx="4">
                  <c:v>1.06</c:v>
                </c:pt>
                <c:pt idx="5">
                  <c:v>3.08</c:v>
                </c:pt>
                <c:pt idx="6">
                  <c:v>3.92</c:v>
                </c:pt>
                <c:pt idx="7">
                  <c:v>3.46</c:v>
                </c:pt>
                <c:pt idx="8">
                  <c:v>3.24</c:v>
                </c:pt>
                <c:pt idx="9">
                  <c:v>3.62</c:v>
                </c:pt>
                <c:pt idx="10">
                  <c:v>3.53</c:v>
                </c:pt>
                <c:pt idx="11">
                  <c:v>3.62</c:v>
                </c:pt>
                <c:pt idx="12">
                  <c:v>3.59</c:v>
                </c:pt>
                <c:pt idx="13">
                  <c:v>3.64</c:v>
                </c:pt>
                <c:pt idx="14">
                  <c:v>3.36</c:v>
                </c:pt>
                <c:pt idx="15">
                  <c:v>3.82</c:v>
                </c:pt>
                <c:pt idx="16">
                  <c:v>3.41</c:v>
                </c:pt>
                <c:pt idx="17">
                  <c:v>2.05</c:v>
                </c:pt>
                <c:pt idx="18">
                  <c:v>2.7</c:v>
                </c:pt>
                <c:pt idx="19">
                  <c:v>3.22</c:v>
                </c:pt>
                <c:pt idx="20">
                  <c:v>3.53</c:v>
                </c:pt>
                <c:pt idx="21">
                  <c:v>3.54</c:v>
                </c:pt>
                <c:pt idx="22">
                  <c:v>3.62</c:v>
                </c:pt>
                <c:pt idx="23">
                  <c:v>3.62</c:v>
                </c:pt>
                <c:pt idx="24">
                  <c:v>3.64</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3,58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91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1,39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13580</c:v>
                </c:pt>
                <c:pt idx="1">
                  <c:v>7772</c:v>
                </c:pt>
                <c:pt idx="2">
                  <c:v>4256</c:v>
                </c:pt>
                <c:pt idx="3">
                  <c:v>3218</c:v>
                </c:pt>
                <c:pt idx="4">
                  <c:v>4913</c:v>
                </c:pt>
                <c:pt idx="5">
                  <c:v>4968</c:v>
                </c:pt>
                <c:pt idx="6">
                  <c:v>3845</c:v>
                </c:pt>
                <c:pt idx="7">
                  <c:v>2970</c:v>
                </c:pt>
                <c:pt idx="8">
                  <c:v>6551</c:v>
                </c:pt>
                <c:pt idx="9">
                  <c:v>5929</c:v>
                </c:pt>
                <c:pt idx="10">
                  <c:v>2148</c:v>
                </c:pt>
                <c:pt idx="11">
                  <c:v>3371</c:v>
                </c:pt>
                <c:pt idx="12">
                  <c:v>2750</c:v>
                </c:pt>
                <c:pt idx="13">
                  <c:v>1914</c:v>
                </c:pt>
                <c:pt idx="14">
                  <c:v>2784</c:v>
                </c:pt>
                <c:pt idx="15">
                  <c:v>5902</c:v>
                </c:pt>
                <c:pt idx="16">
                  <c:v>7679</c:v>
                </c:pt>
                <c:pt idx="17">
                  <c:v>6591</c:v>
                </c:pt>
                <c:pt idx="18">
                  <c:v>14963</c:v>
                </c:pt>
                <c:pt idx="19">
                  <c:v>10232</c:v>
                </c:pt>
                <c:pt idx="20">
                  <c:v>16422</c:v>
                </c:pt>
                <c:pt idx="21">
                  <c:v>13270</c:v>
                </c:pt>
                <c:pt idx="22">
                  <c:v>11304</c:v>
                </c:pt>
                <c:pt idx="23">
                  <c:v>17172</c:v>
                </c:pt>
                <c:pt idx="24">
                  <c:v>11392</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2.6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2.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2.61</c:v>
                </c:pt>
                <c:pt idx="1">
                  <c:v>2.4</c:v>
                </c:pt>
                <c:pt idx="2">
                  <c:v>2.36</c:v>
                </c:pt>
                <c:pt idx="3">
                  <c:v>3.06</c:v>
                </c:pt>
                <c:pt idx="4">
                  <c:v>3.49</c:v>
                </c:pt>
                <c:pt idx="5">
                  <c:v>4.09</c:v>
                </c:pt>
                <c:pt idx="6">
                  <c:v>2.94</c:v>
                </c:pt>
                <c:pt idx="7">
                  <c:v>3.84</c:v>
                </c:pt>
                <c:pt idx="8">
                  <c:v>3.46</c:v>
                </c:pt>
                <c:pt idx="9">
                  <c:v>3.53</c:v>
                </c:pt>
                <c:pt idx="10">
                  <c:v>3.2</c:v>
                </c:pt>
                <c:pt idx="11">
                  <c:v>2.8</c:v>
                </c:pt>
                <c:pt idx="12">
                  <c:v>2.15</c:v>
                </c:pt>
                <c:pt idx="13">
                  <c:v>2.51</c:v>
                </c:pt>
                <c:pt idx="14">
                  <c:v>2.18</c:v>
                </c:pt>
                <c:pt idx="15">
                  <c:v>3.46</c:v>
                </c:pt>
                <c:pt idx="16">
                  <c:v>4.36</c:v>
                </c:pt>
                <c:pt idx="17">
                  <c:v>2.45</c:v>
                </c:pt>
                <c:pt idx="18">
                  <c:v>2.65</c:v>
                </c:pt>
                <c:pt idx="19">
                  <c:v>2.31</c:v>
                </c:pt>
                <c:pt idx="20">
                  <c:v>2.64</c:v>
                </c:pt>
                <c:pt idx="21">
                  <c:v>2.26</c:v>
                </c:pt>
                <c:pt idx="22">
                  <c:v>2.41</c:v>
                </c:pt>
                <c:pt idx="23">
                  <c:v>2.22</c:v>
                </c:pt>
                <c:pt idx="24">
                  <c:v>2.52</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61,773,78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54,245,97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67,974,30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61773784</c:v>
                </c:pt>
                <c:pt idx="1">
                  <c:v>51896883</c:v>
                </c:pt>
                <c:pt idx="2">
                  <c:v>49612361</c:v>
                </c:pt>
                <c:pt idx="3">
                  <c:v>47042344</c:v>
                </c:pt>
                <c:pt idx="4">
                  <c:v>54572352</c:v>
                </c:pt>
                <c:pt idx="5">
                  <c:v>48430845</c:v>
                </c:pt>
                <c:pt idx="6">
                  <c:v>46526457</c:v>
                </c:pt>
                <c:pt idx="7">
                  <c:v>55047777</c:v>
                </c:pt>
                <c:pt idx="8">
                  <c:v>54964073</c:v>
                </c:pt>
                <c:pt idx="9">
                  <c:v>60847178</c:v>
                </c:pt>
                <c:pt idx="10">
                  <c:v>62750573</c:v>
                </c:pt>
                <c:pt idx="11">
                  <c:v>67398010</c:v>
                </c:pt>
                <c:pt idx="12">
                  <c:v>66421077</c:v>
                </c:pt>
                <c:pt idx="13">
                  <c:v>54245978</c:v>
                </c:pt>
                <c:pt idx="14">
                  <c:v>51295518</c:v>
                </c:pt>
                <c:pt idx="15">
                  <c:v>48721071</c:v>
                </c:pt>
                <c:pt idx="16">
                  <c:v>59037636</c:v>
                </c:pt>
                <c:pt idx="17">
                  <c:v>48499611</c:v>
                </c:pt>
                <c:pt idx="18">
                  <c:v>49214222</c:v>
                </c:pt>
                <c:pt idx="19">
                  <c:v>56776056</c:v>
                </c:pt>
                <c:pt idx="20">
                  <c:v>54660171</c:v>
                </c:pt>
                <c:pt idx="21">
                  <c:v>61733863</c:v>
                </c:pt>
                <c:pt idx="22">
                  <c:v>64659566</c:v>
                </c:pt>
                <c:pt idx="23">
                  <c:v>68754634</c:v>
                </c:pt>
                <c:pt idx="24">
                  <c:v>6797430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8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3.7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3.6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84</c:v>
                </c:pt>
                <c:pt idx="1">
                  <c:v>3.75</c:v>
                </c:pt>
                <c:pt idx="2">
                  <c:v>3.65</c:v>
                </c:pt>
                <c:pt idx="3">
                  <c:v>3.57</c:v>
                </c:pt>
                <c:pt idx="4">
                  <c:v>3.51</c:v>
                </c:pt>
                <c:pt idx="5">
                  <c:v>3.73</c:v>
                </c:pt>
                <c:pt idx="6">
                  <c:v>3.72</c:v>
                </c:pt>
                <c:pt idx="7">
                  <c:v>3.76</c:v>
                </c:pt>
                <c:pt idx="8">
                  <c:v>3.88</c:v>
                </c:pt>
                <c:pt idx="9">
                  <c:v>3.86</c:v>
                </c:pt>
                <c:pt idx="10">
                  <c:v>3.91</c:v>
                </c:pt>
                <c:pt idx="11">
                  <c:v>3.82</c:v>
                </c:pt>
                <c:pt idx="12">
                  <c:v>3.76</c:v>
                </c:pt>
                <c:pt idx="13">
                  <c:v>3.71</c:v>
                </c:pt>
                <c:pt idx="14">
                  <c:v>3.62</c:v>
                </c:pt>
                <c:pt idx="15">
                  <c:v>3.55</c:v>
                </c:pt>
                <c:pt idx="16">
                  <c:v>3.54</c:v>
                </c:pt>
                <c:pt idx="17">
                  <c:v>3.6</c:v>
                </c:pt>
                <c:pt idx="18">
                  <c:v>3.61</c:v>
                </c:pt>
                <c:pt idx="19">
                  <c:v>3.68</c:v>
                </c:pt>
                <c:pt idx="20">
                  <c:v>3.67</c:v>
                </c:pt>
                <c:pt idx="21">
                  <c:v>3.65</c:v>
                </c:pt>
                <c:pt idx="22">
                  <c:v>3.74</c:v>
                </c:pt>
                <c:pt idx="23">
                  <c:v>3.69</c:v>
                </c:pt>
                <c:pt idx="24">
                  <c:v>3.67</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97,34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87,26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46,10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297341</c:v>
                </c:pt>
                <c:pt idx="1">
                  <c:v>251892</c:v>
                </c:pt>
                <c:pt idx="2">
                  <c:v>155190</c:v>
                </c:pt>
                <c:pt idx="3">
                  <c:v>158794</c:v>
                </c:pt>
                <c:pt idx="4">
                  <c:v>185623</c:v>
                </c:pt>
                <c:pt idx="5">
                  <c:v>223084</c:v>
                </c:pt>
                <c:pt idx="6">
                  <c:v>245842</c:v>
                </c:pt>
                <c:pt idx="7">
                  <c:v>205911</c:v>
                </c:pt>
                <c:pt idx="8">
                  <c:v>188800</c:v>
                </c:pt>
                <c:pt idx="9">
                  <c:v>215829</c:v>
                </c:pt>
                <c:pt idx="10">
                  <c:v>222913</c:v>
                </c:pt>
                <c:pt idx="11">
                  <c:v>223446</c:v>
                </c:pt>
                <c:pt idx="12">
                  <c:v>220624</c:v>
                </c:pt>
                <c:pt idx="13">
                  <c:v>187263</c:v>
                </c:pt>
                <c:pt idx="14">
                  <c:v>135919</c:v>
                </c:pt>
                <c:pt idx="15">
                  <c:v>130047</c:v>
                </c:pt>
                <c:pt idx="16">
                  <c:v>123008</c:v>
                </c:pt>
                <c:pt idx="17">
                  <c:v>131007</c:v>
                </c:pt>
                <c:pt idx="18">
                  <c:v>166552</c:v>
                </c:pt>
                <c:pt idx="19">
                  <c:v>189810</c:v>
                </c:pt>
                <c:pt idx="20">
                  <c:v>169890</c:v>
                </c:pt>
                <c:pt idx="21">
                  <c:v>168981</c:v>
                </c:pt>
                <c:pt idx="22">
                  <c:v>166482</c:v>
                </c:pt>
                <c:pt idx="23">
                  <c:v>162096</c:v>
                </c:pt>
                <c:pt idx="24">
                  <c:v>146107</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9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3.4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2.6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94</c:v>
                </c:pt>
                <c:pt idx="1">
                  <c:v>4.0</c:v>
                </c:pt>
                <c:pt idx="2">
                  <c:v>2.9</c:v>
                </c:pt>
                <c:pt idx="3">
                  <c:v>2.89</c:v>
                </c:pt>
                <c:pt idx="4">
                  <c:v>3.49</c:v>
                </c:pt>
                <c:pt idx="5">
                  <c:v>3.58</c:v>
                </c:pt>
                <c:pt idx="6">
                  <c:v>4.3</c:v>
                </c:pt>
                <c:pt idx="7">
                  <c:v>3.01</c:v>
                </c:pt>
                <c:pt idx="8">
                  <c:v>3.52</c:v>
                </c:pt>
                <c:pt idx="9">
                  <c:v>3.61</c:v>
                </c:pt>
                <c:pt idx="10">
                  <c:v>3.49</c:v>
                </c:pt>
                <c:pt idx="11">
                  <c:v>3.42</c:v>
                </c:pt>
                <c:pt idx="12">
                  <c:v>3.79</c:v>
                </c:pt>
                <c:pt idx="13">
                  <c:v>3.43</c:v>
                </c:pt>
                <c:pt idx="14">
                  <c:v>3.02</c:v>
                </c:pt>
                <c:pt idx="15">
                  <c:v>2.46</c:v>
                </c:pt>
                <c:pt idx="16">
                  <c:v>2.17</c:v>
                </c:pt>
                <c:pt idx="17">
                  <c:v>2.3</c:v>
                </c:pt>
                <c:pt idx="18">
                  <c:v>2.91</c:v>
                </c:pt>
                <c:pt idx="19">
                  <c:v>3.26</c:v>
                </c:pt>
                <c:pt idx="20">
                  <c:v>2.86</c:v>
                </c:pt>
                <c:pt idx="21">
                  <c:v>2.7</c:v>
                </c:pt>
                <c:pt idx="22">
                  <c:v>2.7</c:v>
                </c:pt>
                <c:pt idx="23">
                  <c:v>2.53</c:v>
                </c:pt>
                <c:pt idx="24">
                  <c:v>2.6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62,47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27,60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97,16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162475</c:v>
                </c:pt>
                <c:pt idx="1">
                  <c:v>126861</c:v>
                </c:pt>
                <c:pt idx="2">
                  <c:v>138009</c:v>
                </c:pt>
                <c:pt idx="3">
                  <c:v>130672</c:v>
                </c:pt>
                <c:pt idx="4">
                  <c:v>153691</c:v>
                </c:pt>
                <c:pt idx="5">
                  <c:v>209173</c:v>
                </c:pt>
                <c:pt idx="6">
                  <c:v>159883</c:v>
                </c:pt>
                <c:pt idx="7">
                  <c:v>193488</c:v>
                </c:pt>
                <c:pt idx="8">
                  <c:v>198488</c:v>
                </c:pt>
                <c:pt idx="9">
                  <c:v>221672</c:v>
                </c:pt>
                <c:pt idx="10">
                  <c:v>282210</c:v>
                </c:pt>
                <c:pt idx="11">
                  <c:v>239176</c:v>
                </c:pt>
                <c:pt idx="12">
                  <c:v>240954</c:v>
                </c:pt>
                <c:pt idx="13">
                  <c:v>227601</c:v>
                </c:pt>
                <c:pt idx="14">
                  <c:v>246668</c:v>
                </c:pt>
                <c:pt idx="15">
                  <c:v>227310</c:v>
                </c:pt>
                <c:pt idx="16">
                  <c:v>204632</c:v>
                </c:pt>
                <c:pt idx="17">
                  <c:v>209722</c:v>
                </c:pt>
                <c:pt idx="18">
                  <c:v>188387</c:v>
                </c:pt>
                <c:pt idx="19">
                  <c:v>235625</c:v>
                </c:pt>
                <c:pt idx="20">
                  <c:v>241760</c:v>
                </c:pt>
                <c:pt idx="21">
                  <c:v>215018</c:v>
                </c:pt>
                <c:pt idx="22">
                  <c:v>221399</c:v>
                </c:pt>
                <c:pt idx="23">
                  <c:v>209485</c:v>
                </c:pt>
                <c:pt idx="24">
                  <c:v>19716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1.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9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1.77</c:v>
                </c:pt>
                <c:pt idx="1">
                  <c:v>1.58</c:v>
                </c:pt>
                <c:pt idx="2">
                  <c:v>1.56</c:v>
                </c:pt>
                <c:pt idx="3">
                  <c:v>1.39</c:v>
                </c:pt>
                <c:pt idx="4">
                  <c:v>1.59</c:v>
                </c:pt>
                <c:pt idx="5">
                  <c:v>1.63</c:v>
                </c:pt>
                <c:pt idx="6">
                  <c:v>1.87</c:v>
                </c:pt>
                <c:pt idx="7">
                  <c:v>2.03</c:v>
                </c:pt>
                <c:pt idx="8">
                  <c:v>2.09</c:v>
                </c:pt>
                <c:pt idx="9">
                  <c:v>1.98</c:v>
                </c:pt>
                <c:pt idx="10">
                  <c:v>1.72</c:v>
                </c:pt>
                <c:pt idx="11">
                  <c:v>1.97</c:v>
                </c:pt>
                <c:pt idx="12">
                  <c:v>2.15</c:v>
                </c:pt>
                <c:pt idx="13">
                  <c:v>1.96</c:v>
                </c:pt>
                <c:pt idx="14">
                  <c:v>1.83</c:v>
                </c:pt>
                <c:pt idx="15">
                  <c:v>1.56</c:v>
                </c:pt>
                <c:pt idx="16">
                  <c:v>1.8</c:v>
                </c:pt>
                <c:pt idx="17">
                  <c:v>1.85</c:v>
                </c:pt>
                <c:pt idx="18">
                  <c:v>1.83</c:v>
                </c:pt>
                <c:pt idx="19">
                  <c:v>1.65</c:v>
                </c:pt>
                <c:pt idx="20">
                  <c:v>1.69</c:v>
                </c:pt>
                <c:pt idx="21">
                  <c:v>1.79</c:v>
                </c:pt>
                <c:pt idx="22">
                  <c:v>1.81</c:v>
                </c:pt>
                <c:pt idx="23">
                  <c:v>1.77</c:v>
                </c:pt>
                <c:pt idx="24">
                  <c:v>1.77</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455,41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510,49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456,30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455415</c:v>
                </c:pt>
                <c:pt idx="1">
                  <c:v>412575</c:v>
                </c:pt>
                <c:pt idx="2">
                  <c:v>405688</c:v>
                </c:pt>
                <c:pt idx="3">
                  <c:v>357581</c:v>
                </c:pt>
                <c:pt idx="4">
                  <c:v>392735</c:v>
                </c:pt>
                <c:pt idx="5">
                  <c:v>357267</c:v>
                </c:pt>
                <c:pt idx="6">
                  <c:v>342357</c:v>
                </c:pt>
                <c:pt idx="7">
                  <c:v>396361</c:v>
                </c:pt>
                <c:pt idx="8">
                  <c:v>375287</c:v>
                </c:pt>
                <c:pt idx="9">
                  <c:v>441032</c:v>
                </c:pt>
                <c:pt idx="10">
                  <c:v>610071</c:v>
                </c:pt>
                <c:pt idx="11">
                  <c:v>782576</c:v>
                </c:pt>
                <c:pt idx="12">
                  <c:v>583601</c:v>
                </c:pt>
                <c:pt idx="13">
                  <c:v>510492</c:v>
                </c:pt>
                <c:pt idx="14">
                  <c:v>583706</c:v>
                </c:pt>
                <c:pt idx="15">
                  <c:v>521039</c:v>
                </c:pt>
                <c:pt idx="16">
                  <c:v>482608</c:v>
                </c:pt>
                <c:pt idx="17">
                  <c:v>502983</c:v>
                </c:pt>
                <c:pt idx="18">
                  <c:v>559143</c:v>
                </c:pt>
                <c:pt idx="19">
                  <c:v>799209</c:v>
                </c:pt>
                <c:pt idx="20">
                  <c:v>609745</c:v>
                </c:pt>
                <c:pt idx="21">
                  <c:v>585395</c:v>
                </c:pt>
                <c:pt idx="22">
                  <c:v>646540</c:v>
                </c:pt>
                <c:pt idx="23">
                  <c:v>558436</c:v>
                </c:pt>
                <c:pt idx="24">
                  <c:v>456304</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2.6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2.6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2.62</c:v>
                </c:pt>
                <c:pt idx="1">
                  <c:v>2.51</c:v>
                </c:pt>
                <c:pt idx="2">
                  <c:v>2.64</c:v>
                </c:pt>
                <c:pt idx="3">
                  <c:v>2.61</c:v>
                </c:pt>
                <c:pt idx="4">
                  <c:v>2.6</c:v>
                </c:pt>
                <c:pt idx="5">
                  <c:v>2.72</c:v>
                </c:pt>
                <c:pt idx="6">
                  <c:v>2.34</c:v>
                </c:pt>
                <c:pt idx="7">
                  <c:v>2.54</c:v>
                </c:pt>
                <c:pt idx="8">
                  <c:v>2.39</c:v>
                </c:pt>
                <c:pt idx="9">
                  <c:v>2.37</c:v>
                </c:pt>
                <c:pt idx="10">
                  <c:v>2.33</c:v>
                </c:pt>
                <c:pt idx="11">
                  <c:v>2.36</c:v>
                </c:pt>
                <c:pt idx="12">
                  <c:v>2.54</c:v>
                </c:pt>
                <c:pt idx="13">
                  <c:v>2.38</c:v>
                </c:pt>
                <c:pt idx="14">
                  <c:v>2.1</c:v>
                </c:pt>
                <c:pt idx="15">
                  <c:v>2.22</c:v>
                </c:pt>
                <c:pt idx="16">
                  <c:v>2.27</c:v>
                </c:pt>
                <c:pt idx="17">
                  <c:v>2.29</c:v>
                </c:pt>
                <c:pt idx="18">
                  <c:v>2.3</c:v>
                </c:pt>
                <c:pt idx="19">
                  <c:v>2.06</c:v>
                </c:pt>
                <c:pt idx="20">
                  <c:v>2.07</c:v>
                </c:pt>
                <c:pt idx="21">
                  <c:v>2.3</c:v>
                </c:pt>
                <c:pt idx="22">
                  <c:v>2.46</c:v>
                </c:pt>
                <c:pt idx="23">
                  <c:v>2.5</c:v>
                </c:pt>
                <c:pt idx="24">
                  <c:v>2.68</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169,85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148,95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495,28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1169851</c:v>
                </c:pt>
                <c:pt idx="1">
                  <c:v>1012189</c:v>
                </c:pt>
                <c:pt idx="2">
                  <c:v>1075881</c:v>
                </c:pt>
                <c:pt idx="3">
                  <c:v>1158468</c:v>
                </c:pt>
                <c:pt idx="4">
                  <c:v>1150127</c:v>
                </c:pt>
                <c:pt idx="5">
                  <c:v>1197888</c:v>
                </c:pt>
                <c:pt idx="6">
                  <c:v>1099471</c:v>
                </c:pt>
                <c:pt idx="7">
                  <c:v>1131565</c:v>
                </c:pt>
                <c:pt idx="8">
                  <c:v>1092335</c:v>
                </c:pt>
                <c:pt idx="9">
                  <c:v>1201207</c:v>
                </c:pt>
                <c:pt idx="10">
                  <c:v>1157270</c:v>
                </c:pt>
                <c:pt idx="11">
                  <c:v>1373809</c:v>
                </c:pt>
                <c:pt idx="12">
                  <c:v>1373299</c:v>
                </c:pt>
                <c:pt idx="13">
                  <c:v>1148956</c:v>
                </c:pt>
                <c:pt idx="14">
                  <c:v>1163331</c:v>
                </c:pt>
                <c:pt idx="15">
                  <c:v>1159997</c:v>
                </c:pt>
                <c:pt idx="16">
                  <c:v>1230570</c:v>
                </c:pt>
                <c:pt idx="17">
                  <c:v>1212910</c:v>
                </c:pt>
                <c:pt idx="18">
                  <c:v>1248264</c:v>
                </c:pt>
                <c:pt idx="19">
                  <c:v>1455834</c:v>
                </c:pt>
                <c:pt idx="20">
                  <c:v>1584994</c:v>
                </c:pt>
                <c:pt idx="21">
                  <c:v>1595003</c:v>
                </c:pt>
                <c:pt idx="22">
                  <c:v>1467391</c:v>
                </c:pt>
                <c:pt idx="23">
                  <c:v>1648033</c:v>
                </c:pt>
                <c:pt idx="24">
                  <c:v>1495280</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2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8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3.0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23</c:v>
                </c:pt>
                <c:pt idx="1">
                  <c:v>3.18</c:v>
                </c:pt>
                <c:pt idx="2">
                  <c:v>3.23</c:v>
                </c:pt>
                <c:pt idx="3">
                  <c:v>3.17</c:v>
                </c:pt>
                <c:pt idx="4">
                  <c:v>3.18</c:v>
                </c:pt>
                <c:pt idx="5">
                  <c:v>3.19</c:v>
                </c:pt>
                <c:pt idx="6">
                  <c:v>3.16</c:v>
                </c:pt>
                <c:pt idx="7">
                  <c:v>3.02</c:v>
                </c:pt>
                <c:pt idx="8">
                  <c:v>3.04</c:v>
                </c:pt>
                <c:pt idx="9">
                  <c:v>2.89</c:v>
                </c:pt>
                <c:pt idx="10">
                  <c:v>3.03</c:v>
                </c:pt>
                <c:pt idx="11">
                  <c:v>3.04</c:v>
                </c:pt>
                <c:pt idx="12">
                  <c:v>2.96</c:v>
                </c:pt>
                <c:pt idx="13">
                  <c:v>2.83</c:v>
                </c:pt>
                <c:pt idx="14">
                  <c:v>2.83</c:v>
                </c:pt>
                <c:pt idx="15">
                  <c:v>2.78</c:v>
                </c:pt>
                <c:pt idx="16">
                  <c:v>2.83</c:v>
                </c:pt>
                <c:pt idx="17">
                  <c:v>2.86</c:v>
                </c:pt>
                <c:pt idx="18">
                  <c:v>2.75</c:v>
                </c:pt>
                <c:pt idx="19">
                  <c:v>3.09</c:v>
                </c:pt>
                <c:pt idx="20">
                  <c:v>2.94</c:v>
                </c:pt>
                <c:pt idx="21">
                  <c:v>2.94</c:v>
                </c:pt>
                <c:pt idx="22">
                  <c:v>3.04</c:v>
                </c:pt>
                <c:pt idx="23">
                  <c:v>2.88</c:v>
                </c:pt>
                <c:pt idx="24">
                  <c:v>3.01</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65,80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58,72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36,02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65805</c:v>
                </c:pt>
                <c:pt idx="1">
                  <c:v>42663</c:v>
                </c:pt>
                <c:pt idx="2">
                  <c:v>66809</c:v>
                </c:pt>
                <c:pt idx="3">
                  <c:v>43981</c:v>
                </c:pt>
                <c:pt idx="4">
                  <c:v>57321</c:v>
                </c:pt>
                <c:pt idx="5">
                  <c:v>56400</c:v>
                </c:pt>
                <c:pt idx="6">
                  <c:v>62815</c:v>
                </c:pt>
                <c:pt idx="7">
                  <c:v>81377</c:v>
                </c:pt>
                <c:pt idx="8">
                  <c:v>53197</c:v>
                </c:pt>
                <c:pt idx="9">
                  <c:v>68572</c:v>
                </c:pt>
                <c:pt idx="10">
                  <c:v>52919</c:v>
                </c:pt>
                <c:pt idx="11">
                  <c:v>76888</c:v>
                </c:pt>
                <c:pt idx="12">
                  <c:v>59008</c:v>
                </c:pt>
                <c:pt idx="13">
                  <c:v>58727</c:v>
                </c:pt>
                <c:pt idx="14">
                  <c:v>63391</c:v>
                </c:pt>
                <c:pt idx="15">
                  <c:v>51184</c:v>
                </c:pt>
                <c:pt idx="16">
                  <c:v>72034</c:v>
                </c:pt>
                <c:pt idx="17">
                  <c:v>52447</c:v>
                </c:pt>
                <c:pt idx="18">
                  <c:v>58757</c:v>
                </c:pt>
                <c:pt idx="19">
                  <c:v>39230</c:v>
                </c:pt>
                <c:pt idx="20">
                  <c:v>41843</c:v>
                </c:pt>
                <c:pt idx="21">
                  <c:v>53278</c:v>
                </c:pt>
                <c:pt idx="22">
                  <c:v>46728</c:v>
                </c:pt>
                <c:pt idx="23">
                  <c:v>38532</c:v>
                </c:pt>
                <c:pt idx="24">
                  <c:v>36027</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0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4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08</c:v>
                </c:pt>
                <c:pt idx="1">
                  <c:v>2.31</c:v>
                </c:pt>
                <c:pt idx="2">
                  <c:v>2.82</c:v>
                </c:pt>
                <c:pt idx="3">
                  <c:v>2.29</c:v>
                </c:pt>
                <c:pt idx="4">
                  <c:v>2.57</c:v>
                </c:pt>
                <c:pt idx="5">
                  <c:v>2.67</c:v>
                </c:pt>
                <c:pt idx="6">
                  <c:v>3.06</c:v>
                </c:pt>
                <c:pt idx="7">
                  <c:v>2.82</c:v>
                </c:pt>
                <c:pt idx="8">
                  <c:v>2.67</c:v>
                </c:pt>
                <c:pt idx="9">
                  <c:v>2.56</c:v>
                </c:pt>
                <c:pt idx="10">
                  <c:v>2.59</c:v>
                </c:pt>
                <c:pt idx="11">
                  <c:v>2.02</c:v>
                </c:pt>
                <c:pt idx="12">
                  <c:v>1.54</c:v>
                </c:pt>
                <c:pt idx="13">
                  <c:v>1.77</c:v>
                </c:pt>
                <c:pt idx="14">
                  <c:v>1.66</c:v>
                </c:pt>
                <c:pt idx="15">
                  <c:v>1.97</c:v>
                </c:pt>
                <c:pt idx="16">
                  <c:v>1.97</c:v>
                </c:pt>
                <c:pt idx="17">
                  <c:v>1.5</c:v>
                </c:pt>
                <c:pt idx="18">
                  <c:v>2.03</c:v>
                </c:pt>
                <c:pt idx="19">
                  <c:v>1.5</c:v>
                </c:pt>
                <c:pt idx="20">
                  <c:v>1.61</c:v>
                </c:pt>
                <c:pt idx="21">
                  <c:v>1.74</c:v>
                </c:pt>
                <c:pt idx="22">
                  <c:v>1.75</c:v>
                </c:pt>
                <c:pt idx="23">
                  <c:v>1.69</c:v>
                </c:pt>
                <c:pt idx="24">
                  <c:v>1.49</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60,68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05,97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202,63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60686</c:v>
                </c:pt>
                <c:pt idx="1">
                  <c:v>66149</c:v>
                </c:pt>
                <c:pt idx="2">
                  <c:v>62724</c:v>
                </c:pt>
                <c:pt idx="3">
                  <c:v>56423</c:v>
                </c:pt>
                <c:pt idx="4">
                  <c:v>52101</c:v>
                </c:pt>
                <c:pt idx="5">
                  <c:v>69985</c:v>
                </c:pt>
                <c:pt idx="6">
                  <c:v>63182</c:v>
                </c:pt>
                <c:pt idx="7">
                  <c:v>87936</c:v>
                </c:pt>
                <c:pt idx="8">
                  <c:v>81007</c:v>
                </c:pt>
                <c:pt idx="9">
                  <c:v>90590</c:v>
                </c:pt>
                <c:pt idx="10">
                  <c:v>115299</c:v>
                </c:pt>
                <c:pt idx="11">
                  <c:v>121607</c:v>
                </c:pt>
                <c:pt idx="12">
                  <c:v>115078</c:v>
                </c:pt>
                <c:pt idx="13">
                  <c:v>105972</c:v>
                </c:pt>
                <c:pt idx="14">
                  <c:v>102912</c:v>
                </c:pt>
                <c:pt idx="15">
                  <c:v>106895</c:v>
                </c:pt>
                <c:pt idx="16">
                  <c:v>100196</c:v>
                </c:pt>
                <c:pt idx="17">
                  <c:v>112232</c:v>
                </c:pt>
                <c:pt idx="18">
                  <c:v>125181</c:v>
                </c:pt>
                <c:pt idx="19">
                  <c:v>155223</c:v>
                </c:pt>
                <c:pt idx="20">
                  <c:v>171362</c:v>
                </c:pt>
                <c:pt idx="21">
                  <c:v>169218</c:v>
                </c:pt>
                <c:pt idx="22">
                  <c:v>209768</c:v>
                </c:pt>
                <c:pt idx="23">
                  <c:v>234902</c:v>
                </c:pt>
                <c:pt idx="24">
                  <c:v>202634</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2.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0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3.0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2.19</c:v>
                </c:pt>
                <c:pt idx="1">
                  <c:v>2.33</c:v>
                </c:pt>
                <c:pt idx="2">
                  <c:v>2.76</c:v>
                </c:pt>
                <c:pt idx="3">
                  <c:v>3.22</c:v>
                </c:pt>
                <c:pt idx="4">
                  <c:v>3.5</c:v>
                </c:pt>
                <c:pt idx="5">
                  <c:v>3.12</c:v>
                </c:pt>
                <c:pt idx="6">
                  <c:v>2.8</c:v>
                </c:pt>
                <c:pt idx="7">
                  <c:v>2.52</c:v>
                </c:pt>
                <c:pt idx="8">
                  <c:v>2.36</c:v>
                </c:pt>
                <c:pt idx="9">
                  <c:v>2.16</c:v>
                </c:pt>
                <c:pt idx="10">
                  <c:v>2.44</c:v>
                </c:pt>
                <c:pt idx="11">
                  <c:v>2.45</c:v>
                </c:pt>
                <c:pt idx="12">
                  <c:v>2.27</c:v>
                </c:pt>
                <c:pt idx="13">
                  <c:v>2.04</c:v>
                </c:pt>
                <c:pt idx="14">
                  <c:v>2.19</c:v>
                </c:pt>
                <c:pt idx="15">
                  <c:v>2.55</c:v>
                </c:pt>
                <c:pt idx="16">
                  <c:v>3.36</c:v>
                </c:pt>
                <c:pt idx="17">
                  <c:v>3.12</c:v>
                </c:pt>
                <c:pt idx="18">
                  <c:v>3.04</c:v>
                </c:pt>
                <c:pt idx="19">
                  <c:v>3.07</c:v>
                </c:pt>
                <c:pt idx="20">
                  <c:v>3.01</c:v>
                </c:pt>
                <c:pt idx="21">
                  <c:v>3.0</c:v>
                </c:pt>
                <c:pt idx="22">
                  <c:v>3.2</c:v>
                </c:pt>
                <c:pt idx="23">
                  <c:v>3.08</c:v>
                </c:pt>
                <c:pt idx="24">
                  <c:v>3.08</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805,12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791,50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705,42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2805128</c:v>
                </c:pt>
                <c:pt idx="1">
                  <c:v>2426553</c:v>
                </c:pt>
                <c:pt idx="2">
                  <c:v>2330115</c:v>
                </c:pt>
                <c:pt idx="3">
                  <c:v>2147482</c:v>
                </c:pt>
                <c:pt idx="4">
                  <c:v>2288841</c:v>
                </c:pt>
                <c:pt idx="5">
                  <c:v>1939781</c:v>
                </c:pt>
                <c:pt idx="6">
                  <c:v>1886080</c:v>
                </c:pt>
                <c:pt idx="7">
                  <c:v>2236972</c:v>
                </c:pt>
                <c:pt idx="8">
                  <c:v>2130519</c:v>
                </c:pt>
                <c:pt idx="9">
                  <c:v>2173673</c:v>
                </c:pt>
                <c:pt idx="10">
                  <c:v>2271495</c:v>
                </c:pt>
                <c:pt idx="11">
                  <c:v>2351609</c:v>
                </c:pt>
                <c:pt idx="12">
                  <c:v>2212482</c:v>
                </c:pt>
                <c:pt idx="13">
                  <c:v>1791506</c:v>
                </c:pt>
                <c:pt idx="14">
                  <c:v>1791257</c:v>
                </c:pt>
                <c:pt idx="15">
                  <c:v>1440237</c:v>
                </c:pt>
                <c:pt idx="16">
                  <c:v>1607731</c:v>
                </c:pt>
                <c:pt idx="17">
                  <c:v>1454521</c:v>
                </c:pt>
                <c:pt idx="18">
                  <c:v>1453750</c:v>
                </c:pt>
                <c:pt idx="19">
                  <c:v>1715907</c:v>
                </c:pt>
                <c:pt idx="20">
                  <c:v>1583171</c:v>
                </c:pt>
                <c:pt idx="21">
                  <c:v>1656680</c:v>
                </c:pt>
                <c:pt idx="22">
                  <c:v>1770899</c:v>
                </c:pt>
                <c:pt idx="23">
                  <c:v>1851074</c:v>
                </c:pt>
                <c:pt idx="24">
                  <c:v>1705421</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4.5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4.8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4.7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4.54</c:v>
                </c:pt>
                <c:pt idx="1">
                  <c:v>4.58</c:v>
                </c:pt>
                <c:pt idx="2">
                  <c:v>4.54</c:v>
                </c:pt>
                <c:pt idx="3">
                  <c:v>4.46</c:v>
                </c:pt>
                <c:pt idx="4">
                  <c:v>4.56</c:v>
                </c:pt>
                <c:pt idx="5">
                  <c:v>4.55</c:v>
                </c:pt>
                <c:pt idx="6">
                  <c:v>4.55</c:v>
                </c:pt>
                <c:pt idx="7">
                  <c:v>4.65</c:v>
                </c:pt>
                <c:pt idx="8">
                  <c:v>4.69</c:v>
                </c:pt>
                <c:pt idx="9">
                  <c:v>4.81</c:v>
                </c:pt>
                <c:pt idx="10">
                  <c:v>4.75</c:v>
                </c:pt>
                <c:pt idx="11">
                  <c:v>4.75</c:v>
                </c:pt>
                <c:pt idx="12">
                  <c:v>4.69</c:v>
                </c:pt>
                <c:pt idx="13">
                  <c:v>4.82</c:v>
                </c:pt>
                <c:pt idx="14">
                  <c:v>4.74</c:v>
                </c:pt>
                <c:pt idx="15">
                  <c:v>4.89</c:v>
                </c:pt>
                <c:pt idx="16">
                  <c:v>4.9</c:v>
                </c:pt>
                <c:pt idx="17">
                  <c:v>4.8</c:v>
                </c:pt>
                <c:pt idx="18">
                  <c:v>4.73</c:v>
                </c:pt>
                <c:pt idx="19">
                  <c:v>4.64</c:v>
                </c:pt>
                <c:pt idx="20">
                  <c:v>4.67</c:v>
                </c:pt>
                <c:pt idx="21">
                  <c:v>4.7</c:v>
                </c:pt>
                <c:pt idx="22">
                  <c:v>4.69</c:v>
                </c:pt>
                <c:pt idx="23">
                  <c:v>4.71</c:v>
                </c:pt>
                <c:pt idx="24">
                  <c:v>4.7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70,863,07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60,905,17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75,897,40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70863075</c:v>
                </c:pt>
                <c:pt idx="1">
                  <c:v>59772850</c:v>
                </c:pt>
                <c:pt idx="2">
                  <c:v>57208227</c:v>
                </c:pt>
                <c:pt idx="3">
                  <c:v>52343837</c:v>
                </c:pt>
                <c:pt idx="4">
                  <c:v>60287648</c:v>
                </c:pt>
                <c:pt idx="5">
                  <c:v>55095449</c:v>
                </c:pt>
                <c:pt idx="6">
                  <c:v>53181037</c:v>
                </c:pt>
                <c:pt idx="7">
                  <c:v>61999228</c:v>
                </c:pt>
                <c:pt idx="8">
                  <c:v>60986178</c:v>
                </c:pt>
                <c:pt idx="9">
                  <c:v>68123872</c:v>
                </c:pt>
                <c:pt idx="10">
                  <c:v>71741539</c:v>
                </c:pt>
                <c:pt idx="11">
                  <c:v>75811380</c:v>
                </c:pt>
                <c:pt idx="12">
                  <c:v>73471447</c:v>
                </c:pt>
                <c:pt idx="13">
                  <c:v>60905174</c:v>
                </c:pt>
                <c:pt idx="14">
                  <c:v>58255945</c:v>
                </c:pt>
                <c:pt idx="15">
                  <c:v>53438758</c:v>
                </c:pt>
                <c:pt idx="16">
                  <c:v>61136041</c:v>
                </c:pt>
                <c:pt idx="17">
                  <c:v>54386980</c:v>
                </c:pt>
                <c:pt idx="18">
                  <c:v>55842606</c:v>
                </c:pt>
                <c:pt idx="19">
                  <c:v>64910127</c:v>
                </c:pt>
                <c:pt idx="20">
                  <c:v>63354170</c:v>
                </c:pt>
                <c:pt idx="21">
                  <c:v>70337860</c:v>
                </c:pt>
                <c:pt idx="22">
                  <c:v>74208592</c:v>
                </c:pt>
                <c:pt idx="23">
                  <c:v>78052171</c:v>
                </c:pt>
                <c:pt idx="24">
                  <c:v>75897408</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1.7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8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8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1.79</c:v>
                </c:pt>
                <c:pt idx="1">
                  <c:v>1.75</c:v>
                </c:pt>
                <c:pt idx="2">
                  <c:v>1.71</c:v>
                </c:pt>
                <c:pt idx="3">
                  <c:v>1.7</c:v>
                </c:pt>
                <c:pt idx="4">
                  <c:v>1.74</c:v>
                </c:pt>
                <c:pt idx="5">
                  <c:v>1.76</c:v>
                </c:pt>
                <c:pt idx="6">
                  <c:v>1.73</c:v>
                </c:pt>
                <c:pt idx="7">
                  <c:v>1.79</c:v>
                </c:pt>
                <c:pt idx="8">
                  <c:v>1.84</c:v>
                </c:pt>
                <c:pt idx="9">
                  <c:v>1.85</c:v>
                </c:pt>
                <c:pt idx="10">
                  <c:v>1.87</c:v>
                </c:pt>
                <c:pt idx="11">
                  <c:v>1.87</c:v>
                </c:pt>
                <c:pt idx="12">
                  <c:v>1.89</c:v>
                </c:pt>
                <c:pt idx="13">
                  <c:v>1.84</c:v>
                </c:pt>
                <c:pt idx="14">
                  <c:v>1.76</c:v>
                </c:pt>
                <c:pt idx="15">
                  <c:v>1.74</c:v>
                </c:pt>
                <c:pt idx="16">
                  <c:v>1.78</c:v>
                </c:pt>
                <c:pt idx="17">
                  <c:v>1.74</c:v>
                </c:pt>
                <c:pt idx="18">
                  <c:v>1.76</c:v>
                </c:pt>
                <c:pt idx="19">
                  <c:v>1.77</c:v>
                </c:pt>
                <c:pt idx="20">
                  <c:v>1.8</c:v>
                </c:pt>
                <c:pt idx="21">
                  <c:v>1.82</c:v>
                </c:pt>
                <c:pt idx="22">
                  <c:v>1.84</c:v>
                </c:pt>
                <c:pt idx="23">
                  <c:v>1.83</c:v>
                </c:pt>
                <c:pt idx="24">
                  <c:v>1.85</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8,748,30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8,573,64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0,222,95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8748307</c:v>
                </c:pt>
                <c:pt idx="1">
                  <c:v>7892379</c:v>
                </c:pt>
                <c:pt idx="2">
                  <c:v>8650291</c:v>
                </c:pt>
                <c:pt idx="3">
                  <c:v>9869233</c:v>
                </c:pt>
                <c:pt idx="4">
                  <c:v>11534862</c:v>
                </c:pt>
                <c:pt idx="5">
                  <c:v>8177753</c:v>
                </c:pt>
                <c:pt idx="6">
                  <c:v>7683989</c:v>
                </c:pt>
                <c:pt idx="7">
                  <c:v>9407901</c:v>
                </c:pt>
                <c:pt idx="8">
                  <c:v>9138865</c:v>
                </c:pt>
                <c:pt idx="9">
                  <c:v>9339007</c:v>
                </c:pt>
                <c:pt idx="10">
                  <c:v>9176002</c:v>
                </c:pt>
                <c:pt idx="11">
                  <c:v>9862844</c:v>
                </c:pt>
                <c:pt idx="12">
                  <c:v>9705797</c:v>
                </c:pt>
                <c:pt idx="13">
                  <c:v>8573640</c:v>
                </c:pt>
                <c:pt idx="14">
                  <c:v>9117626</c:v>
                </c:pt>
                <c:pt idx="15">
                  <c:v>10360212</c:v>
                </c:pt>
                <c:pt idx="16">
                  <c:v>16206403</c:v>
                </c:pt>
                <c:pt idx="17">
                  <c:v>8956809</c:v>
                </c:pt>
                <c:pt idx="18">
                  <c:v>8671395</c:v>
                </c:pt>
                <c:pt idx="19">
                  <c:v>9589887</c:v>
                </c:pt>
                <c:pt idx="20">
                  <c:v>9232794</c:v>
                </c:pt>
                <c:pt idx="21">
                  <c:v>9966292</c:v>
                </c:pt>
                <c:pt idx="22">
                  <c:v>9939514</c:v>
                </c:pt>
                <c:pt idx="23">
                  <c:v>10419488</c:v>
                </c:pt>
                <c:pt idx="24">
                  <c:v>10222955</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2.2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2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2.3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2.26</c:v>
                </c:pt>
                <c:pt idx="1">
                  <c:v>2.19</c:v>
                </c:pt>
                <c:pt idx="2">
                  <c:v>2.1</c:v>
                </c:pt>
                <c:pt idx="3">
                  <c:v>2.03</c:v>
                </c:pt>
                <c:pt idx="4">
                  <c:v>1.97</c:v>
                </c:pt>
                <c:pt idx="5">
                  <c:v>2.17</c:v>
                </c:pt>
                <c:pt idx="6">
                  <c:v>2.24</c:v>
                </c:pt>
                <c:pt idx="7">
                  <c:v>2.34</c:v>
                </c:pt>
                <c:pt idx="8">
                  <c:v>2.37</c:v>
                </c:pt>
                <c:pt idx="9">
                  <c:v>2.37</c:v>
                </c:pt>
                <c:pt idx="10">
                  <c:v>2.39</c:v>
                </c:pt>
                <c:pt idx="11">
                  <c:v>2.27</c:v>
                </c:pt>
                <c:pt idx="12">
                  <c:v>2.31</c:v>
                </c:pt>
                <c:pt idx="13">
                  <c:v>2.28</c:v>
                </c:pt>
                <c:pt idx="14">
                  <c:v>2.29</c:v>
                </c:pt>
                <c:pt idx="15">
                  <c:v>2.43</c:v>
                </c:pt>
                <c:pt idx="16">
                  <c:v>2.43</c:v>
                </c:pt>
                <c:pt idx="17">
                  <c:v>2.25</c:v>
                </c:pt>
                <c:pt idx="18">
                  <c:v>2.28</c:v>
                </c:pt>
                <c:pt idx="19">
                  <c:v>2.36</c:v>
                </c:pt>
                <c:pt idx="20">
                  <c:v>2.36</c:v>
                </c:pt>
                <c:pt idx="21">
                  <c:v>2.37</c:v>
                </c:pt>
                <c:pt idx="22">
                  <c:v>2.43</c:v>
                </c:pt>
                <c:pt idx="23">
                  <c:v>2.34</c:v>
                </c:pt>
                <c:pt idx="24">
                  <c:v>2.32</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9,148,89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4,542,66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30,424,64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29148895</c:v>
                </c:pt>
                <c:pt idx="1">
                  <c:v>24426105</c:v>
                </c:pt>
                <c:pt idx="2">
                  <c:v>22891459</c:v>
                </c:pt>
                <c:pt idx="3">
                  <c:v>21391208</c:v>
                </c:pt>
                <c:pt idx="4">
                  <c:v>24668676</c:v>
                </c:pt>
                <c:pt idx="5">
                  <c:v>21835977</c:v>
                </c:pt>
                <c:pt idx="6">
                  <c:v>21511757</c:v>
                </c:pt>
                <c:pt idx="7">
                  <c:v>25968493</c:v>
                </c:pt>
                <c:pt idx="8">
                  <c:v>25584880</c:v>
                </c:pt>
                <c:pt idx="9">
                  <c:v>28607857</c:v>
                </c:pt>
                <c:pt idx="10">
                  <c:v>30195349</c:v>
                </c:pt>
                <c:pt idx="11">
                  <c:v>31286684</c:v>
                </c:pt>
                <c:pt idx="12">
                  <c:v>29671484</c:v>
                </c:pt>
                <c:pt idx="13">
                  <c:v>24542661</c:v>
                </c:pt>
                <c:pt idx="14">
                  <c:v>23412304</c:v>
                </c:pt>
                <c:pt idx="15">
                  <c:v>21598006</c:v>
                </c:pt>
                <c:pt idx="16">
                  <c:v>25088914</c:v>
                </c:pt>
                <c:pt idx="17">
                  <c:v>21517553</c:v>
                </c:pt>
                <c:pt idx="18">
                  <c:v>21135102</c:v>
                </c:pt>
                <c:pt idx="19">
                  <c:v>24636928</c:v>
                </c:pt>
                <c:pt idx="20">
                  <c:v>24245219</c:v>
                </c:pt>
                <c:pt idx="21">
                  <c:v>27338747</c:v>
                </c:pt>
                <c:pt idx="22">
                  <c:v>28986868</c:v>
                </c:pt>
                <c:pt idx="23">
                  <c:v>31048079</c:v>
                </c:pt>
                <c:pt idx="24">
                  <c:v>30424645</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2.3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4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2.5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2.37</c:v>
                </c:pt>
                <c:pt idx="1">
                  <c:v>2.27</c:v>
                </c:pt>
                <c:pt idx="2">
                  <c:v>2.31</c:v>
                </c:pt>
                <c:pt idx="3">
                  <c:v>2.15</c:v>
                </c:pt>
                <c:pt idx="4">
                  <c:v>2.25</c:v>
                </c:pt>
                <c:pt idx="5">
                  <c:v>2.35</c:v>
                </c:pt>
                <c:pt idx="6">
                  <c:v>2.38</c:v>
                </c:pt>
                <c:pt idx="7">
                  <c:v>2.48</c:v>
                </c:pt>
                <c:pt idx="8">
                  <c:v>2.58</c:v>
                </c:pt>
                <c:pt idx="9">
                  <c:v>2.5</c:v>
                </c:pt>
                <c:pt idx="10">
                  <c:v>2.54</c:v>
                </c:pt>
                <c:pt idx="11">
                  <c:v>2.55</c:v>
                </c:pt>
                <c:pt idx="12">
                  <c:v>2.6</c:v>
                </c:pt>
                <c:pt idx="13">
                  <c:v>2.49</c:v>
                </c:pt>
                <c:pt idx="14">
                  <c:v>2.52</c:v>
                </c:pt>
                <c:pt idx="15">
                  <c:v>2.41</c:v>
                </c:pt>
                <c:pt idx="16">
                  <c:v>2.47</c:v>
                </c:pt>
                <c:pt idx="17">
                  <c:v>2.56</c:v>
                </c:pt>
                <c:pt idx="18">
                  <c:v>2.63</c:v>
                </c:pt>
                <c:pt idx="19">
                  <c:v>2.66</c:v>
                </c:pt>
                <c:pt idx="20">
                  <c:v>2.58</c:v>
                </c:pt>
                <c:pt idx="21">
                  <c:v>2.6</c:v>
                </c:pt>
                <c:pt idx="22">
                  <c:v>2.6</c:v>
                </c:pt>
                <c:pt idx="23">
                  <c:v>2.6</c:v>
                </c:pt>
                <c:pt idx="24">
                  <c:v>2.56</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613,69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545,33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2,083,86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1613695</c:v>
                </c:pt>
                <c:pt idx="1">
                  <c:v>1433737</c:v>
                </c:pt>
                <c:pt idx="2">
                  <c:v>1464661</c:v>
                </c:pt>
                <c:pt idx="3">
                  <c:v>1389356</c:v>
                </c:pt>
                <c:pt idx="4">
                  <c:v>1470543</c:v>
                </c:pt>
                <c:pt idx="5">
                  <c:v>1420578</c:v>
                </c:pt>
                <c:pt idx="6">
                  <c:v>1531467</c:v>
                </c:pt>
                <c:pt idx="7">
                  <c:v>1483146</c:v>
                </c:pt>
                <c:pt idx="8">
                  <c:v>1433404</c:v>
                </c:pt>
                <c:pt idx="9">
                  <c:v>1668866</c:v>
                </c:pt>
                <c:pt idx="10">
                  <c:v>1926224</c:v>
                </c:pt>
                <c:pt idx="11">
                  <c:v>2136293</c:v>
                </c:pt>
                <c:pt idx="12">
                  <c:v>1649044</c:v>
                </c:pt>
                <c:pt idx="13">
                  <c:v>1545335</c:v>
                </c:pt>
                <c:pt idx="14">
                  <c:v>1749075</c:v>
                </c:pt>
                <c:pt idx="15">
                  <c:v>1557422</c:v>
                </c:pt>
                <c:pt idx="16">
                  <c:v>1620571</c:v>
                </c:pt>
                <c:pt idx="17">
                  <c:v>1531764</c:v>
                </c:pt>
                <c:pt idx="18">
                  <c:v>1559490</c:v>
                </c:pt>
                <c:pt idx="19">
                  <c:v>2210727</c:v>
                </c:pt>
                <c:pt idx="20">
                  <c:v>2160006</c:v>
                </c:pt>
                <c:pt idx="21">
                  <c:v>1981439</c:v>
                </c:pt>
                <c:pt idx="22">
                  <c:v>2154232</c:v>
                </c:pt>
                <c:pt idx="23">
                  <c:v>2542210</c:v>
                </c:pt>
                <c:pt idx="24">
                  <c:v>2083862</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1.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2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1.12</c:v>
                </c:pt>
                <c:pt idx="1">
                  <c:v>1.1</c:v>
                </c:pt>
                <c:pt idx="2">
                  <c:v>1.0</c:v>
                </c:pt>
                <c:pt idx="3">
                  <c:v>0.95</c:v>
                </c:pt>
                <c:pt idx="4">
                  <c:v>1.07</c:v>
                </c:pt>
                <c:pt idx="5">
                  <c:v>1.08</c:v>
                </c:pt>
                <c:pt idx="6">
                  <c:v>0.95</c:v>
                </c:pt>
                <c:pt idx="7">
                  <c:v>1.14</c:v>
                </c:pt>
                <c:pt idx="8">
                  <c:v>1.16</c:v>
                </c:pt>
                <c:pt idx="9">
                  <c:v>1.07</c:v>
                </c:pt>
                <c:pt idx="10">
                  <c:v>1.2</c:v>
                </c:pt>
                <c:pt idx="11">
                  <c:v>1.1</c:v>
                </c:pt>
                <c:pt idx="12">
                  <c:v>1.21</c:v>
                </c:pt>
                <c:pt idx="13">
                  <c:v>1.2</c:v>
                </c:pt>
                <c:pt idx="14">
                  <c:v>1.18</c:v>
                </c:pt>
                <c:pt idx="15">
                  <c:v>1.06</c:v>
                </c:pt>
                <c:pt idx="16">
                  <c:v>1.18</c:v>
                </c:pt>
                <c:pt idx="17">
                  <c:v>1.15</c:v>
                </c:pt>
                <c:pt idx="18">
                  <c:v>1.15</c:v>
                </c:pt>
                <c:pt idx="19">
                  <c:v>1.18</c:v>
                </c:pt>
                <c:pt idx="20">
                  <c:v>1.28</c:v>
                </c:pt>
                <c:pt idx="21">
                  <c:v>1.23</c:v>
                </c:pt>
                <c:pt idx="22">
                  <c:v>1.19</c:v>
                </c:pt>
                <c:pt idx="23">
                  <c:v>1.12</c:v>
                </c:pt>
                <c:pt idx="24">
                  <c:v>1.19</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47,01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56,23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02,93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147014</c:v>
                </c:pt>
                <c:pt idx="1">
                  <c:v>132169</c:v>
                </c:pt>
                <c:pt idx="2">
                  <c:v>122188</c:v>
                </c:pt>
                <c:pt idx="3">
                  <c:v>164016</c:v>
                </c:pt>
                <c:pt idx="4">
                  <c:v>132412</c:v>
                </c:pt>
                <c:pt idx="5">
                  <c:v>119461</c:v>
                </c:pt>
                <c:pt idx="6">
                  <c:v>126248</c:v>
                </c:pt>
                <c:pt idx="7">
                  <c:v>160451</c:v>
                </c:pt>
                <c:pt idx="8">
                  <c:v>155597</c:v>
                </c:pt>
                <c:pt idx="9">
                  <c:v>158023</c:v>
                </c:pt>
                <c:pt idx="10">
                  <c:v>175966</c:v>
                </c:pt>
                <c:pt idx="11">
                  <c:v>210031</c:v>
                </c:pt>
                <c:pt idx="12">
                  <c:v>176190</c:v>
                </c:pt>
                <c:pt idx="13">
                  <c:v>156236</c:v>
                </c:pt>
                <c:pt idx="14">
                  <c:v>125051</c:v>
                </c:pt>
                <c:pt idx="15">
                  <c:v>95796</c:v>
                </c:pt>
                <c:pt idx="16">
                  <c:v>94527</c:v>
                </c:pt>
                <c:pt idx="17">
                  <c:v>110592</c:v>
                </c:pt>
                <c:pt idx="18">
                  <c:v>119913</c:v>
                </c:pt>
                <c:pt idx="19">
                  <c:v>126218</c:v>
                </c:pt>
                <c:pt idx="20">
                  <c:v>170233</c:v>
                </c:pt>
                <c:pt idx="21">
                  <c:v>145825</c:v>
                </c:pt>
                <c:pt idx="22">
                  <c:v>164848</c:v>
                </c:pt>
                <c:pt idx="23">
                  <c:v>147860</c:v>
                </c:pt>
                <c:pt idx="24">
                  <c:v>102932</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4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3.1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3.9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49</c:v>
                </c:pt>
                <c:pt idx="1">
                  <c:v>3.39</c:v>
                </c:pt>
                <c:pt idx="2">
                  <c:v>3.4</c:v>
                </c:pt>
                <c:pt idx="3">
                  <c:v>3.3</c:v>
                </c:pt>
                <c:pt idx="4">
                  <c:v>3.44</c:v>
                </c:pt>
                <c:pt idx="5">
                  <c:v>3.46</c:v>
                </c:pt>
                <c:pt idx="6">
                  <c:v>3.31</c:v>
                </c:pt>
                <c:pt idx="7">
                  <c:v>3.03</c:v>
                </c:pt>
                <c:pt idx="8">
                  <c:v>3.03</c:v>
                </c:pt>
                <c:pt idx="9">
                  <c:v>3.1</c:v>
                </c:pt>
                <c:pt idx="10">
                  <c:v>3.01</c:v>
                </c:pt>
                <c:pt idx="11">
                  <c:v>2.99</c:v>
                </c:pt>
                <c:pt idx="12">
                  <c:v>3.03</c:v>
                </c:pt>
                <c:pt idx="13">
                  <c:v>3.18</c:v>
                </c:pt>
                <c:pt idx="14">
                  <c:v>3.13</c:v>
                </c:pt>
                <c:pt idx="15">
                  <c:v>3.28</c:v>
                </c:pt>
                <c:pt idx="16">
                  <c:v>3.3</c:v>
                </c:pt>
                <c:pt idx="17">
                  <c:v>3.16</c:v>
                </c:pt>
                <c:pt idx="18">
                  <c:v>3.01</c:v>
                </c:pt>
                <c:pt idx="19">
                  <c:v>2.92</c:v>
                </c:pt>
                <c:pt idx="20">
                  <c:v>3.33</c:v>
                </c:pt>
                <c:pt idx="21">
                  <c:v>3.14</c:v>
                </c:pt>
                <c:pt idx="22">
                  <c:v>3.33</c:v>
                </c:pt>
                <c:pt idx="23">
                  <c:v>3.63</c:v>
                </c:pt>
                <c:pt idx="24">
                  <c:v>3.94</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5,043,11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5,489,42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7,727,11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5043114</c:v>
                </c:pt>
                <c:pt idx="1">
                  <c:v>4672283</c:v>
                </c:pt>
                <c:pt idx="2">
                  <c:v>4909863</c:v>
                </c:pt>
                <c:pt idx="3">
                  <c:v>4600843</c:v>
                </c:pt>
                <c:pt idx="4">
                  <c:v>5274528</c:v>
                </c:pt>
                <c:pt idx="5">
                  <c:v>5411885</c:v>
                </c:pt>
                <c:pt idx="6">
                  <c:v>5303101</c:v>
                </c:pt>
                <c:pt idx="7">
                  <c:v>5184582</c:v>
                </c:pt>
                <c:pt idx="8">
                  <c:v>5110464</c:v>
                </c:pt>
                <c:pt idx="9">
                  <c:v>5636520</c:v>
                </c:pt>
                <c:pt idx="10">
                  <c:v>6088499</c:v>
                </c:pt>
                <c:pt idx="11">
                  <c:v>7171622</c:v>
                </c:pt>
                <c:pt idx="12">
                  <c:v>6064543</c:v>
                </c:pt>
                <c:pt idx="13">
                  <c:v>5489429</c:v>
                </c:pt>
                <c:pt idx="14">
                  <c:v>5706484</c:v>
                </c:pt>
                <c:pt idx="15">
                  <c:v>5400073</c:v>
                </c:pt>
                <c:pt idx="16">
                  <c:v>5400035</c:v>
                </c:pt>
                <c:pt idx="17">
                  <c:v>5396753</c:v>
                </c:pt>
                <c:pt idx="18">
                  <c:v>5538922</c:v>
                </c:pt>
                <c:pt idx="19">
                  <c:v>6808555</c:v>
                </c:pt>
                <c:pt idx="20">
                  <c:v>6913296</c:v>
                </c:pt>
                <c:pt idx="21">
                  <c:v>7244207</c:v>
                </c:pt>
                <c:pt idx="22">
                  <c:v>7495740</c:v>
                </c:pt>
                <c:pt idx="23">
                  <c:v>8983875</c:v>
                </c:pt>
                <c:pt idx="24">
                  <c:v>7727118</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2.3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3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2.2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2.31</c:v>
                </c:pt>
                <c:pt idx="1">
                  <c:v>2.31</c:v>
                </c:pt>
                <c:pt idx="2">
                  <c:v>2.18</c:v>
                </c:pt>
                <c:pt idx="3">
                  <c:v>2.13</c:v>
                </c:pt>
                <c:pt idx="4">
                  <c:v>2.37</c:v>
                </c:pt>
                <c:pt idx="5">
                  <c:v>2.5</c:v>
                </c:pt>
                <c:pt idx="6">
                  <c:v>2.13</c:v>
                </c:pt>
                <c:pt idx="7">
                  <c:v>2.39</c:v>
                </c:pt>
                <c:pt idx="8">
                  <c:v>2.41</c:v>
                </c:pt>
                <c:pt idx="9">
                  <c:v>2.2</c:v>
                </c:pt>
                <c:pt idx="10">
                  <c:v>2.33</c:v>
                </c:pt>
                <c:pt idx="11">
                  <c:v>2.2</c:v>
                </c:pt>
                <c:pt idx="12">
                  <c:v>2.39</c:v>
                </c:pt>
                <c:pt idx="13">
                  <c:v>2.32</c:v>
                </c:pt>
                <c:pt idx="14">
                  <c:v>2.22</c:v>
                </c:pt>
                <c:pt idx="15">
                  <c:v>2.13</c:v>
                </c:pt>
                <c:pt idx="16">
                  <c:v>2.2</c:v>
                </c:pt>
                <c:pt idx="17">
                  <c:v>2.19</c:v>
                </c:pt>
                <c:pt idx="18">
                  <c:v>2.2</c:v>
                </c:pt>
                <c:pt idx="19">
                  <c:v>2.12</c:v>
                </c:pt>
                <c:pt idx="20">
                  <c:v>2.26</c:v>
                </c:pt>
                <c:pt idx="21">
                  <c:v>2.3</c:v>
                </c:pt>
                <c:pt idx="22">
                  <c:v>2.25</c:v>
                </c:pt>
                <c:pt idx="23">
                  <c:v>2.12</c:v>
                </c:pt>
                <c:pt idx="24">
                  <c:v>2.2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794,07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524,49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741,56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1794070</c:v>
                </c:pt>
                <c:pt idx="1">
                  <c:v>1626738</c:v>
                </c:pt>
                <c:pt idx="2">
                  <c:v>1607551</c:v>
                </c:pt>
                <c:pt idx="3">
                  <c:v>1496013</c:v>
                </c:pt>
                <c:pt idx="4">
                  <c:v>1390492</c:v>
                </c:pt>
                <c:pt idx="5">
                  <c:v>1565843</c:v>
                </c:pt>
                <c:pt idx="6">
                  <c:v>1456274</c:v>
                </c:pt>
                <c:pt idx="7">
                  <c:v>1648873</c:v>
                </c:pt>
                <c:pt idx="8">
                  <c:v>1605857</c:v>
                </c:pt>
                <c:pt idx="9">
                  <c:v>1775049</c:v>
                </c:pt>
                <c:pt idx="10">
                  <c:v>1759999</c:v>
                </c:pt>
                <c:pt idx="11">
                  <c:v>2218734</c:v>
                </c:pt>
                <c:pt idx="12">
                  <c:v>1790946</c:v>
                </c:pt>
                <c:pt idx="13">
                  <c:v>1524497</c:v>
                </c:pt>
                <c:pt idx="14">
                  <c:v>1603362</c:v>
                </c:pt>
                <c:pt idx="15">
                  <c:v>1593036</c:v>
                </c:pt>
                <c:pt idx="16">
                  <c:v>1518761</c:v>
                </c:pt>
                <c:pt idx="17">
                  <c:v>1626708</c:v>
                </c:pt>
                <c:pt idx="18">
                  <c:v>1586525</c:v>
                </c:pt>
                <c:pt idx="19">
                  <c:v>1645342</c:v>
                </c:pt>
                <c:pt idx="20">
                  <c:v>1641916</c:v>
                </c:pt>
                <c:pt idx="21">
                  <c:v>1717001</c:v>
                </c:pt>
                <c:pt idx="22">
                  <c:v>1675317</c:v>
                </c:pt>
                <c:pt idx="23">
                  <c:v>2022161</c:v>
                </c:pt>
                <c:pt idx="24">
                  <c:v>1741563</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2.3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0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2.2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2.37</c:v>
                </c:pt>
                <c:pt idx="1">
                  <c:v>2.15</c:v>
                </c:pt>
                <c:pt idx="2">
                  <c:v>2.08</c:v>
                </c:pt>
                <c:pt idx="3">
                  <c:v>2.13</c:v>
                </c:pt>
                <c:pt idx="4">
                  <c:v>2.31</c:v>
                </c:pt>
                <c:pt idx="5">
                  <c:v>2.27</c:v>
                </c:pt>
                <c:pt idx="6">
                  <c:v>2.31</c:v>
                </c:pt>
                <c:pt idx="7">
                  <c:v>2.28</c:v>
                </c:pt>
                <c:pt idx="8">
                  <c:v>2.3</c:v>
                </c:pt>
                <c:pt idx="9">
                  <c:v>2.24</c:v>
                </c:pt>
                <c:pt idx="10">
                  <c:v>2.21</c:v>
                </c:pt>
                <c:pt idx="11">
                  <c:v>1.97</c:v>
                </c:pt>
                <c:pt idx="12">
                  <c:v>2.07</c:v>
                </c:pt>
                <c:pt idx="13">
                  <c:v>2.05</c:v>
                </c:pt>
                <c:pt idx="14">
                  <c:v>2.06</c:v>
                </c:pt>
                <c:pt idx="15">
                  <c:v>2.12</c:v>
                </c:pt>
                <c:pt idx="16">
                  <c:v>2.24</c:v>
                </c:pt>
                <c:pt idx="17">
                  <c:v>1.98</c:v>
                </c:pt>
                <c:pt idx="18">
                  <c:v>2.11</c:v>
                </c:pt>
                <c:pt idx="19">
                  <c:v>2.22</c:v>
                </c:pt>
                <c:pt idx="20">
                  <c:v>2.12</c:v>
                </c:pt>
                <c:pt idx="21">
                  <c:v>2.06</c:v>
                </c:pt>
                <c:pt idx="22">
                  <c:v>2.21</c:v>
                </c:pt>
                <c:pt idx="23">
                  <c:v>2.1</c:v>
                </c:pt>
                <c:pt idx="24">
                  <c:v>2.28</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514,09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521,82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944,37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1514091</c:v>
                </c:pt>
                <c:pt idx="1">
                  <c:v>1347889</c:v>
                </c:pt>
                <c:pt idx="2">
                  <c:v>1345752</c:v>
                </c:pt>
                <c:pt idx="3">
                  <c:v>1319423</c:v>
                </c:pt>
                <c:pt idx="4">
                  <c:v>1275454</c:v>
                </c:pt>
                <c:pt idx="5">
                  <c:v>1305872</c:v>
                </c:pt>
                <c:pt idx="6">
                  <c:v>1197110</c:v>
                </c:pt>
                <c:pt idx="7">
                  <c:v>1447108</c:v>
                </c:pt>
                <c:pt idx="8">
                  <c:v>1414553</c:v>
                </c:pt>
                <c:pt idx="9">
                  <c:v>1562051</c:v>
                </c:pt>
                <c:pt idx="10">
                  <c:v>1582004</c:v>
                </c:pt>
                <c:pt idx="11">
                  <c:v>1832118</c:v>
                </c:pt>
                <c:pt idx="12">
                  <c:v>1585619</c:v>
                </c:pt>
                <c:pt idx="13">
                  <c:v>1521825</c:v>
                </c:pt>
                <c:pt idx="14">
                  <c:v>1530042</c:v>
                </c:pt>
                <c:pt idx="15">
                  <c:v>1529189</c:v>
                </c:pt>
                <c:pt idx="16">
                  <c:v>1451724</c:v>
                </c:pt>
                <c:pt idx="17">
                  <c:v>1457848</c:v>
                </c:pt>
                <c:pt idx="18">
                  <c:v>1456070</c:v>
                </c:pt>
                <c:pt idx="19">
                  <c:v>1739176</c:v>
                </c:pt>
                <c:pt idx="20">
                  <c:v>1742713</c:v>
                </c:pt>
                <c:pt idx="21">
                  <c:v>1910794</c:v>
                </c:pt>
                <c:pt idx="22">
                  <c:v>2023164</c:v>
                </c:pt>
                <c:pt idx="23">
                  <c:v>2283861</c:v>
                </c:pt>
                <c:pt idx="24">
                  <c:v>1944376</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2.7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6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2.6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2.7</c:v>
                </c:pt>
                <c:pt idx="1">
                  <c:v>2.66</c:v>
                </c:pt>
                <c:pt idx="2">
                  <c:v>2.69</c:v>
                </c:pt>
                <c:pt idx="3">
                  <c:v>2.64</c:v>
                </c:pt>
                <c:pt idx="4">
                  <c:v>2.64</c:v>
                </c:pt>
                <c:pt idx="5">
                  <c:v>2.6</c:v>
                </c:pt>
                <c:pt idx="6">
                  <c:v>2.63</c:v>
                </c:pt>
                <c:pt idx="7">
                  <c:v>2.57</c:v>
                </c:pt>
                <c:pt idx="8">
                  <c:v>2.56</c:v>
                </c:pt>
                <c:pt idx="9">
                  <c:v>2.58</c:v>
                </c:pt>
                <c:pt idx="10">
                  <c:v>2.63</c:v>
                </c:pt>
                <c:pt idx="11">
                  <c:v>2.64</c:v>
                </c:pt>
                <c:pt idx="12">
                  <c:v>2.68</c:v>
                </c:pt>
                <c:pt idx="13">
                  <c:v>2.66</c:v>
                </c:pt>
                <c:pt idx="14">
                  <c:v>2.56</c:v>
                </c:pt>
                <c:pt idx="15">
                  <c:v>2.55</c:v>
                </c:pt>
                <c:pt idx="16">
                  <c:v>2.51</c:v>
                </c:pt>
                <c:pt idx="17">
                  <c:v>2.5</c:v>
                </c:pt>
                <c:pt idx="18">
                  <c:v>2.51</c:v>
                </c:pt>
                <c:pt idx="19">
                  <c:v>2.64</c:v>
                </c:pt>
                <c:pt idx="20">
                  <c:v>2.62</c:v>
                </c:pt>
                <c:pt idx="21">
                  <c:v>2.6</c:v>
                </c:pt>
                <c:pt idx="22">
                  <c:v>2.58</c:v>
                </c:pt>
                <c:pt idx="23">
                  <c:v>2.58</c:v>
                </c:pt>
                <c:pt idx="24">
                  <c:v>2.67</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11,20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68,60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63,87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211208</c:v>
                </c:pt>
                <c:pt idx="1">
                  <c:v>180167</c:v>
                </c:pt>
                <c:pt idx="2">
                  <c:v>193525</c:v>
                </c:pt>
                <c:pt idx="3">
                  <c:v>164278</c:v>
                </c:pt>
                <c:pt idx="4">
                  <c:v>185032</c:v>
                </c:pt>
                <c:pt idx="5">
                  <c:v>157472</c:v>
                </c:pt>
                <c:pt idx="6">
                  <c:v>167994</c:v>
                </c:pt>
                <c:pt idx="7">
                  <c:v>273942</c:v>
                </c:pt>
                <c:pt idx="8">
                  <c:v>209251</c:v>
                </c:pt>
                <c:pt idx="9">
                  <c:v>221916</c:v>
                </c:pt>
                <c:pt idx="10">
                  <c:v>250738</c:v>
                </c:pt>
                <c:pt idx="11">
                  <c:v>231830</c:v>
                </c:pt>
                <c:pt idx="12">
                  <c:v>230205</c:v>
                </c:pt>
                <c:pt idx="13">
                  <c:v>168601</c:v>
                </c:pt>
                <c:pt idx="14">
                  <c:v>179330</c:v>
                </c:pt>
                <c:pt idx="15">
                  <c:v>147771</c:v>
                </c:pt>
                <c:pt idx="16">
                  <c:v>161502</c:v>
                </c:pt>
                <c:pt idx="17">
                  <c:v>128337</c:v>
                </c:pt>
                <c:pt idx="18">
                  <c:v>124500</c:v>
                </c:pt>
                <c:pt idx="19">
                  <c:v>143461</c:v>
                </c:pt>
                <c:pt idx="20">
                  <c:v>132088</c:v>
                </c:pt>
                <c:pt idx="21">
                  <c:v>153277</c:v>
                </c:pt>
                <c:pt idx="22">
                  <c:v>167834</c:v>
                </c:pt>
                <c:pt idx="23">
                  <c:v>175146</c:v>
                </c:pt>
                <c:pt idx="24">
                  <c:v>163878</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6.1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7.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6.1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6.16</c:v>
                </c:pt>
                <c:pt idx="1">
                  <c:v>6.29</c:v>
                </c:pt>
                <c:pt idx="2">
                  <c:v>5.98</c:v>
                </c:pt>
                <c:pt idx="3">
                  <c:v>5.95</c:v>
                </c:pt>
                <c:pt idx="4">
                  <c:v>6.19</c:v>
                </c:pt>
                <c:pt idx="5">
                  <c:v>6.31</c:v>
                </c:pt>
                <c:pt idx="6">
                  <c:v>6.07</c:v>
                </c:pt>
                <c:pt idx="7">
                  <c:v>6.31</c:v>
                </c:pt>
                <c:pt idx="8">
                  <c:v>6.76</c:v>
                </c:pt>
                <c:pt idx="9">
                  <c:v>6.59</c:v>
                </c:pt>
                <c:pt idx="10">
                  <c:v>6.19</c:v>
                </c:pt>
                <c:pt idx="11">
                  <c:v>7.01</c:v>
                </c:pt>
                <c:pt idx="12">
                  <c:v>6.29</c:v>
                </c:pt>
                <c:pt idx="13">
                  <c:v>7.02</c:v>
                </c:pt>
                <c:pt idx="14">
                  <c:v>6.4</c:v>
                </c:pt>
                <c:pt idx="15">
                  <c:v>6.59</c:v>
                </c:pt>
                <c:pt idx="16">
                  <c:v>6.83</c:v>
                </c:pt>
                <c:pt idx="17">
                  <c:v>7.0</c:v>
                </c:pt>
                <c:pt idx="18">
                  <c:v>6.78</c:v>
                </c:pt>
                <c:pt idx="19">
                  <c:v>6.96</c:v>
                </c:pt>
                <c:pt idx="20">
                  <c:v>6.44</c:v>
                </c:pt>
                <c:pt idx="21">
                  <c:v>6.35</c:v>
                </c:pt>
                <c:pt idx="22">
                  <c:v>6.43</c:v>
                </c:pt>
                <c:pt idx="23">
                  <c:v>6.63</c:v>
                </c:pt>
                <c:pt idx="24">
                  <c:v>6.18</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5,043,68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4,414,40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5,763,32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5043686</c:v>
                </c:pt>
                <c:pt idx="1">
                  <c:v>4267598</c:v>
                </c:pt>
                <c:pt idx="2">
                  <c:v>4162407</c:v>
                </c:pt>
                <c:pt idx="3">
                  <c:v>3701814</c:v>
                </c:pt>
                <c:pt idx="4">
                  <c:v>4383956</c:v>
                </c:pt>
                <c:pt idx="5">
                  <c:v>3801307</c:v>
                </c:pt>
                <c:pt idx="6">
                  <c:v>4059354</c:v>
                </c:pt>
                <c:pt idx="7">
                  <c:v>5363694</c:v>
                </c:pt>
                <c:pt idx="8">
                  <c:v>4835409</c:v>
                </c:pt>
                <c:pt idx="9">
                  <c:v>5899862</c:v>
                </c:pt>
                <c:pt idx="10">
                  <c:v>6030279</c:v>
                </c:pt>
                <c:pt idx="11">
                  <c:v>5629931</c:v>
                </c:pt>
                <c:pt idx="12">
                  <c:v>5082096</c:v>
                </c:pt>
                <c:pt idx="13">
                  <c:v>4414402</c:v>
                </c:pt>
                <c:pt idx="14">
                  <c:v>4199212</c:v>
                </c:pt>
                <c:pt idx="15">
                  <c:v>3759828</c:v>
                </c:pt>
                <c:pt idx="16">
                  <c:v>4303459</c:v>
                </c:pt>
                <c:pt idx="17">
                  <c:v>3502173</c:v>
                </c:pt>
                <c:pt idx="18">
                  <c:v>3524461</c:v>
                </c:pt>
                <c:pt idx="19">
                  <c:v>4065347</c:v>
                </c:pt>
                <c:pt idx="20">
                  <c:v>4533678</c:v>
                </c:pt>
                <c:pt idx="21">
                  <c:v>4834497</c:v>
                </c:pt>
                <c:pt idx="22">
                  <c:v>5227591</c:v>
                </c:pt>
                <c:pt idx="23">
                  <c:v>5420971</c:v>
                </c:pt>
                <c:pt idx="24">
                  <c:v>5763325</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9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4.2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3.4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96</c:v>
                </c:pt>
                <c:pt idx="1">
                  <c:v>3.81</c:v>
                </c:pt>
                <c:pt idx="2">
                  <c:v>3.56</c:v>
                </c:pt>
                <c:pt idx="3">
                  <c:v>3.44</c:v>
                </c:pt>
                <c:pt idx="4">
                  <c:v>3.9</c:v>
                </c:pt>
                <c:pt idx="5">
                  <c:v>3.7</c:v>
                </c:pt>
                <c:pt idx="6">
                  <c:v>3.41</c:v>
                </c:pt>
                <c:pt idx="7">
                  <c:v>3.83</c:v>
                </c:pt>
                <c:pt idx="8">
                  <c:v>3.85</c:v>
                </c:pt>
                <c:pt idx="9">
                  <c:v>4.02</c:v>
                </c:pt>
                <c:pt idx="10">
                  <c:v>3.83</c:v>
                </c:pt>
                <c:pt idx="11">
                  <c:v>3.99</c:v>
                </c:pt>
                <c:pt idx="12">
                  <c:v>4.11</c:v>
                </c:pt>
                <c:pt idx="13">
                  <c:v>4.27</c:v>
                </c:pt>
                <c:pt idx="14">
                  <c:v>3.74</c:v>
                </c:pt>
                <c:pt idx="15">
                  <c:v>3.92</c:v>
                </c:pt>
                <c:pt idx="16">
                  <c:v>3.98</c:v>
                </c:pt>
                <c:pt idx="17">
                  <c:v>4.09</c:v>
                </c:pt>
                <c:pt idx="18">
                  <c:v>3.94</c:v>
                </c:pt>
                <c:pt idx="19">
                  <c:v>3.97</c:v>
                </c:pt>
                <c:pt idx="20">
                  <c:v>3.73</c:v>
                </c:pt>
                <c:pt idx="21">
                  <c:v>3.74</c:v>
                </c:pt>
                <c:pt idx="22">
                  <c:v>3.83</c:v>
                </c:pt>
                <c:pt idx="23">
                  <c:v>3.83</c:v>
                </c:pt>
                <c:pt idx="24">
                  <c:v>3.48</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520,04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503,09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619,43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520045</c:v>
                </c:pt>
                <c:pt idx="1">
                  <c:v>477129</c:v>
                </c:pt>
                <c:pt idx="2">
                  <c:v>486471</c:v>
                </c:pt>
                <c:pt idx="3">
                  <c:v>451319</c:v>
                </c:pt>
                <c:pt idx="4">
                  <c:v>524160</c:v>
                </c:pt>
                <c:pt idx="5">
                  <c:v>525081</c:v>
                </c:pt>
                <c:pt idx="6">
                  <c:v>470866</c:v>
                </c:pt>
                <c:pt idx="7">
                  <c:v>540271</c:v>
                </c:pt>
                <c:pt idx="8">
                  <c:v>548069</c:v>
                </c:pt>
                <c:pt idx="9">
                  <c:v>509550</c:v>
                </c:pt>
                <c:pt idx="10">
                  <c:v>537709</c:v>
                </c:pt>
                <c:pt idx="11">
                  <c:v>565417</c:v>
                </c:pt>
                <c:pt idx="12">
                  <c:v>502828</c:v>
                </c:pt>
                <c:pt idx="13">
                  <c:v>503095</c:v>
                </c:pt>
                <c:pt idx="14">
                  <c:v>501820</c:v>
                </c:pt>
                <c:pt idx="15">
                  <c:v>432491</c:v>
                </c:pt>
                <c:pt idx="16">
                  <c:v>511478</c:v>
                </c:pt>
                <c:pt idx="17">
                  <c:v>466688</c:v>
                </c:pt>
                <c:pt idx="18">
                  <c:v>484580</c:v>
                </c:pt>
                <c:pt idx="19">
                  <c:v>552986</c:v>
                </c:pt>
                <c:pt idx="20">
                  <c:v>557853</c:v>
                </c:pt>
                <c:pt idx="21">
                  <c:v>563920</c:v>
                </c:pt>
                <c:pt idx="22">
                  <c:v>587880</c:v>
                </c:pt>
                <c:pt idx="23">
                  <c:v>627598</c:v>
                </c:pt>
                <c:pt idx="24">
                  <c:v>619431</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1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3.1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3.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1</c:v>
                </c:pt>
                <c:pt idx="1">
                  <c:v>3.11</c:v>
                </c:pt>
                <c:pt idx="2">
                  <c:v>3.12</c:v>
                </c:pt>
                <c:pt idx="3">
                  <c:v>2.93</c:v>
                </c:pt>
                <c:pt idx="4">
                  <c:v>3.0</c:v>
                </c:pt>
                <c:pt idx="5">
                  <c:v>2.95</c:v>
                </c:pt>
                <c:pt idx="6">
                  <c:v>2.95</c:v>
                </c:pt>
                <c:pt idx="7">
                  <c:v>3.21</c:v>
                </c:pt>
                <c:pt idx="8">
                  <c:v>3.07</c:v>
                </c:pt>
                <c:pt idx="9">
                  <c:v>3.31</c:v>
                </c:pt>
                <c:pt idx="10">
                  <c:v>3.35</c:v>
                </c:pt>
                <c:pt idx="11">
                  <c:v>3.24</c:v>
                </c:pt>
                <c:pt idx="12">
                  <c:v>3.16</c:v>
                </c:pt>
                <c:pt idx="13">
                  <c:v>3.18</c:v>
                </c:pt>
                <c:pt idx="14">
                  <c:v>3.03</c:v>
                </c:pt>
                <c:pt idx="15">
                  <c:v>3.11</c:v>
                </c:pt>
                <c:pt idx="16">
                  <c:v>3.11</c:v>
                </c:pt>
                <c:pt idx="17">
                  <c:v>3.09</c:v>
                </c:pt>
                <c:pt idx="18">
                  <c:v>3.15</c:v>
                </c:pt>
                <c:pt idx="19">
                  <c:v>3.16</c:v>
                </c:pt>
                <c:pt idx="20">
                  <c:v>3.09</c:v>
                </c:pt>
                <c:pt idx="21">
                  <c:v>3.11</c:v>
                </c:pt>
                <c:pt idx="22">
                  <c:v>3.2</c:v>
                </c:pt>
                <c:pt idx="23">
                  <c:v>3.09</c:v>
                </c:pt>
                <c:pt idx="24">
                  <c:v>3.02</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594,49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374,71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2,442,92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1594496</c:v>
                </c:pt>
                <c:pt idx="1">
                  <c:v>1341272</c:v>
                </c:pt>
                <c:pt idx="2">
                  <c:v>1345815</c:v>
                </c:pt>
                <c:pt idx="3">
                  <c:v>1134713</c:v>
                </c:pt>
                <c:pt idx="4">
                  <c:v>1301683</c:v>
                </c:pt>
                <c:pt idx="5">
                  <c:v>1147637</c:v>
                </c:pt>
                <c:pt idx="6">
                  <c:v>1249932</c:v>
                </c:pt>
                <c:pt idx="7">
                  <c:v>1815758</c:v>
                </c:pt>
                <c:pt idx="8">
                  <c:v>1607058</c:v>
                </c:pt>
                <c:pt idx="9">
                  <c:v>1821467</c:v>
                </c:pt>
                <c:pt idx="10">
                  <c:v>1886200</c:v>
                </c:pt>
                <c:pt idx="11">
                  <c:v>1887946</c:v>
                </c:pt>
                <c:pt idx="12">
                  <c:v>1629623</c:v>
                </c:pt>
                <c:pt idx="13">
                  <c:v>1374710</c:v>
                </c:pt>
                <c:pt idx="14">
                  <c:v>1349345</c:v>
                </c:pt>
                <c:pt idx="15">
                  <c:v>1239917</c:v>
                </c:pt>
                <c:pt idx="16">
                  <c:v>1439539</c:v>
                </c:pt>
                <c:pt idx="17">
                  <c:v>1192784</c:v>
                </c:pt>
                <c:pt idx="18">
                  <c:v>1293560</c:v>
                </c:pt>
                <c:pt idx="19">
                  <c:v>1512087</c:v>
                </c:pt>
                <c:pt idx="20">
                  <c:v>1679346</c:v>
                </c:pt>
                <c:pt idx="21">
                  <c:v>1829037</c:v>
                </c:pt>
                <c:pt idx="22">
                  <c:v>2011242</c:v>
                </c:pt>
                <c:pt idx="23">
                  <c:v>2238078</c:v>
                </c:pt>
                <c:pt idx="24">
                  <c:v>2442928</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7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3.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2.7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71</c:v>
                </c:pt>
                <c:pt idx="1">
                  <c:v>3.65</c:v>
                </c:pt>
                <c:pt idx="2">
                  <c:v>3.46</c:v>
                </c:pt>
                <c:pt idx="3">
                  <c:v>3.37</c:v>
                </c:pt>
                <c:pt idx="4">
                  <c:v>3.57</c:v>
                </c:pt>
                <c:pt idx="5">
                  <c:v>3.62</c:v>
                </c:pt>
                <c:pt idx="6">
                  <c:v>3.22</c:v>
                </c:pt>
                <c:pt idx="7">
                  <c:v>3.51</c:v>
                </c:pt>
                <c:pt idx="8">
                  <c:v>3.43</c:v>
                </c:pt>
                <c:pt idx="9">
                  <c:v>3.17</c:v>
                </c:pt>
                <c:pt idx="10">
                  <c:v>3.35</c:v>
                </c:pt>
                <c:pt idx="11">
                  <c:v>3.57</c:v>
                </c:pt>
                <c:pt idx="12">
                  <c:v>3.62</c:v>
                </c:pt>
                <c:pt idx="13">
                  <c:v>3.77</c:v>
                </c:pt>
                <c:pt idx="14">
                  <c:v>3.58</c:v>
                </c:pt>
                <c:pt idx="15">
                  <c:v>3.28</c:v>
                </c:pt>
                <c:pt idx="16">
                  <c:v>3.64</c:v>
                </c:pt>
                <c:pt idx="17">
                  <c:v>3.5</c:v>
                </c:pt>
                <c:pt idx="18">
                  <c:v>3.43</c:v>
                </c:pt>
                <c:pt idx="19">
                  <c:v>3.65</c:v>
                </c:pt>
                <c:pt idx="20">
                  <c:v>3.05</c:v>
                </c:pt>
                <c:pt idx="21">
                  <c:v>3.13</c:v>
                </c:pt>
                <c:pt idx="22">
                  <c:v>3.44</c:v>
                </c:pt>
                <c:pt idx="23">
                  <c:v>3.45</c:v>
                </c:pt>
                <c:pt idx="24">
                  <c:v>2.75</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848,14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638,08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570,50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848146</c:v>
                </c:pt>
                <c:pt idx="1">
                  <c:v>750159</c:v>
                </c:pt>
                <c:pt idx="2">
                  <c:v>711335</c:v>
                </c:pt>
                <c:pt idx="3">
                  <c:v>631833</c:v>
                </c:pt>
                <c:pt idx="4">
                  <c:v>743166</c:v>
                </c:pt>
                <c:pt idx="5">
                  <c:v>654822</c:v>
                </c:pt>
                <c:pt idx="6">
                  <c:v>654326</c:v>
                </c:pt>
                <c:pt idx="7">
                  <c:v>783323</c:v>
                </c:pt>
                <c:pt idx="8">
                  <c:v>735544</c:v>
                </c:pt>
                <c:pt idx="9">
                  <c:v>789551</c:v>
                </c:pt>
                <c:pt idx="10">
                  <c:v>789927</c:v>
                </c:pt>
                <c:pt idx="11">
                  <c:v>800558</c:v>
                </c:pt>
                <c:pt idx="12">
                  <c:v>759647</c:v>
                </c:pt>
                <c:pt idx="13">
                  <c:v>638088</c:v>
                </c:pt>
                <c:pt idx="14">
                  <c:v>614793</c:v>
                </c:pt>
                <c:pt idx="15">
                  <c:v>520352</c:v>
                </c:pt>
                <c:pt idx="16">
                  <c:v>616313</c:v>
                </c:pt>
                <c:pt idx="17">
                  <c:v>471707</c:v>
                </c:pt>
                <c:pt idx="18">
                  <c:v>488790</c:v>
                </c:pt>
                <c:pt idx="19">
                  <c:v>568542</c:v>
                </c:pt>
                <c:pt idx="20">
                  <c:v>517472</c:v>
                </c:pt>
                <c:pt idx="21">
                  <c:v>559625</c:v>
                </c:pt>
                <c:pt idx="22">
                  <c:v>600457</c:v>
                </c:pt>
                <c:pt idx="23">
                  <c:v>618819</c:v>
                </c:pt>
                <c:pt idx="24">
                  <c:v>570505</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4.3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4.6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4.5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4.35</c:v>
                </c:pt>
                <c:pt idx="1">
                  <c:v>4.34</c:v>
                </c:pt>
                <c:pt idx="2">
                  <c:v>4.32</c:v>
                </c:pt>
                <c:pt idx="3">
                  <c:v>4.32</c:v>
                </c:pt>
                <c:pt idx="4">
                  <c:v>4.32</c:v>
                </c:pt>
                <c:pt idx="5">
                  <c:v>4.22</c:v>
                </c:pt>
                <c:pt idx="6">
                  <c:v>4.44</c:v>
                </c:pt>
                <c:pt idx="7">
                  <c:v>4.59</c:v>
                </c:pt>
                <c:pt idx="8">
                  <c:v>4.7</c:v>
                </c:pt>
                <c:pt idx="9">
                  <c:v>4.76</c:v>
                </c:pt>
                <c:pt idx="10">
                  <c:v>4.67</c:v>
                </c:pt>
                <c:pt idx="11">
                  <c:v>4.68</c:v>
                </c:pt>
                <c:pt idx="12">
                  <c:v>4.62</c:v>
                </c:pt>
                <c:pt idx="13">
                  <c:v>4.65</c:v>
                </c:pt>
                <c:pt idx="14">
                  <c:v>4.63</c:v>
                </c:pt>
                <c:pt idx="15">
                  <c:v>4.63</c:v>
                </c:pt>
                <c:pt idx="16">
                  <c:v>4.66</c:v>
                </c:pt>
                <c:pt idx="17">
                  <c:v>4.64</c:v>
                </c:pt>
                <c:pt idx="18">
                  <c:v>4.58</c:v>
                </c:pt>
                <c:pt idx="19">
                  <c:v>4.56</c:v>
                </c:pt>
                <c:pt idx="20">
                  <c:v>4.56</c:v>
                </c:pt>
                <c:pt idx="21">
                  <c:v>4.57</c:v>
                </c:pt>
                <c:pt idx="22">
                  <c:v>4.58</c:v>
                </c:pt>
                <c:pt idx="23">
                  <c:v>4.58</c:v>
                </c:pt>
                <c:pt idx="24">
                  <c:v>4.59</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3,820,39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9,485,00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23,636,75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23820393</c:v>
                </c:pt>
                <c:pt idx="1">
                  <c:v>19939812</c:v>
                </c:pt>
                <c:pt idx="2">
                  <c:v>19748780</c:v>
                </c:pt>
                <c:pt idx="3">
                  <c:v>18111016</c:v>
                </c:pt>
                <c:pt idx="4">
                  <c:v>21116744</c:v>
                </c:pt>
                <c:pt idx="5">
                  <c:v>17664245</c:v>
                </c:pt>
                <c:pt idx="6">
                  <c:v>17250932</c:v>
                </c:pt>
                <c:pt idx="7">
                  <c:v>20016411</c:v>
                </c:pt>
                <c:pt idx="8">
                  <c:v>19949471</c:v>
                </c:pt>
                <c:pt idx="9">
                  <c:v>22234035</c:v>
                </c:pt>
                <c:pt idx="10">
                  <c:v>23429223</c:v>
                </c:pt>
                <c:pt idx="11">
                  <c:v>24560139</c:v>
                </c:pt>
                <c:pt idx="12">
                  <c:v>23781560</c:v>
                </c:pt>
                <c:pt idx="13">
                  <c:v>19485000</c:v>
                </c:pt>
                <c:pt idx="14">
                  <c:v>19150300</c:v>
                </c:pt>
                <c:pt idx="15">
                  <c:v>17815163</c:v>
                </c:pt>
                <c:pt idx="16">
                  <c:v>20907709</c:v>
                </c:pt>
                <c:pt idx="17">
                  <c:v>17418184</c:v>
                </c:pt>
                <c:pt idx="18">
                  <c:v>18603298</c:v>
                </c:pt>
                <c:pt idx="19">
                  <c:v>21126968</c:v>
                </c:pt>
                <c:pt idx="20">
                  <c:v>20299878</c:v>
                </c:pt>
                <c:pt idx="21">
                  <c:v>22319087</c:v>
                </c:pt>
                <c:pt idx="22">
                  <c:v>24277055</c:v>
                </c:pt>
                <c:pt idx="23">
                  <c:v>24306404</c:v>
                </c:pt>
                <c:pt idx="24">
                  <c:v>23636755</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1.4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4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4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1.43</c:v>
                </c:pt>
                <c:pt idx="1">
                  <c:v>1.39</c:v>
                </c:pt>
                <c:pt idx="2">
                  <c:v>1.36</c:v>
                </c:pt>
                <c:pt idx="3">
                  <c:v>1.34</c:v>
                </c:pt>
                <c:pt idx="4">
                  <c:v>1.36</c:v>
                </c:pt>
                <c:pt idx="5">
                  <c:v>1.35</c:v>
                </c:pt>
                <c:pt idx="6">
                  <c:v>1.38</c:v>
                </c:pt>
                <c:pt idx="7">
                  <c:v>1.41</c:v>
                </c:pt>
                <c:pt idx="8">
                  <c:v>1.43</c:v>
                </c:pt>
                <c:pt idx="9">
                  <c:v>1.45</c:v>
                </c:pt>
                <c:pt idx="10">
                  <c:v>1.46</c:v>
                </c:pt>
                <c:pt idx="11">
                  <c:v>1.47</c:v>
                </c:pt>
                <c:pt idx="12">
                  <c:v>1.47</c:v>
                </c:pt>
                <c:pt idx="13">
                  <c:v>1.44</c:v>
                </c:pt>
                <c:pt idx="14">
                  <c:v>1.39</c:v>
                </c:pt>
                <c:pt idx="15">
                  <c:v>1.38</c:v>
                </c:pt>
                <c:pt idx="16">
                  <c:v>1.41</c:v>
                </c:pt>
                <c:pt idx="17">
                  <c:v>1.37</c:v>
                </c:pt>
                <c:pt idx="18">
                  <c:v>1.41</c:v>
                </c:pt>
                <c:pt idx="19">
                  <c:v>1.44</c:v>
                </c:pt>
                <c:pt idx="20">
                  <c:v>1.43</c:v>
                </c:pt>
                <c:pt idx="21">
                  <c:v>1.44</c:v>
                </c:pt>
                <c:pt idx="22">
                  <c:v>1.47</c:v>
                </c:pt>
                <c:pt idx="23">
                  <c:v>1.46</c:v>
                </c:pt>
                <c:pt idx="24">
                  <c:v>1.45</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6,884,59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7,146,65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9,432,12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6884594</c:v>
                </c:pt>
                <c:pt idx="1">
                  <c:v>6345342</c:v>
                </c:pt>
                <c:pt idx="2">
                  <c:v>6520693</c:v>
                </c:pt>
                <c:pt idx="3">
                  <c:v>6190939</c:v>
                </c:pt>
                <c:pt idx="4">
                  <c:v>6602343</c:v>
                </c:pt>
                <c:pt idx="5">
                  <c:v>6982483</c:v>
                </c:pt>
                <c:pt idx="6">
                  <c:v>6551266</c:v>
                </c:pt>
                <c:pt idx="7">
                  <c:v>6957868</c:v>
                </c:pt>
                <c:pt idx="8">
                  <c:v>6853067</c:v>
                </c:pt>
                <c:pt idx="9">
                  <c:v>7462777</c:v>
                </c:pt>
                <c:pt idx="10">
                  <c:v>7680244</c:v>
                </c:pt>
                <c:pt idx="11">
                  <c:v>9296212</c:v>
                </c:pt>
                <c:pt idx="12">
                  <c:v>7968254</c:v>
                </c:pt>
                <c:pt idx="13">
                  <c:v>7146652</c:v>
                </c:pt>
                <c:pt idx="14">
                  <c:v>7215864</c:v>
                </c:pt>
                <c:pt idx="15">
                  <c:v>7060672</c:v>
                </c:pt>
                <c:pt idx="16">
                  <c:v>6844476</c:v>
                </c:pt>
                <c:pt idx="17">
                  <c:v>7060137</c:v>
                </c:pt>
                <c:pt idx="18">
                  <c:v>7141940</c:v>
                </c:pt>
                <c:pt idx="19">
                  <c:v>8108564</c:v>
                </c:pt>
                <c:pt idx="20">
                  <c:v>8308152</c:v>
                </c:pt>
                <c:pt idx="21">
                  <c:v>9036388</c:v>
                </c:pt>
                <c:pt idx="22">
                  <c:v>9204837</c:v>
                </c:pt>
                <c:pt idx="23">
                  <c:v>10895547</c:v>
                </c:pt>
                <c:pt idx="24">
                  <c:v>9432127</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2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2.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27</c:v>
                </c:pt>
                <c:pt idx="1">
                  <c:v>3.14</c:v>
                </c:pt>
                <c:pt idx="2">
                  <c:v>3.12</c:v>
                </c:pt>
                <c:pt idx="3">
                  <c:v>3.17</c:v>
                </c:pt>
                <c:pt idx="4">
                  <c:v>3.34</c:v>
                </c:pt>
                <c:pt idx="5">
                  <c:v>3.36</c:v>
                </c:pt>
                <c:pt idx="6">
                  <c:v>3.28</c:v>
                </c:pt>
                <c:pt idx="7">
                  <c:v>3.16</c:v>
                </c:pt>
                <c:pt idx="8">
                  <c:v>3.13</c:v>
                </c:pt>
                <c:pt idx="9">
                  <c:v>3.05</c:v>
                </c:pt>
                <c:pt idx="10">
                  <c:v>3.11</c:v>
                </c:pt>
                <c:pt idx="11">
                  <c:v>2.89</c:v>
                </c:pt>
                <c:pt idx="12">
                  <c:v>2.96</c:v>
                </c:pt>
                <c:pt idx="13">
                  <c:v>2.92</c:v>
                </c:pt>
                <c:pt idx="14">
                  <c:v>2.87</c:v>
                </c:pt>
                <c:pt idx="15">
                  <c:v>2.87</c:v>
                </c:pt>
                <c:pt idx="16">
                  <c:v>2.89</c:v>
                </c:pt>
                <c:pt idx="17">
                  <c:v>2.75</c:v>
                </c:pt>
                <c:pt idx="18">
                  <c:v>2.82</c:v>
                </c:pt>
                <c:pt idx="19">
                  <c:v>2.92</c:v>
                </c:pt>
                <c:pt idx="20">
                  <c:v>2.9</c:v>
                </c:pt>
                <c:pt idx="21">
                  <c:v>2.87</c:v>
                </c:pt>
                <c:pt idx="22">
                  <c:v>2.96</c:v>
                </c:pt>
                <c:pt idx="23">
                  <c:v>2.83</c:v>
                </c:pt>
                <c:pt idx="24">
                  <c:v>2.92</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841,58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686,62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2,848,14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2841581</c:v>
                </c:pt>
                <c:pt idx="1">
                  <c:v>2511499</c:v>
                </c:pt>
                <c:pt idx="2">
                  <c:v>3065746</c:v>
                </c:pt>
                <c:pt idx="3">
                  <c:v>3720931</c:v>
                </c:pt>
                <c:pt idx="4">
                  <c:v>4277309</c:v>
                </c:pt>
                <c:pt idx="5">
                  <c:v>2493949</c:v>
                </c:pt>
                <c:pt idx="6">
                  <c:v>2370384</c:v>
                </c:pt>
                <c:pt idx="7">
                  <c:v>2875853</c:v>
                </c:pt>
                <c:pt idx="8">
                  <c:v>2702516</c:v>
                </c:pt>
                <c:pt idx="9">
                  <c:v>2716016</c:v>
                </c:pt>
                <c:pt idx="10">
                  <c:v>2711701</c:v>
                </c:pt>
                <c:pt idx="11">
                  <c:v>2859107</c:v>
                </c:pt>
                <c:pt idx="12">
                  <c:v>2970608</c:v>
                </c:pt>
                <c:pt idx="13">
                  <c:v>2686625</c:v>
                </c:pt>
                <c:pt idx="14">
                  <c:v>3111381</c:v>
                </c:pt>
                <c:pt idx="15">
                  <c:v>4142427</c:v>
                </c:pt>
                <c:pt idx="16">
                  <c:v>8125817</c:v>
                </c:pt>
                <c:pt idx="17">
                  <c:v>2724561</c:v>
                </c:pt>
                <c:pt idx="18">
                  <c:v>2606894</c:v>
                </c:pt>
                <c:pt idx="19">
                  <c:v>2787967</c:v>
                </c:pt>
                <c:pt idx="20">
                  <c:v>2622906</c:v>
                </c:pt>
                <c:pt idx="21">
                  <c:v>2796298</c:v>
                </c:pt>
                <c:pt idx="22">
                  <c:v>2830510</c:v>
                </c:pt>
                <c:pt idx="23">
                  <c:v>2912049</c:v>
                </c:pt>
                <c:pt idx="24">
                  <c:v>2848143</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1.8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9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8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1.88</c:v>
                </c:pt>
                <c:pt idx="1">
                  <c:v>1.86</c:v>
                </c:pt>
                <c:pt idx="2">
                  <c:v>1.79</c:v>
                </c:pt>
                <c:pt idx="3">
                  <c:v>1.77</c:v>
                </c:pt>
                <c:pt idx="4">
                  <c:v>1.77</c:v>
                </c:pt>
                <c:pt idx="5">
                  <c:v>1.82</c:v>
                </c:pt>
                <c:pt idx="6">
                  <c:v>1.9</c:v>
                </c:pt>
                <c:pt idx="7">
                  <c:v>1.93</c:v>
                </c:pt>
                <c:pt idx="8">
                  <c:v>1.95</c:v>
                </c:pt>
                <c:pt idx="9">
                  <c:v>1.95</c:v>
                </c:pt>
                <c:pt idx="10">
                  <c:v>1.96</c:v>
                </c:pt>
                <c:pt idx="11">
                  <c:v>1.93</c:v>
                </c:pt>
                <c:pt idx="12">
                  <c:v>1.91</c:v>
                </c:pt>
                <c:pt idx="13">
                  <c:v>1.9</c:v>
                </c:pt>
                <c:pt idx="14">
                  <c:v>1.98</c:v>
                </c:pt>
                <c:pt idx="15">
                  <c:v>2.26</c:v>
                </c:pt>
                <c:pt idx="16">
                  <c:v>2.43</c:v>
                </c:pt>
                <c:pt idx="17">
                  <c:v>1.85</c:v>
                </c:pt>
                <c:pt idx="18">
                  <c:v>1.88</c:v>
                </c:pt>
                <c:pt idx="19">
                  <c:v>1.91</c:v>
                </c:pt>
                <c:pt idx="20">
                  <c:v>1.9</c:v>
                </c:pt>
                <c:pt idx="21">
                  <c:v>1.91</c:v>
                </c:pt>
                <c:pt idx="22">
                  <c:v>1.94</c:v>
                </c:pt>
                <c:pt idx="23">
                  <c:v>1.91</c:v>
                </c:pt>
                <c:pt idx="24">
                  <c:v>1.86</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8,247,54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6,597,71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7,727,96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8247542</c:v>
                </c:pt>
                <c:pt idx="1">
                  <c:v>6876798</c:v>
                </c:pt>
                <c:pt idx="2">
                  <c:v>6556170</c:v>
                </c:pt>
                <c:pt idx="3">
                  <c:v>6169685</c:v>
                </c:pt>
                <c:pt idx="4">
                  <c:v>7824603</c:v>
                </c:pt>
                <c:pt idx="5">
                  <c:v>5819780</c:v>
                </c:pt>
                <c:pt idx="6">
                  <c:v>5829375</c:v>
                </c:pt>
                <c:pt idx="7">
                  <c:v>6890061</c:v>
                </c:pt>
                <c:pt idx="8">
                  <c:v>6829720</c:v>
                </c:pt>
                <c:pt idx="9">
                  <c:v>7697647</c:v>
                </c:pt>
                <c:pt idx="10">
                  <c:v>8161523</c:v>
                </c:pt>
                <c:pt idx="11">
                  <c:v>8324469</c:v>
                </c:pt>
                <c:pt idx="12">
                  <c:v>7745244</c:v>
                </c:pt>
                <c:pt idx="13">
                  <c:v>6597715</c:v>
                </c:pt>
                <c:pt idx="14">
                  <c:v>6501271</c:v>
                </c:pt>
                <c:pt idx="15">
                  <c:v>6187369</c:v>
                </c:pt>
                <c:pt idx="16">
                  <c:v>7833966</c:v>
                </c:pt>
                <c:pt idx="17">
                  <c:v>5789781</c:v>
                </c:pt>
                <c:pt idx="18">
                  <c:v>5725613</c:v>
                </c:pt>
                <c:pt idx="19">
                  <c:v>6662418</c:v>
                </c:pt>
                <c:pt idx="20">
                  <c:v>6466034</c:v>
                </c:pt>
                <c:pt idx="21">
                  <c:v>7297811</c:v>
                </c:pt>
                <c:pt idx="22">
                  <c:v>7911214</c:v>
                </c:pt>
                <c:pt idx="23">
                  <c:v>8317329</c:v>
                </c:pt>
                <c:pt idx="24">
                  <c:v>772796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2.3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5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2.4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2.3</c:v>
                </c:pt>
                <c:pt idx="1">
                  <c:v>2.27</c:v>
                </c:pt>
                <c:pt idx="2">
                  <c:v>2.26</c:v>
                </c:pt>
                <c:pt idx="3">
                  <c:v>2.17</c:v>
                </c:pt>
                <c:pt idx="4">
                  <c:v>2.07</c:v>
                </c:pt>
                <c:pt idx="5">
                  <c:v>2.3</c:v>
                </c:pt>
                <c:pt idx="6">
                  <c:v>2.47</c:v>
                </c:pt>
                <c:pt idx="7">
                  <c:v>2.53</c:v>
                </c:pt>
                <c:pt idx="8">
                  <c:v>2.55</c:v>
                </c:pt>
                <c:pt idx="9">
                  <c:v>2.59</c:v>
                </c:pt>
                <c:pt idx="10">
                  <c:v>2.56</c:v>
                </c:pt>
                <c:pt idx="11">
                  <c:v>2.58</c:v>
                </c:pt>
                <c:pt idx="12">
                  <c:v>2.58</c:v>
                </c:pt>
                <c:pt idx="13">
                  <c:v>2.58</c:v>
                </c:pt>
                <c:pt idx="14">
                  <c:v>2.5</c:v>
                </c:pt>
                <c:pt idx="15">
                  <c:v>2.37</c:v>
                </c:pt>
                <c:pt idx="16">
                  <c:v>2.22</c:v>
                </c:pt>
                <c:pt idx="17">
                  <c:v>2.43</c:v>
                </c:pt>
                <c:pt idx="18">
                  <c:v>2.49</c:v>
                </c:pt>
                <c:pt idx="19">
                  <c:v>2.53</c:v>
                </c:pt>
                <c:pt idx="20">
                  <c:v>2.49</c:v>
                </c:pt>
                <c:pt idx="21">
                  <c:v>2.49</c:v>
                </c:pt>
                <c:pt idx="22">
                  <c:v>2.51</c:v>
                </c:pt>
                <c:pt idx="23">
                  <c:v>2.49</c:v>
                </c:pt>
                <c:pt idx="24">
                  <c:v>2.44</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66,27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75,59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46,43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66276</c:v>
                </c:pt>
                <c:pt idx="1">
                  <c:v>54960</c:v>
                </c:pt>
                <c:pt idx="2">
                  <c:v>56941</c:v>
                </c:pt>
                <c:pt idx="3">
                  <c:v>67055</c:v>
                </c:pt>
                <c:pt idx="4">
                  <c:v>49239</c:v>
                </c:pt>
                <c:pt idx="5">
                  <c:v>50626</c:v>
                </c:pt>
                <c:pt idx="6">
                  <c:v>36981</c:v>
                </c:pt>
                <c:pt idx="7">
                  <c:v>45920</c:v>
                </c:pt>
                <c:pt idx="8">
                  <c:v>54628</c:v>
                </c:pt>
                <c:pt idx="9">
                  <c:v>54648</c:v>
                </c:pt>
                <c:pt idx="10">
                  <c:v>57149</c:v>
                </c:pt>
                <c:pt idx="11">
                  <c:v>62965</c:v>
                </c:pt>
                <c:pt idx="12">
                  <c:v>66551</c:v>
                </c:pt>
                <c:pt idx="13">
                  <c:v>75594</c:v>
                </c:pt>
                <c:pt idx="14">
                  <c:v>40610</c:v>
                </c:pt>
                <c:pt idx="15">
                  <c:v>35815</c:v>
                </c:pt>
                <c:pt idx="16">
                  <c:v>38013</c:v>
                </c:pt>
                <c:pt idx="17">
                  <c:v>39440</c:v>
                </c:pt>
                <c:pt idx="18">
                  <c:v>40943</c:v>
                </c:pt>
                <c:pt idx="19">
                  <c:v>45665</c:v>
                </c:pt>
                <c:pt idx="20">
                  <c:v>113429</c:v>
                </c:pt>
                <c:pt idx="21">
                  <c:v>88637</c:v>
                </c:pt>
                <c:pt idx="22">
                  <c:v>63977</c:v>
                </c:pt>
                <c:pt idx="23">
                  <c:v>56739</c:v>
                </c:pt>
                <c:pt idx="24">
                  <c:v>46433</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6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3.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4.2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66</c:v>
                </c:pt>
                <c:pt idx="1">
                  <c:v>3.53</c:v>
                </c:pt>
                <c:pt idx="2">
                  <c:v>3.55</c:v>
                </c:pt>
                <c:pt idx="3">
                  <c:v>3.48</c:v>
                </c:pt>
                <c:pt idx="4">
                  <c:v>3.78</c:v>
                </c:pt>
                <c:pt idx="5">
                  <c:v>3.97</c:v>
                </c:pt>
                <c:pt idx="6">
                  <c:v>3.92</c:v>
                </c:pt>
                <c:pt idx="7">
                  <c:v>3.91</c:v>
                </c:pt>
                <c:pt idx="8">
                  <c:v>4.13</c:v>
                </c:pt>
                <c:pt idx="9">
                  <c:v>4.3</c:v>
                </c:pt>
                <c:pt idx="10">
                  <c:v>4.25</c:v>
                </c:pt>
                <c:pt idx="11">
                  <c:v>3.91</c:v>
                </c:pt>
                <c:pt idx="12">
                  <c:v>3.85</c:v>
                </c:pt>
                <c:pt idx="13">
                  <c:v>3.93</c:v>
                </c:pt>
                <c:pt idx="14">
                  <c:v>3.93</c:v>
                </c:pt>
                <c:pt idx="15">
                  <c:v>4.23</c:v>
                </c:pt>
                <c:pt idx="16">
                  <c:v>4.34</c:v>
                </c:pt>
                <c:pt idx="17">
                  <c:v>4.1</c:v>
                </c:pt>
                <c:pt idx="18">
                  <c:v>3.56</c:v>
                </c:pt>
                <c:pt idx="19">
                  <c:v>3.49</c:v>
                </c:pt>
                <c:pt idx="20">
                  <c:v>3.54</c:v>
                </c:pt>
                <c:pt idx="21">
                  <c:v>3.33</c:v>
                </c:pt>
                <c:pt idx="22">
                  <c:v>3.91</c:v>
                </c:pt>
                <c:pt idx="23">
                  <c:v>4.18</c:v>
                </c:pt>
                <c:pt idx="24">
                  <c:v>4.2</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4,110,87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4,383,61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6,411,51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4110873</c:v>
                </c:pt>
                <c:pt idx="1">
                  <c:v>3813922</c:v>
                </c:pt>
                <c:pt idx="2">
                  <c:v>4079586</c:v>
                </c:pt>
                <c:pt idx="3">
                  <c:v>3756020</c:v>
                </c:pt>
                <c:pt idx="4">
                  <c:v>4373315</c:v>
                </c:pt>
                <c:pt idx="5">
                  <c:v>4445793</c:v>
                </c:pt>
                <c:pt idx="6">
                  <c:v>4404236</c:v>
                </c:pt>
                <c:pt idx="7">
                  <c:v>4306341</c:v>
                </c:pt>
                <c:pt idx="8">
                  <c:v>4226371</c:v>
                </c:pt>
                <c:pt idx="9">
                  <c:v>4628980</c:v>
                </c:pt>
                <c:pt idx="10">
                  <c:v>4920957</c:v>
                </c:pt>
                <c:pt idx="11">
                  <c:v>5920792</c:v>
                </c:pt>
                <c:pt idx="12">
                  <c:v>4836154</c:v>
                </c:pt>
                <c:pt idx="13">
                  <c:v>4383615</c:v>
                </c:pt>
                <c:pt idx="14">
                  <c:v>4525400</c:v>
                </c:pt>
                <c:pt idx="15">
                  <c:v>4343672</c:v>
                </c:pt>
                <c:pt idx="16">
                  <c:v>4380142</c:v>
                </c:pt>
                <c:pt idx="17">
                  <c:v>4373267</c:v>
                </c:pt>
                <c:pt idx="18">
                  <c:v>4426706</c:v>
                </c:pt>
                <c:pt idx="19">
                  <c:v>5315913</c:v>
                </c:pt>
                <c:pt idx="20">
                  <c:v>5368619</c:v>
                </c:pt>
                <c:pt idx="21">
                  <c:v>5820969</c:v>
                </c:pt>
                <c:pt idx="22">
                  <c:v>6075128</c:v>
                </c:pt>
                <c:pt idx="23">
                  <c:v>7509207</c:v>
                </c:pt>
                <c:pt idx="24">
                  <c:v>6411514</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2.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2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2.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2.19</c:v>
                </c:pt>
                <c:pt idx="1">
                  <c:v>2.2</c:v>
                </c:pt>
                <c:pt idx="2">
                  <c:v>2.08</c:v>
                </c:pt>
                <c:pt idx="3">
                  <c:v>2.01</c:v>
                </c:pt>
                <c:pt idx="4">
                  <c:v>2.28</c:v>
                </c:pt>
                <c:pt idx="5">
                  <c:v>2.4</c:v>
                </c:pt>
                <c:pt idx="6">
                  <c:v>2.01</c:v>
                </c:pt>
                <c:pt idx="7">
                  <c:v>2.29</c:v>
                </c:pt>
                <c:pt idx="8">
                  <c:v>2.31</c:v>
                </c:pt>
                <c:pt idx="9">
                  <c:v>2.1</c:v>
                </c:pt>
                <c:pt idx="10">
                  <c:v>2.26</c:v>
                </c:pt>
                <c:pt idx="11">
                  <c:v>2.09</c:v>
                </c:pt>
                <c:pt idx="12">
                  <c:v>2.26</c:v>
                </c:pt>
                <c:pt idx="13">
                  <c:v>2.22</c:v>
                </c:pt>
                <c:pt idx="14">
                  <c:v>2.15</c:v>
                </c:pt>
                <c:pt idx="15">
                  <c:v>2.05</c:v>
                </c:pt>
                <c:pt idx="16">
                  <c:v>2.12</c:v>
                </c:pt>
                <c:pt idx="17">
                  <c:v>2.1</c:v>
                </c:pt>
                <c:pt idx="18">
                  <c:v>2.12</c:v>
                </c:pt>
                <c:pt idx="19">
                  <c:v>2.05</c:v>
                </c:pt>
                <c:pt idx="20">
                  <c:v>2.21</c:v>
                </c:pt>
                <c:pt idx="21">
                  <c:v>2.23</c:v>
                </c:pt>
                <c:pt idx="22">
                  <c:v>2.17</c:v>
                </c:pt>
                <c:pt idx="23">
                  <c:v>2.05</c:v>
                </c:pt>
                <c:pt idx="24">
                  <c:v>2.15</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989,8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870,61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981,39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989879</c:v>
                </c:pt>
                <c:pt idx="1">
                  <c:v>966541</c:v>
                </c:pt>
                <c:pt idx="2">
                  <c:v>951652</c:v>
                </c:pt>
                <c:pt idx="3">
                  <c:v>884810</c:v>
                </c:pt>
                <c:pt idx="4">
                  <c:v>750370</c:v>
                </c:pt>
                <c:pt idx="5">
                  <c:v>874566</c:v>
                </c:pt>
                <c:pt idx="6">
                  <c:v>785955</c:v>
                </c:pt>
                <c:pt idx="7">
                  <c:v>899524</c:v>
                </c:pt>
                <c:pt idx="8">
                  <c:v>896005</c:v>
                </c:pt>
                <c:pt idx="9">
                  <c:v>962021</c:v>
                </c:pt>
                <c:pt idx="10">
                  <c:v>947188</c:v>
                </c:pt>
                <c:pt idx="11">
                  <c:v>1269446</c:v>
                </c:pt>
                <c:pt idx="12">
                  <c:v>939090</c:v>
                </c:pt>
                <c:pt idx="13">
                  <c:v>870613</c:v>
                </c:pt>
                <c:pt idx="14">
                  <c:v>963127</c:v>
                </c:pt>
                <c:pt idx="15">
                  <c:v>918077</c:v>
                </c:pt>
                <c:pt idx="16">
                  <c:v>761758</c:v>
                </c:pt>
                <c:pt idx="17">
                  <c:v>862738</c:v>
                </c:pt>
                <c:pt idx="18">
                  <c:v>786357</c:v>
                </c:pt>
                <c:pt idx="19">
                  <c:v>856794</c:v>
                </c:pt>
                <c:pt idx="20">
                  <c:v>852964</c:v>
                </c:pt>
                <c:pt idx="21">
                  <c:v>896062</c:v>
                </c:pt>
                <c:pt idx="22">
                  <c:v>917531</c:v>
                </c:pt>
                <c:pt idx="23">
                  <c:v>1276933</c:v>
                </c:pt>
                <c:pt idx="24">
                  <c:v>981395</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2.2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2.1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2.2</c:v>
                </c:pt>
                <c:pt idx="1">
                  <c:v>1.93</c:v>
                </c:pt>
                <c:pt idx="2">
                  <c:v>1.83</c:v>
                </c:pt>
                <c:pt idx="3">
                  <c:v>1.9</c:v>
                </c:pt>
                <c:pt idx="4">
                  <c:v>2.04</c:v>
                </c:pt>
                <c:pt idx="5">
                  <c:v>1.99</c:v>
                </c:pt>
                <c:pt idx="6">
                  <c:v>2.04</c:v>
                </c:pt>
                <c:pt idx="7">
                  <c:v>2.13</c:v>
                </c:pt>
                <c:pt idx="8">
                  <c:v>2.16</c:v>
                </c:pt>
                <c:pt idx="9">
                  <c:v>2.11</c:v>
                </c:pt>
                <c:pt idx="10">
                  <c:v>2.06</c:v>
                </c:pt>
                <c:pt idx="11">
                  <c:v>1.76</c:v>
                </c:pt>
                <c:pt idx="12">
                  <c:v>1.89</c:v>
                </c:pt>
                <c:pt idx="13">
                  <c:v>2.0</c:v>
                </c:pt>
                <c:pt idx="14">
                  <c:v>2.06</c:v>
                </c:pt>
                <c:pt idx="15">
                  <c:v>2.13</c:v>
                </c:pt>
                <c:pt idx="16">
                  <c:v>2.27</c:v>
                </c:pt>
                <c:pt idx="17">
                  <c:v>1.85</c:v>
                </c:pt>
                <c:pt idx="18">
                  <c:v>1.98</c:v>
                </c:pt>
                <c:pt idx="19">
                  <c:v>2.05</c:v>
                </c:pt>
                <c:pt idx="20">
                  <c:v>1.95</c:v>
                </c:pt>
                <c:pt idx="21">
                  <c:v>1.88</c:v>
                </c:pt>
                <c:pt idx="22">
                  <c:v>2.07</c:v>
                </c:pt>
                <c:pt idx="23">
                  <c:v>1.94</c:v>
                </c:pt>
                <c:pt idx="24">
                  <c:v>2.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106,10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121,24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531,73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1106108</c:v>
                </c:pt>
                <c:pt idx="1">
                  <c:v>1023555</c:v>
                </c:pt>
                <c:pt idx="2">
                  <c:v>988618</c:v>
                </c:pt>
                <c:pt idx="3">
                  <c:v>963273</c:v>
                </c:pt>
                <c:pt idx="4">
                  <c:v>903451</c:v>
                </c:pt>
                <c:pt idx="5">
                  <c:v>913311</c:v>
                </c:pt>
                <c:pt idx="6">
                  <c:v>878166</c:v>
                </c:pt>
                <c:pt idx="7">
                  <c:v>1089621</c:v>
                </c:pt>
                <c:pt idx="8">
                  <c:v>1113802</c:v>
                </c:pt>
                <c:pt idx="9">
                  <c:v>1241163</c:v>
                </c:pt>
                <c:pt idx="10">
                  <c:v>1238344</c:v>
                </c:pt>
                <c:pt idx="11">
                  <c:v>1358429</c:v>
                </c:pt>
                <c:pt idx="12">
                  <c:v>1180189</c:v>
                </c:pt>
                <c:pt idx="13">
                  <c:v>1121240</c:v>
                </c:pt>
                <c:pt idx="14">
                  <c:v>1137091</c:v>
                </c:pt>
                <c:pt idx="15">
                  <c:v>1118156</c:v>
                </c:pt>
                <c:pt idx="16">
                  <c:v>1064407</c:v>
                </c:pt>
                <c:pt idx="17">
                  <c:v>1088564</c:v>
                </c:pt>
                <c:pt idx="18">
                  <c:v>1086177</c:v>
                </c:pt>
                <c:pt idx="19">
                  <c:v>1215756</c:v>
                </c:pt>
                <c:pt idx="20">
                  <c:v>1297130</c:v>
                </c:pt>
                <c:pt idx="21">
                  <c:v>1411996</c:v>
                </c:pt>
                <c:pt idx="22">
                  <c:v>1532821</c:v>
                </c:pt>
                <c:pt idx="23">
                  <c:v>1726222</c:v>
                </c:pt>
                <c:pt idx="24">
                  <c:v>1531734</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2.5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6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2.5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2.55</c:v>
                </c:pt>
                <c:pt idx="1">
                  <c:v>2.55</c:v>
                </c:pt>
                <c:pt idx="2">
                  <c:v>2.59</c:v>
                </c:pt>
                <c:pt idx="3">
                  <c:v>2.62</c:v>
                </c:pt>
                <c:pt idx="4">
                  <c:v>2.57</c:v>
                </c:pt>
                <c:pt idx="5">
                  <c:v>2.64</c:v>
                </c:pt>
                <c:pt idx="6">
                  <c:v>2.52</c:v>
                </c:pt>
                <c:pt idx="7">
                  <c:v>2.49</c:v>
                </c:pt>
                <c:pt idx="8">
                  <c:v>2.49</c:v>
                </c:pt>
                <c:pt idx="9">
                  <c:v>2.55</c:v>
                </c:pt>
                <c:pt idx="10">
                  <c:v>2.58</c:v>
                </c:pt>
                <c:pt idx="11">
                  <c:v>2.59</c:v>
                </c:pt>
                <c:pt idx="12">
                  <c:v>2.63</c:v>
                </c:pt>
                <c:pt idx="13">
                  <c:v>2.61</c:v>
                </c:pt>
                <c:pt idx="14">
                  <c:v>2.52</c:v>
                </c:pt>
                <c:pt idx="15">
                  <c:v>2.5</c:v>
                </c:pt>
                <c:pt idx="16">
                  <c:v>2.42</c:v>
                </c:pt>
                <c:pt idx="17">
                  <c:v>2.39</c:v>
                </c:pt>
                <c:pt idx="18">
                  <c:v>2.38</c:v>
                </c:pt>
                <c:pt idx="19">
                  <c:v>2.49</c:v>
                </c:pt>
                <c:pt idx="20">
                  <c:v>2.5</c:v>
                </c:pt>
                <c:pt idx="21">
                  <c:v>2.47</c:v>
                </c:pt>
                <c:pt idx="22">
                  <c:v>2.44</c:v>
                </c:pt>
                <c:pt idx="23">
                  <c:v>2.49</c:v>
                </c:pt>
                <c:pt idx="24">
                  <c:v>2.58</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11,20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68,60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63,87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211208</c:v>
                </c:pt>
                <c:pt idx="1">
                  <c:v>180167</c:v>
                </c:pt>
                <c:pt idx="2">
                  <c:v>193525</c:v>
                </c:pt>
                <c:pt idx="3">
                  <c:v>164278</c:v>
                </c:pt>
                <c:pt idx="4">
                  <c:v>185032</c:v>
                </c:pt>
                <c:pt idx="5">
                  <c:v>157472</c:v>
                </c:pt>
                <c:pt idx="6">
                  <c:v>167994</c:v>
                </c:pt>
                <c:pt idx="7">
                  <c:v>273942</c:v>
                </c:pt>
                <c:pt idx="8">
                  <c:v>209251</c:v>
                </c:pt>
                <c:pt idx="9">
                  <c:v>221916</c:v>
                </c:pt>
                <c:pt idx="10">
                  <c:v>250738</c:v>
                </c:pt>
                <c:pt idx="11">
                  <c:v>231830</c:v>
                </c:pt>
                <c:pt idx="12">
                  <c:v>230205</c:v>
                </c:pt>
                <c:pt idx="13">
                  <c:v>168601</c:v>
                </c:pt>
                <c:pt idx="14">
                  <c:v>179330</c:v>
                </c:pt>
                <c:pt idx="15">
                  <c:v>147771</c:v>
                </c:pt>
                <c:pt idx="16">
                  <c:v>161502</c:v>
                </c:pt>
                <c:pt idx="17">
                  <c:v>128337</c:v>
                </c:pt>
                <c:pt idx="18">
                  <c:v>124500</c:v>
                </c:pt>
                <c:pt idx="19">
                  <c:v>143461</c:v>
                </c:pt>
                <c:pt idx="20">
                  <c:v>132088</c:v>
                </c:pt>
                <c:pt idx="21">
                  <c:v>153277</c:v>
                </c:pt>
                <c:pt idx="22">
                  <c:v>167834</c:v>
                </c:pt>
                <c:pt idx="23">
                  <c:v>175146</c:v>
                </c:pt>
                <c:pt idx="24">
                  <c:v>163878</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6.1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7.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6.1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6.16</c:v>
                </c:pt>
                <c:pt idx="1">
                  <c:v>6.29</c:v>
                </c:pt>
                <c:pt idx="2">
                  <c:v>5.98</c:v>
                </c:pt>
                <c:pt idx="3">
                  <c:v>5.95</c:v>
                </c:pt>
                <c:pt idx="4">
                  <c:v>6.19</c:v>
                </c:pt>
                <c:pt idx="5">
                  <c:v>6.31</c:v>
                </c:pt>
                <c:pt idx="6">
                  <c:v>6.07</c:v>
                </c:pt>
                <c:pt idx="7">
                  <c:v>6.31</c:v>
                </c:pt>
                <c:pt idx="8">
                  <c:v>6.76</c:v>
                </c:pt>
                <c:pt idx="9">
                  <c:v>6.59</c:v>
                </c:pt>
                <c:pt idx="10">
                  <c:v>6.19</c:v>
                </c:pt>
                <c:pt idx="11">
                  <c:v>7.01</c:v>
                </c:pt>
                <c:pt idx="12">
                  <c:v>6.29</c:v>
                </c:pt>
                <c:pt idx="13">
                  <c:v>7.02</c:v>
                </c:pt>
                <c:pt idx="14">
                  <c:v>6.4</c:v>
                </c:pt>
                <c:pt idx="15">
                  <c:v>6.59</c:v>
                </c:pt>
                <c:pt idx="16">
                  <c:v>6.83</c:v>
                </c:pt>
                <c:pt idx="17">
                  <c:v>7.0</c:v>
                </c:pt>
                <c:pt idx="18">
                  <c:v>6.78</c:v>
                </c:pt>
                <c:pt idx="19">
                  <c:v>6.96</c:v>
                </c:pt>
                <c:pt idx="20">
                  <c:v>6.44</c:v>
                </c:pt>
                <c:pt idx="21">
                  <c:v>6.35</c:v>
                </c:pt>
                <c:pt idx="22">
                  <c:v>6.43</c:v>
                </c:pt>
                <c:pt idx="23">
                  <c:v>6.63</c:v>
                </c:pt>
                <c:pt idx="24">
                  <c:v>6.18</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5,043,68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4,414,40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5,763,32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5043686</c:v>
                </c:pt>
                <c:pt idx="1">
                  <c:v>4267598</c:v>
                </c:pt>
                <c:pt idx="2">
                  <c:v>4162407</c:v>
                </c:pt>
                <c:pt idx="3">
                  <c:v>3701814</c:v>
                </c:pt>
                <c:pt idx="4">
                  <c:v>4383956</c:v>
                </c:pt>
                <c:pt idx="5">
                  <c:v>3801307</c:v>
                </c:pt>
                <c:pt idx="6">
                  <c:v>4059354</c:v>
                </c:pt>
                <c:pt idx="7">
                  <c:v>5363694</c:v>
                </c:pt>
                <c:pt idx="8">
                  <c:v>4835409</c:v>
                </c:pt>
                <c:pt idx="9">
                  <c:v>5899862</c:v>
                </c:pt>
                <c:pt idx="10">
                  <c:v>6030279</c:v>
                </c:pt>
                <c:pt idx="11">
                  <c:v>5629931</c:v>
                </c:pt>
                <c:pt idx="12">
                  <c:v>5082096</c:v>
                </c:pt>
                <c:pt idx="13">
                  <c:v>4414402</c:v>
                </c:pt>
                <c:pt idx="14">
                  <c:v>4199212</c:v>
                </c:pt>
                <c:pt idx="15">
                  <c:v>3759828</c:v>
                </c:pt>
                <c:pt idx="16">
                  <c:v>4303459</c:v>
                </c:pt>
                <c:pt idx="17">
                  <c:v>3502173</c:v>
                </c:pt>
                <c:pt idx="18">
                  <c:v>3524461</c:v>
                </c:pt>
                <c:pt idx="19">
                  <c:v>4065347</c:v>
                </c:pt>
                <c:pt idx="20">
                  <c:v>4533678</c:v>
                </c:pt>
                <c:pt idx="21">
                  <c:v>4834497</c:v>
                </c:pt>
                <c:pt idx="22">
                  <c:v>5227591</c:v>
                </c:pt>
                <c:pt idx="23">
                  <c:v>5420971</c:v>
                </c:pt>
                <c:pt idx="24">
                  <c:v>5763325</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9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4.2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3.4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96</c:v>
                </c:pt>
                <c:pt idx="1">
                  <c:v>3.81</c:v>
                </c:pt>
                <c:pt idx="2">
                  <c:v>3.56</c:v>
                </c:pt>
                <c:pt idx="3">
                  <c:v>3.44</c:v>
                </c:pt>
                <c:pt idx="4">
                  <c:v>3.9</c:v>
                </c:pt>
                <c:pt idx="5">
                  <c:v>3.7</c:v>
                </c:pt>
                <c:pt idx="6">
                  <c:v>3.41</c:v>
                </c:pt>
                <c:pt idx="7">
                  <c:v>3.83</c:v>
                </c:pt>
                <c:pt idx="8">
                  <c:v>3.85</c:v>
                </c:pt>
                <c:pt idx="9">
                  <c:v>4.02</c:v>
                </c:pt>
                <c:pt idx="10">
                  <c:v>3.83</c:v>
                </c:pt>
                <c:pt idx="11">
                  <c:v>3.99</c:v>
                </c:pt>
                <c:pt idx="12">
                  <c:v>4.11</c:v>
                </c:pt>
                <c:pt idx="13">
                  <c:v>4.27</c:v>
                </c:pt>
                <c:pt idx="14">
                  <c:v>3.74</c:v>
                </c:pt>
                <c:pt idx="15">
                  <c:v>3.92</c:v>
                </c:pt>
                <c:pt idx="16">
                  <c:v>3.98</c:v>
                </c:pt>
                <c:pt idx="17">
                  <c:v>4.09</c:v>
                </c:pt>
                <c:pt idx="18">
                  <c:v>3.94</c:v>
                </c:pt>
                <c:pt idx="19">
                  <c:v>3.97</c:v>
                </c:pt>
                <c:pt idx="20">
                  <c:v>3.73</c:v>
                </c:pt>
                <c:pt idx="21">
                  <c:v>3.74</c:v>
                </c:pt>
                <c:pt idx="22">
                  <c:v>3.83</c:v>
                </c:pt>
                <c:pt idx="23">
                  <c:v>3.83</c:v>
                </c:pt>
                <c:pt idx="24">
                  <c:v>3.48</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520,04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503,09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619,43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520045</c:v>
                </c:pt>
                <c:pt idx="1">
                  <c:v>477129</c:v>
                </c:pt>
                <c:pt idx="2">
                  <c:v>486471</c:v>
                </c:pt>
                <c:pt idx="3">
                  <c:v>451319</c:v>
                </c:pt>
                <c:pt idx="4">
                  <c:v>524160</c:v>
                </c:pt>
                <c:pt idx="5">
                  <c:v>525081</c:v>
                </c:pt>
                <c:pt idx="6">
                  <c:v>470866</c:v>
                </c:pt>
                <c:pt idx="7">
                  <c:v>540271</c:v>
                </c:pt>
                <c:pt idx="8">
                  <c:v>548069</c:v>
                </c:pt>
                <c:pt idx="9">
                  <c:v>509550</c:v>
                </c:pt>
                <c:pt idx="10">
                  <c:v>537709</c:v>
                </c:pt>
                <c:pt idx="11">
                  <c:v>565417</c:v>
                </c:pt>
                <c:pt idx="12">
                  <c:v>502828</c:v>
                </c:pt>
                <c:pt idx="13">
                  <c:v>503095</c:v>
                </c:pt>
                <c:pt idx="14">
                  <c:v>501820</c:v>
                </c:pt>
                <c:pt idx="15">
                  <c:v>432491</c:v>
                </c:pt>
                <c:pt idx="16">
                  <c:v>511478</c:v>
                </c:pt>
                <c:pt idx="17">
                  <c:v>466688</c:v>
                </c:pt>
                <c:pt idx="18">
                  <c:v>484580</c:v>
                </c:pt>
                <c:pt idx="19">
                  <c:v>552986</c:v>
                </c:pt>
                <c:pt idx="20">
                  <c:v>557853</c:v>
                </c:pt>
                <c:pt idx="21">
                  <c:v>563920</c:v>
                </c:pt>
                <c:pt idx="22">
                  <c:v>587880</c:v>
                </c:pt>
                <c:pt idx="23">
                  <c:v>627598</c:v>
                </c:pt>
                <c:pt idx="24">
                  <c:v>619431</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1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3.1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3.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1</c:v>
                </c:pt>
                <c:pt idx="1">
                  <c:v>3.11</c:v>
                </c:pt>
                <c:pt idx="2">
                  <c:v>3.12</c:v>
                </c:pt>
                <c:pt idx="3">
                  <c:v>2.93</c:v>
                </c:pt>
                <c:pt idx="4">
                  <c:v>3.0</c:v>
                </c:pt>
                <c:pt idx="5">
                  <c:v>2.95</c:v>
                </c:pt>
                <c:pt idx="6">
                  <c:v>2.95</c:v>
                </c:pt>
                <c:pt idx="7">
                  <c:v>3.21</c:v>
                </c:pt>
                <c:pt idx="8">
                  <c:v>3.07</c:v>
                </c:pt>
                <c:pt idx="9">
                  <c:v>3.31</c:v>
                </c:pt>
                <c:pt idx="10">
                  <c:v>3.35</c:v>
                </c:pt>
                <c:pt idx="11">
                  <c:v>3.24</c:v>
                </c:pt>
                <c:pt idx="12">
                  <c:v>3.16</c:v>
                </c:pt>
                <c:pt idx="13">
                  <c:v>3.18</c:v>
                </c:pt>
                <c:pt idx="14">
                  <c:v>3.03</c:v>
                </c:pt>
                <c:pt idx="15">
                  <c:v>3.11</c:v>
                </c:pt>
                <c:pt idx="16">
                  <c:v>3.11</c:v>
                </c:pt>
                <c:pt idx="17">
                  <c:v>3.09</c:v>
                </c:pt>
                <c:pt idx="18">
                  <c:v>3.15</c:v>
                </c:pt>
                <c:pt idx="19">
                  <c:v>3.16</c:v>
                </c:pt>
                <c:pt idx="20">
                  <c:v>3.09</c:v>
                </c:pt>
                <c:pt idx="21">
                  <c:v>3.11</c:v>
                </c:pt>
                <c:pt idx="22">
                  <c:v>3.2</c:v>
                </c:pt>
                <c:pt idx="23">
                  <c:v>3.09</c:v>
                </c:pt>
                <c:pt idx="24">
                  <c:v>3.02</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594,49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374,71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2,442,92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1594496</c:v>
                </c:pt>
                <c:pt idx="1">
                  <c:v>1341272</c:v>
                </c:pt>
                <c:pt idx="2">
                  <c:v>1345815</c:v>
                </c:pt>
                <c:pt idx="3">
                  <c:v>1134713</c:v>
                </c:pt>
                <c:pt idx="4">
                  <c:v>1301683</c:v>
                </c:pt>
                <c:pt idx="5">
                  <c:v>1147637</c:v>
                </c:pt>
                <c:pt idx="6">
                  <c:v>1249932</c:v>
                </c:pt>
                <c:pt idx="7">
                  <c:v>1815758</c:v>
                </c:pt>
                <c:pt idx="8">
                  <c:v>1607058</c:v>
                </c:pt>
                <c:pt idx="9">
                  <c:v>1821467</c:v>
                </c:pt>
                <c:pt idx="10">
                  <c:v>1886200</c:v>
                </c:pt>
                <c:pt idx="11">
                  <c:v>1887946</c:v>
                </c:pt>
                <c:pt idx="12">
                  <c:v>1629623</c:v>
                </c:pt>
                <c:pt idx="13">
                  <c:v>1374710</c:v>
                </c:pt>
                <c:pt idx="14">
                  <c:v>1349345</c:v>
                </c:pt>
                <c:pt idx="15">
                  <c:v>1239917</c:v>
                </c:pt>
                <c:pt idx="16">
                  <c:v>1439539</c:v>
                </c:pt>
                <c:pt idx="17">
                  <c:v>1192784</c:v>
                </c:pt>
                <c:pt idx="18">
                  <c:v>1293560</c:v>
                </c:pt>
                <c:pt idx="19">
                  <c:v>1512087</c:v>
                </c:pt>
                <c:pt idx="20">
                  <c:v>1679346</c:v>
                </c:pt>
                <c:pt idx="21">
                  <c:v>1829037</c:v>
                </c:pt>
                <c:pt idx="22">
                  <c:v>2011242</c:v>
                </c:pt>
                <c:pt idx="23">
                  <c:v>2238078</c:v>
                </c:pt>
                <c:pt idx="24">
                  <c:v>2442928</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7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3.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2.7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71</c:v>
                </c:pt>
                <c:pt idx="1">
                  <c:v>3.65</c:v>
                </c:pt>
                <c:pt idx="2">
                  <c:v>3.46</c:v>
                </c:pt>
                <c:pt idx="3">
                  <c:v>3.37</c:v>
                </c:pt>
                <c:pt idx="4">
                  <c:v>3.57</c:v>
                </c:pt>
                <c:pt idx="5">
                  <c:v>3.62</c:v>
                </c:pt>
                <c:pt idx="6">
                  <c:v>3.22</c:v>
                </c:pt>
                <c:pt idx="7">
                  <c:v>3.51</c:v>
                </c:pt>
                <c:pt idx="8">
                  <c:v>3.43</c:v>
                </c:pt>
                <c:pt idx="9">
                  <c:v>3.17</c:v>
                </c:pt>
                <c:pt idx="10">
                  <c:v>3.35</c:v>
                </c:pt>
                <c:pt idx="11">
                  <c:v>3.57</c:v>
                </c:pt>
                <c:pt idx="12">
                  <c:v>3.62</c:v>
                </c:pt>
                <c:pt idx="13">
                  <c:v>3.77</c:v>
                </c:pt>
                <c:pt idx="14">
                  <c:v>3.58</c:v>
                </c:pt>
                <c:pt idx="15">
                  <c:v>3.28</c:v>
                </c:pt>
                <c:pt idx="16">
                  <c:v>3.64</c:v>
                </c:pt>
                <c:pt idx="17">
                  <c:v>3.5</c:v>
                </c:pt>
                <c:pt idx="18">
                  <c:v>3.43</c:v>
                </c:pt>
                <c:pt idx="19">
                  <c:v>3.65</c:v>
                </c:pt>
                <c:pt idx="20">
                  <c:v>3.05</c:v>
                </c:pt>
                <c:pt idx="21">
                  <c:v>3.13</c:v>
                </c:pt>
                <c:pt idx="22">
                  <c:v>3.44</c:v>
                </c:pt>
                <c:pt idx="23">
                  <c:v>3.45</c:v>
                </c:pt>
                <c:pt idx="24">
                  <c:v>2.75</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503,56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435,51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549,92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503563</c:v>
                </c:pt>
                <c:pt idx="1">
                  <c:v>483616</c:v>
                </c:pt>
                <c:pt idx="2">
                  <c:v>479453</c:v>
                </c:pt>
                <c:pt idx="3">
                  <c:v>441226</c:v>
                </c:pt>
                <c:pt idx="4">
                  <c:v>569960</c:v>
                </c:pt>
                <c:pt idx="5">
                  <c:v>504070</c:v>
                </c:pt>
                <c:pt idx="6">
                  <c:v>442229</c:v>
                </c:pt>
                <c:pt idx="7">
                  <c:v>544377</c:v>
                </c:pt>
                <c:pt idx="8">
                  <c:v>463737</c:v>
                </c:pt>
                <c:pt idx="9">
                  <c:v>412118</c:v>
                </c:pt>
                <c:pt idx="10">
                  <c:v>441688</c:v>
                </c:pt>
                <c:pt idx="11">
                  <c:v>477047</c:v>
                </c:pt>
                <c:pt idx="12">
                  <c:v>428909</c:v>
                </c:pt>
                <c:pt idx="13">
                  <c:v>435519</c:v>
                </c:pt>
                <c:pt idx="14">
                  <c:v>437287</c:v>
                </c:pt>
                <c:pt idx="15">
                  <c:v>365822</c:v>
                </c:pt>
                <c:pt idx="16">
                  <c:v>412027</c:v>
                </c:pt>
                <c:pt idx="17">
                  <c:v>375545</c:v>
                </c:pt>
                <c:pt idx="18">
                  <c:v>411722</c:v>
                </c:pt>
                <c:pt idx="19">
                  <c:v>469890</c:v>
                </c:pt>
                <c:pt idx="20">
                  <c:v>480731</c:v>
                </c:pt>
                <c:pt idx="21">
                  <c:v>482534</c:v>
                </c:pt>
                <c:pt idx="22">
                  <c:v>504813</c:v>
                </c:pt>
                <c:pt idx="23">
                  <c:v>554490</c:v>
                </c:pt>
                <c:pt idx="24">
                  <c:v>549926</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2.5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5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2.5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2.55</c:v>
                </c:pt>
                <c:pt idx="1">
                  <c:v>2.58</c:v>
                </c:pt>
                <c:pt idx="2">
                  <c:v>2.53</c:v>
                </c:pt>
                <c:pt idx="3">
                  <c:v>2.42</c:v>
                </c:pt>
                <c:pt idx="4">
                  <c:v>2.51</c:v>
                </c:pt>
                <c:pt idx="5">
                  <c:v>2.44</c:v>
                </c:pt>
                <c:pt idx="6">
                  <c:v>2.39</c:v>
                </c:pt>
                <c:pt idx="7">
                  <c:v>2.53</c:v>
                </c:pt>
                <c:pt idx="8">
                  <c:v>2.37</c:v>
                </c:pt>
                <c:pt idx="9">
                  <c:v>2.43</c:v>
                </c:pt>
                <c:pt idx="10">
                  <c:v>2.51</c:v>
                </c:pt>
                <c:pt idx="11">
                  <c:v>2.49</c:v>
                </c:pt>
                <c:pt idx="12">
                  <c:v>2.45</c:v>
                </c:pt>
                <c:pt idx="13">
                  <c:v>2.5</c:v>
                </c:pt>
                <c:pt idx="14">
                  <c:v>2.44</c:v>
                </c:pt>
                <c:pt idx="15">
                  <c:v>2.41</c:v>
                </c:pt>
                <c:pt idx="16">
                  <c:v>2.35</c:v>
                </c:pt>
                <c:pt idx="17">
                  <c:v>2.39</c:v>
                </c:pt>
                <c:pt idx="18">
                  <c:v>2.53</c:v>
                </c:pt>
                <c:pt idx="19">
                  <c:v>2.58</c:v>
                </c:pt>
                <c:pt idx="20">
                  <c:v>2.59</c:v>
                </c:pt>
                <c:pt idx="21">
                  <c:v>2.58</c:v>
                </c:pt>
                <c:pt idx="22">
                  <c:v>2.65</c:v>
                </c:pt>
                <c:pt idx="23">
                  <c:v>2.63</c:v>
                </c:pt>
                <c:pt idx="24">
                  <c:v>2.59</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05,20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73,08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66,4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105201</c:v>
                </c:pt>
                <c:pt idx="1">
                  <c:v>88084</c:v>
                </c:pt>
                <c:pt idx="2">
                  <c:v>80010</c:v>
                </c:pt>
                <c:pt idx="3">
                  <c:v>72103</c:v>
                </c:pt>
                <c:pt idx="4">
                  <c:v>87133</c:v>
                </c:pt>
                <c:pt idx="5">
                  <c:v>75410</c:v>
                </c:pt>
                <c:pt idx="6">
                  <c:v>71633</c:v>
                </c:pt>
                <c:pt idx="7">
                  <c:v>80835</c:v>
                </c:pt>
                <c:pt idx="8">
                  <c:v>83397</c:v>
                </c:pt>
                <c:pt idx="9">
                  <c:v>87536</c:v>
                </c:pt>
                <c:pt idx="10">
                  <c:v>88989</c:v>
                </c:pt>
                <c:pt idx="11">
                  <c:v>94621</c:v>
                </c:pt>
                <c:pt idx="12">
                  <c:v>89011</c:v>
                </c:pt>
                <c:pt idx="13">
                  <c:v>73089</c:v>
                </c:pt>
                <c:pt idx="14">
                  <c:v>70007</c:v>
                </c:pt>
                <c:pt idx="15">
                  <c:v>57768</c:v>
                </c:pt>
                <c:pt idx="16">
                  <c:v>69911</c:v>
                </c:pt>
                <c:pt idx="17">
                  <c:v>53393</c:v>
                </c:pt>
                <c:pt idx="18">
                  <c:v>56393</c:v>
                </c:pt>
                <c:pt idx="19">
                  <c:v>66320</c:v>
                </c:pt>
                <c:pt idx="20">
                  <c:v>59792</c:v>
                </c:pt>
                <c:pt idx="21">
                  <c:v>64522</c:v>
                </c:pt>
                <c:pt idx="22">
                  <c:v>71308</c:v>
                </c:pt>
                <c:pt idx="23">
                  <c:v>73856</c:v>
                </c:pt>
                <c:pt idx="24">
                  <c:v>66482</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4.3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4.7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4.6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4.34</c:v>
                </c:pt>
                <c:pt idx="1">
                  <c:v>4.35</c:v>
                </c:pt>
                <c:pt idx="2">
                  <c:v>4.34</c:v>
                </c:pt>
                <c:pt idx="3">
                  <c:v>4.32</c:v>
                </c:pt>
                <c:pt idx="4">
                  <c:v>4.31</c:v>
                </c:pt>
                <c:pt idx="5">
                  <c:v>4.12</c:v>
                </c:pt>
                <c:pt idx="6">
                  <c:v>4.44</c:v>
                </c:pt>
                <c:pt idx="7">
                  <c:v>4.59</c:v>
                </c:pt>
                <c:pt idx="8">
                  <c:v>4.73</c:v>
                </c:pt>
                <c:pt idx="9">
                  <c:v>4.81</c:v>
                </c:pt>
                <c:pt idx="10">
                  <c:v>4.7</c:v>
                </c:pt>
                <c:pt idx="11">
                  <c:v>4.73</c:v>
                </c:pt>
                <c:pt idx="12">
                  <c:v>4.69</c:v>
                </c:pt>
                <c:pt idx="13">
                  <c:v>4.72</c:v>
                </c:pt>
                <c:pt idx="14">
                  <c:v>4.7</c:v>
                </c:pt>
                <c:pt idx="15">
                  <c:v>4.7</c:v>
                </c:pt>
                <c:pt idx="16">
                  <c:v>4.69</c:v>
                </c:pt>
                <c:pt idx="17">
                  <c:v>4.7</c:v>
                </c:pt>
                <c:pt idx="18">
                  <c:v>4.62</c:v>
                </c:pt>
                <c:pt idx="19">
                  <c:v>4.61</c:v>
                </c:pt>
                <c:pt idx="20">
                  <c:v>4.59</c:v>
                </c:pt>
                <c:pt idx="21">
                  <c:v>4.6</c:v>
                </c:pt>
                <c:pt idx="22">
                  <c:v>4.6</c:v>
                </c:pt>
                <c:pt idx="23">
                  <c:v>4.61</c:v>
                </c:pt>
                <c:pt idx="24">
                  <c:v>4.62</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3,187,42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478,14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2,947,62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3187427</c:v>
                </c:pt>
                <c:pt idx="1">
                  <c:v>2556391</c:v>
                </c:pt>
                <c:pt idx="2">
                  <c:v>2542052</c:v>
                </c:pt>
                <c:pt idx="3">
                  <c:v>2321077</c:v>
                </c:pt>
                <c:pt idx="4">
                  <c:v>2755727</c:v>
                </c:pt>
                <c:pt idx="5">
                  <c:v>2241248</c:v>
                </c:pt>
                <c:pt idx="6">
                  <c:v>2142815</c:v>
                </c:pt>
                <c:pt idx="7">
                  <c:v>2464534</c:v>
                </c:pt>
                <c:pt idx="8">
                  <c:v>2563858</c:v>
                </c:pt>
                <c:pt idx="9">
                  <c:v>2774784</c:v>
                </c:pt>
                <c:pt idx="10">
                  <c:v>2956752</c:v>
                </c:pt>
                <c:pt idx="11">
                  <c:v>3223292</c:v>
                </c:pt>
                <c:pt idx="12">
                  <c:v>3115953</c:v>
                </c:pt>
                <c:pt idx="13">
                  <c:v>2478143</c:v>
                </c:pt>
                <c:pt idx="14">
                  <c:v>2436513</c:v>
                </c:pt>
                <c:pt idx="15">
                  <c:v>2215304</c:v>
                </c:pt>
                <c:pt idx="16">
                  <c:v>2658736</c:v>
                </c:pt>
                <c:pt idx="17">
                  <c:v>2174268</c:v>
                </c:pt>
                <c:pt idx="18">
                  <c:v>2250691</c:v>
                </c:pt>
                <c:pt idx="19">
                  <c:v>2561568</c:v>
                </c:pt>
                <c:pt idx="20">
                  <c:v>2478105</c:v>
                </c:pt>
                <c:pt idx="21">
                  <c:v>2701369</c:v>
                </c:pt>
                <c:pt idx="22">
                  <c:v>3042808</c:v>
                </c:pt>
                <c:pt idx="23">
                  <c:v>3073033</c:v>
                </c:pt>
                <c:pt idx="24">
                  <c:v>2947627</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1.3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3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2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1.32</c:v>
                </c:pt>
                <c:pt idx="1">
                  <c:v>1.26</c:v>
                </c:pt>
                <c:pt idx="2">
                  <c:v>1.23</c:v>
                </c:pt>
                <c:pt idx="3">
                  <c:v>1.23</c:v>
                </c:pt>
                <c:pt idx="4">
                  <c:v>1.25</c:v>
                </c:pt>
                <c:pt idx="5">
                  <c:v>1.23</c:v>
                </c:pt>
                <c:pt idx="6">
                  <c:v>1.26</c:v>
                </c:pt>
                <c:pt idx="7">
                  <c:v>1.29</c:v>
                </c:pt>
                <c:pt idx="8">
                  <c:v>1.32</c:v>
                </c:pt>
                <c:pt idx="9">
                  <c:v>1.33</c:v>
                </c:pt>
                <c:pt idx="10">
                  <c:v>1.33</c:v>
                </c:pt>
                <c:pt idx="11">
                  <c:v>1.36</c:v>
                </c:pt>
                <c:pt idx="12">
                  <c:v>1.35</c:v>
                </c:pt>
                <c:pt idx="13">
                  <c:v>1.31</c:v>
                </c:pt>
                <c:pt idx="14">
                  <c:v>1.26</c:v>
                </c:pt>
                <c:pt idx="15">
                  <c:v>1.25</c:v>
                </c:pt>
                <c:pt idx="16">
                  <c:v>1.29</c:v>
                </c:pt>
                <c:pt idx="17">
                  <c:v>1.25</c:v>
                </c:pt>
                <c:pt idx="18">
                  <c:v>1.27</c:v>
                </c:pt>
                <c:pt idx="19">
                  <c:v>1.29</c:v>
                </c:pt>
                <c:pt idx="20">
                  <c:v>1.28</c:v>
                </c:pt>
                <c:pt idx="21">
                  <c:v>1.29</c:v>
                </c:pt>
                <c:pt idx="22">
                  <c:v>1.32</c:v>
                </c:pt>
                <c:pt idx="23">
                  <c:v>1.31</c:v>
                </c:pt>
                <c:pt idx="24">
                  <c:v>1.29</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382,87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360,99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360,03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382875</c:v>
                </c:pt>
                <c:pt idx="1">
                  <c:v>325306</c:v>
                </c:pt>
                <c:pt idx="2">
                  <c:v>419954</c:v>
                </c:pt>
                <c:pt idx="3">
                  <c:v>507552</c:v>
                </c:pt>
                <c:pt idx="4">
                  <c:v>559968</c:v>
                </c:pt>
                <c:pt idx="5">
                  <c:v>339374</c:v>
                </c:pt>
                <c:pt idx="6">
                  <c:v>318486</c:v>
                </c:pt>
                <c:pt idx="7">
                  <c:v>374513</c:v>
                </c:pt>
                <c:pt idx="8">
                  <c:v>363791</c:v>
                </c:pt>
                <c:pt idx="9">
                  <c:v>358537</c:v>
                </c:pt>
                <c:pt idx="10">
                  <c:v>366605</c:v>
                </c:pt>
                <c:pt idx="11">
                  <c:v>385844</c:v>
                </c:pt>
                <c:pt idx="12">
                  <c:v>400620</c:v>
                </c:pt>
                <c:pt idx="13">
                  <c:v>360999</c:v>
                </c:pt>
                <c:pt idx="14">
                  <c:v>414458</c:v>
                </c:pt>
                <c:pt idx="15">
                  <c:v>520061</c:v>
                </c:pt>
                <c:pt idx="16">
                  <c:v>781024</c:v>
                </c:pt>
                <c:pt idx="17">
                  <c:v>344653</c:v>
                </c:pt>
                <c:pt idx="18">
                  <c:v>327400</c:v>
                </c:pt>
                <c:pt idx="19">
                  <c:v>346321</c:v>
                </c:pt>
                <c:pt idx="20">
                  <c:v>327087</c:v>
                </c:pt>
                <c:pt idx="21">
                  <c:v>346742</c:v>
                </c:pt>
                <c:pt idx="22">
                  <c:v>350291</c:v>
                </c:pt>
                <c:pt idx="23">
                  <c:v>361754</c:v>
                </c:pt>
                <c:pt idx="24">
                  <c:v>360038</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1.7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7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1.79</c:v>
                </c:pt>
                <c:pt idx="1">
                  <c:v>1.75</c:v>
                </c:pt>
                <c:pt idx="2">
                  <c:v>1.71</c:v>
                </c:pt>
                <c:pt idx="3">
                  <c:v>1.71</c:v>
                </c:pt>
                <c:pt idx="4">
                  <c:v>1.7</c:v>
                </c:pt>
                <c:pt idx="5">
                  <c:v>1.7</c:v>
                </c:pt>
                <c:pt idx="6">
                  <c:v>1.79</c:v>
                </c:pt>
                <c:pt idx="7">
                  <c:v>1.8</c:v>
                </c:pt>
                <c:pt idx="8">
                  <c:v>1.83</c:v>
                </c:pt>
                <c:pt idx="9">
                  <c:v>1.83</c:v>
                </c:pt>
                <c:pt idx="10">
                  <c:v>1.84</c:v>
                </c:pt>
                <c:pt idx="11">
                  <c:v>1.8</c:v>
                </c:pt>
                <c:pt idx="12">
                  <c:v>1.79</c:v>
                </c:pt>
                <c:pt idx="13">
                  <c:v>1.78</c:v>
                </c:pt>
                <c:pt idx="14">
                  <c:v>1.86</c:v>
                </c:pt>
                <c:pt idx="15">
                  <c:v>2.08</c:v>
                </c:pt>
                <c:pt idx="16">
                  <c:v>2.13</c:v>
                </c:pt>
                <c:pt idx="17">
                  <c:v>1.71</c:v>
                </c:pt>
                <c:pt idx="18">
                  <c:v>1.73</c:v>
                </c:pt>
                <c:pt idx="19">
                  <c:v>1.76</c:v>
                </c:pt>
                <c:pt idx="20">
                  <c:v>1.75</c:v>
                </c:pt>
                <c:pt idx="21">
                  <c:v>1.78</c:v>
                </c:pt>
                <c:pt idx="22">
                  <c:v>1.82</c:v>
                </c:pt>
                <c:pt idx="23">
                  <c:v>1.8</c:v>
                </c:pt>
                <c:pt idx="24">
                  <c:v>1.74</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189,92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892,90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032,90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1189923</c:v>
                </c:pt>
                <c:pt idx="1">
                  <c:v>949362</c:v>
                </c:pt>
                <c:pt idx="2">
                  <c:v>904860</c:v>
                </c:pt>
                <c:pt idx="3">
                  <c:v>863915</c:v>
                </c:pt>
                <c:pt idx="4">
                  <c:v>1097881</c:v>
                </c:pt>
                <c:pt idx="5">
                  <c:v>787221</c:v>
                </c:pt>
                <c:pt idx="6">
                  <c:v>755024</c:v>
                </c:pt>
                <c:pt idx="7">
                  <c:v>877768</c:v>
                </c:pt>
                <c:pt idx="8">
                  <c:v>915554</c:v>
                </c:pt>
                <c:pt idx="9">
                  <c:v>1015118</c:v>
                </c:pt>
                <c:pt idx="10">
                  <c:v>1089835</c:v>
                </c:pt>
                <c:pt idx="11">
                  <c:v>1148361</c:v>
                </c:pt>
                <c:pt idx="12">
                  <c:v>1077988</c:v>
                </c:pt>
                <c:pt idx="13">
                  <c:v>892900</c:v>
                </c:pt>
                <c:pt idx="14">
                  <c:v>871653</c:v>
                </c:pt>
                <c:pt idx="15">
                  <c:v>826435</c:v>
                </c:pt>
                <c:pt idx="16">
                  <c:v>1036627</c:v>
                </c:pt>
                <c:pt idx="17">
                  <c:v>747040</c:v>
                </c:pt>
                <c:pt idx="18">
                  <c:v>727598</c:v>
                </c:pt>
                <c:pt idx="19">
                  <c:v>842248</c:v>
                </c:pt>
                <c:pt idx="20">
                  <c:v>824153</c:v>
                </c:pt>
                <c:pt idx="21">
                  <c:v>914741</c:v>
                </c:pt>
                <c:pt idx="22">
                  <c:v>1040748</c:v>
                </c:pt>
                <c:pt idx="23">
                  <c:v>1121220</c:v>
                </c:pt>
                <c:pt idx="24">
                  <c:v>1032907</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2.2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2.4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2.26</c:v>
                </c:pt>
                <c:pt idx="1">
                  <c:v>2.22</c:v>
                </c:pt>
                <c:pt idx="2">
                  <c:v>2.21</c:v>
                </c:pt>
                <c:pt idx="3">
                  <c:v>2.13</c:v>
                </c:pt>
                <c:pt idx="4">
                  <c:v>2.05</c:v>
                </c:pt>
                <c:pt idx="5">
                  <c:v>2.26</c:v>
                </c:pt>
                <c:pt idx="6">
                  <c:v>2.38</c:v>
                </c:pt>
                <c:pt idx="7">
                  <c:v>2.45</c:v>
                </c:pt>
                <c:pt idx="8">
                  <c:v>2.47</c:v>
                </c:pt>
                <c:pt idx="9">
                  <c:v>2.5</c:v>
                </c:pt>
                <c:pt idx="10">
                  <c:v>2.48</c:v>
                </c:pt>
                <c:pt idx="11">
                  <c:v>2.52</c:v>
                </c:pt>
                <c:pt idx="12">
                  <c:v>2.51</c:v>
                </c:pt>
                <c:pt idx="13">
                  <c:v>2.51</c:v>
                </c:pt>
                <c:pt idx="14">
                  <c:v>2.45</c:v>
                </c:pt>
                <c:pt idx="15">
                  <c:v>2.33</c:v>
                </c:pt>
                <c:pt idx="16">
                  <c:v>2.21</c:v>
                </c:pt>
                <c:pt idx="17">
                  <c:v>2.38</c:v>
                </c:pt>
                <c:pt idx="18">
                  <c:v>2.43</c:v>
                </c:pt>
                <c:pt idx="19">
                  <c:v>2.47</c:v>
                </c:pt>
                <c:pt idx="20">
                  <c:v>2.43</c:v>
                </c:pt>
                <c:pt idx="21">
                  <c:v>2.43</c:v>
                </c:pt>
                <c:pt idx="22">
                  <c:v>2.44</c:v>
                </c:pt>
                <c:pt idx="23">
                  <c:v>2.43</c:v>
                </c:pt>
                <c:pt idx="24">
                  <c:v>2.4</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31,54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4,20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22,70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31543</c:v>
                </c:pt>
                <c:pt idx="1">
                  <c:v>30331</c:v>
                </c:pt>
                <c:pt idx="2">
                  <c:v>30578</c:v>
                </c:pt>
                <c:pt idx="3">
                  <c:v>25914</c:v>
                </c:pt>
                <c:pt idx="4">
                  <c:v>26046</c:v>
                </c:pt>
                <c:pt idx="5">
                  <c:v>29633</c:v>
                </c:pt>
                <c:pt idx="6">
                  <c:v>26208</c:v>
                </c:pt>
                <c:pt idx="7">
                  <c:v>29254</c:v>
                </c:pt>
                <c:pt idx="8">
                  <c:v>26614</c:v>
                </c:pt>
                <c:pt idx="9">
                  <c:v>28326</c:v>
                </c:pt>
                <c:pt idx="10">
                  <c:v>27755</c:v>
                </c:pt>
                <c:pt idx="11">
                  <c:v>28491</c:v>
                </c:pt>
                <c:pt idx="12">
                  <c:v>26971</c:v>
                </c:pt>
                <c:pt idx="13">
                  <c:v>24201</c:v>
                </c:pt>
                <c:pt idx="14">
                  <c:v>23169</c:v>
                </c:pt>
                <c:pt idx="15">
                  <c:v>20346</c:v>
                </c:pt>
                <c:pt idx="16">
                  <c:v>19097</c:v>
                </c:pt>
                <c:pt idx="17">
                  <c:v>18923</c:v>
                </c:pt>
                <c:pt idx="18">
                  <c:v>20076</c:v>
                </c:pt>
                <c:pt idx="19">
                  <c:v>23274</c:v>
                </c:pt>
                <c:pt idx="20">
                  <c:v>21155</c:v>
                </c:pt>
                <c:pt idx="21">
                  <c:v>22004</c:v>
                </c:pt>
                <c:pt idx="22">
                  <c:v>23074</c:v>
                </c:pt>
                <c:pt idx="23">
                  <c:v>23662</c:v>
                </c:pt>
                <c:pt idx="24">
                  <c:v>22706</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4.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4.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4.4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4.24</c:v>
                </c:pt>
                <c:pt idx="1">
                  <c:v>4.21</c:v>
                </c:pt>
                <c:pt idx="2">
                  <c:v>4.2</c:v>
                </c:pt>
                <c:pt idx="3">
                  <c:v>4.19</c:v>
                </c:pt>
                <c:pt idx="4">
                  <c:v>4.2</c:v>
                </c:pt>
                <c:pt idx="5">
                  <c:v>3.48</c:v>
                </c:pt>
                <c:pt idx="6">
                  <c:v>4.06</c:v>
                </c:pt>
                <c:pt idx="7">
                  <c:v>4.39</c:v>
                </c:pt>
                <c:pt idx="8">
                  <c:v>4.52</c:v>
                </c:pt>
                <c:pt idx="9">
                  <c:v>4.61</c:v>
                </c:pt>
                <c:pt idx="10">
                  <c:v>4.51</c:v>
                </c:pt>
                <c:pt idx="11">
                  <c:v>4.5</c:v>
                </c:pt>
                <c:pt idx="12">
                  <c:v>4.43</c:v>
                </c:pt>
                <c:pt idx="13">
                  <c:v>4.51</c:v>
                </c:pt>
                <c:pt idx="14">
                  <c:v>4.51</c:v>
                </c:pt>
                <c:pt idx="15">
                  <c:v>4.51</c:v>
                </c:pt>
                <c:pt idx="16">
                  <c:v>4.5</c:v>
                </c:pt>
                <c:pt idx="17">
                  <c:v>4.41</c:v>
                </c:pt>
                <c:pt idx="18">
                  <c:v>4.49</c:v>
                </c:pt>
                <c:pt idx="19">
                  <c:v>4.45</c:v>
                </c:pt>
                <c:pt idx="20">
                  <c:v>4.45</c:v>
                </c:pt>
                <c:pt idx="21">
                  <c:v>4.5</c:v>
                </c:pt>
                <c:pt idx="22">
                  <c:v>4.48</c:v>
                </c:pt>
                <c:pt idx="23">
                  <c:v>4.48</c:v>
                </c:pt>
                <c:pt idx="24">
                  <c:v>4.49</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982,36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902,16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984,15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982365</c:v>
                </c:pt>
                <c:pt idx="1">
                  <c:v>889852</c:v>
                </c:pt>
                <c:pt idx="2">
                  <c:v>864780</c:v>
                </c:pt>
                <c:pt idx="3">
                  <c:v>791401</c:v>
                </c:pt>
                <c:pt idx="4">
                  <c:v>816858</c:v>
                </c:pt>
                <c:pt idx="5">
                  <c:v>881608</c:v>
                </c:pt>
                <c:pt idx="6">
                  <c:v>812346</c:v>
                </c:pt>
                <c:pt idx="7">
                  <c:v>947686</c:v>
                </c:pt>
                <c:pt idx="8">
                  <c:v>946213</c:v>
                </c:pt>
                <c:pt idx="9">
                  <c:v>1004131</c:v>
                </c:pt>
                <c:pt idx="10">
                  <c:v>1006217</c:v>
                </c:pt>
                <c:pt idx="11">
                  <c:v>1040736</c:v>
                </c:pt>
                <c:pt idx="12">
                  <c:v>995339</c:v>
                </c:pt>
                <c:pt idx="13">
                  <c:v>902161</c:v>
                </c:pt>
                <c:pt idx="14">
                  <c:v>867304</c:v>
                </c:pt>
                <c:pt idx="15">
                  <c:v>797022</c:v>
                </c:pt>
                <c:pt idx="16">
                  <c:v>821399</c:v>
                </c:pt>
                <c:pt idx="17">
                  <c:v>844834</c:v>
                </c:pt>
                <c:pt idx="18">
                  <c:v>840956</c:v>
                </c:pt>
                <c:pt idx="19">
                  <c:v>955635</c:v>
                </c:pt>
                <c:pt idx="20">
                  <c:v>947130</c:v>
                </c:pt>
                <c:pt idx="21">
                  <c:v>1007748</c:v>
                </c:pt>
                <c:pt idx="22">
                  <c:v>1055721</c:v>
                </c:pt>
                <c:pt idx="23">
                  <c:v>1041341</c:v>
                </c:pt>
                <c:pt idx="24">
                  <c:v>984154</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1.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2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2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1.19</c:v>
                </c:pt>
                <c:pt idx="1">
                  <c:v>1.17</c:v>
                </c:pt>
                <c:pt idx="2">
                  <c:v>1.16</c:v>
                </c:pt>
                <c:pt idx="3">
                  <c:v>1.14</c:v>
                </c:pt>
                <c:pt idx="4">
                  <c:v>1.14</c:v>
                </c:pt>
                <c:pt idx="5">
                  <c:v>1.13</c:v>
                </c:pt>
                <c:pt idx="6">
                  <c:v>1.15</c:v>
                </c:pt>
                <c:pt idx="7">
                  <c:v>1.18</c:v>
                </c:pt>
                <c:pt idx="8">
                  <c:v>1.2</c:v>
                </c:pt>
                <c:pt idx="9">
                  <c:v>1.21</c:v>
                </c:pt>
                <c:pt idx="10">
                  <c:v>1.22</c:v>
                </c:pt>
                <c:pt idx="11">
                  <c:v>1.23</c:v>
                </c:pt>
                <c:pt idx="12">
                  <c:v>1.22</c:v>
                </c:pt>
                <c:pt idx="13">
                  <c:v>1.2</c:v>
                </c:pt>
                <c:pt idx="14">
                  <c:v>1.18</c:v>
                </c:pt>
                <c:pt idx="15">
                  <c:v>1.18</c:v>
                </c:pt>
                <c:pt idx="16">
                  <c:v>1.18</c:v>
                </c:pt>
                <c:pt idx="17">
                  <c:v>1.16</c:v>
                </c:pt>
                <c:pt idx="18">
                  <c:v>1.18</c:v>
                </c:pt>
                <c:pt idx="19">
                  <c:v>1.21</c:v>
                </c:pt>
                <c:pt idx="20">
                  <c:v>1.21</c:v>
                </c:pt>
                <c:pt idx="21">
                  <c:v>1.22</c:v>
                </c:pt>
                <c:pt idx="22">
                  <c:v>1.24</c:v>
                </c:pt>
                <c:pt idx="23">
                  <c:v>1.22</c:v>
                </c:pt>
                <c:pt idx="24">
                  <c:v>1.21</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21,89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30,05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30,50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121898</c:v>
                </c:pt>
                <c:pt idx="1">
                  <c:v>114904</c:v>
                </c:pt>
                <c:pt idx="2">
                  <c:v>135954</c:v>
                </c:pt>
                <c:pt idx="3">
                  <c:v>161163</c:v>
                </c:pt>
                <c:pt idx="4">
                  <c:v>178770</c:v>
                </c:pt>
                <c:pt idx="5">
                  <c:v>129646</c:v>
                </c:pt>
                <c:pt idx="6">
                  <c:v>120666</c:v>
                </c:pt>
                <c:pt idx="7">
                  <c:v>143554</c:v>
                </c:pt>
                <c:pt idx="8">
                  <c:v>134987</c:v>
                </c:pt>
                <c:pt idx="9">
                  <c:v>137000</c:v>
                </c:pt>
                <c:pt idx="10">
                  <c:v>131659</c:v>
                </c:pt>
                <c:pt idx="11">
                  <c:v>135552</c:v>
                </c:pt>
                <c:pt idx="12">
                  <c:v>139027</c:v>
                </c:pt>
                <c:pt idx="13">
                  <c:v>130059</c:v>
                </c:pt>
                <c:pt idx="14">
                  <c:v>138003</c:v>
                </c:pt>
                <c:pt idx="15">
                  <c:v>155182</c:v>
                </c:pt>
                <c:pt idx="16">
                  <c:v>293292</c:v>
                </c:pt>
                <c:pt idx="17">
                  <c:v>134238</c:v>
                </c:pt>
                <c:pt idx="18">
                  <c:v>132256</c:v>
                </c:pt>
                <c:pt idx="19">
                  <c:v>147938</c:v>
                </c:pt>
                <c:pt idx="20">
                  <c:v>136926</c:v>
                </c:pt>
                <c:pt idx="21">
                  <c:v>140750</c:v>
                </c:pt>
                <c:pt idx="22">
                  <c:v>140530</c:v>
                </c:pt>
                <c:pt idx="23">
                  <c:v>138624</c:v>
                </c:pt>
                <c:pt idx="24">
                  <c:v>13050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1.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7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4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1.77</c:v>
                </c:pt>
                <c:pt idx="1">
                  <c:v>1.76</c:v>
                </c:pt>
                <c:pt idx="2">
                  <c:v>1.76</c:v>
                </c:pt>
                <c:pt idx="3">
                  <c:v>1.77</c:v>
                </c:pt>
                <c:pt idx="4">
                  <c:v>1.73</c:v>
                </c:pt>
                <c:pt idx="5">
                  <c:v>1.72</c:v>
                </c:pt>
                <c:pt idx="6">
                  <c:v>1.74</c:v>
                </c:pt>
                <c:pt idx="7">
                  <c:v>1.8</c:v>
                </c:pt>
                <c:pt idx="8">
                  <c:v>1.79</c:v>
                </c:pt>
                <c:pt idx="9">
                  <c:v>1.76</c:v>
                </c:pt>
                <c:pt idx="10">
                  <c:v>1.78</c:v>
                </c:pt>
                <c:pt idx="11">
                  <c:v>1.75</c:v>
                </c:pt>
                <c:pt idx="12">
                  <c:v>1.73</c:v>
                </c:pt>
                <c:pt idx="13">
                  <c:v>1.72</c:v>
                </c:pt>
                <c:pt idx="14">
                  <c:v>1.74</c:v>
                </c:pt>
                <c:pt idx="15">
                  <c:v>1.86</c:v>
                </c:pt>
                <c:pt idx="16">
                  <c:v>1.84</c:v>
                </c:pt>
                <c:pt idx="17">
                  <c:v>1.72</c:v>
                </c:pt>
                <c:pt idx="18">
                  <c:v>1.74</c:v>
                </c:pt>
                <c:pt idx="19">
                  <c:v>1.75</c:v>
                </c:pt>
                <c:pt idx="20">
                  <c:v>1.74</c:v>
                </c:pt>
                <c:pt idx="21">
                  <c:v>1.76</c:v>
                </c:pt>
                <c:pt idx="22">
                  <c:v>1.77</c:v>
                </c:pt>
                <c:pt idx="23">
                  <c:v>1.67</c:v>
                </c:pt>
                <c:pt idx="24">
                  <c:v>1.44</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383,87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330,33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372,52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383871</c:v>
                </c:pt>
                <c:pt idx="1">
                  <c:v>360272</c:v>
                </c:pt>
                <c:pt idx="2">
                  <c:v>343023</c:v>
                </c:pt>
                <c:pt idx="3">
                  <c:v>314691</c:v>
                </c:pt>
                <c:pt idx="4">
                  <c:v>360069</c:v>
                </c:pt>
                <c:pt idx="5">
                  <c:v>324607</c:v>
                </c:pt>
                <c:pt idx="6">
                  <c:v>302100</c:v>
                </c:pt>
                <c:pt idx="7">
                  <c:v>359562</c:v>
                </c:pt>
                <c:pt idx="8">
                  <c:v>356810</c:v>
                </c:pt>
                <c:pt idx="9">
                  <c:v>380098</c:v>
                </c:pt>
                <c:pt idx="10">
                  <c:v>392081</c:v>
                </c:pt>
                <c:pt idx="11">
                  <c:v>391377</c:v>
                </c:pt>
                <c:pt idx="12">
                  <c:v>362873</c:v>
                </c:pt>
                <c:pt idx="13">
                  <c:v>330337</c:v>
                </c:pt>
                <c:pt idx="14">
                  <c:v>319391</c:v>
                </c:pt>
                <c:pt idx="15">
                  <c:v>294301</c:v>
                </c:pt>
                <c:pt idx="16">
                  <c:v>327343</c:v>
                </c:pt>
                <c:pt idx="17">
                  <c:v>300276</c:v>
                </c:pt>
                <c:pt idx="18">
                  <c:v>300277</c:v>
                </c:pt>
                <c:pt idx="19">
                  <c:v>347601</c:v>
                </c:pt>
                <c:pt idx="20">
                  <c:v>344461</c:v>
                </c:pt>
                <c:pt idx="21">
                  <c:v>369778</c:v>
                </c:pt>
                <c:pt idx="22">
                  <c:v>380422</c:v>
                </c:pt>
                <c:pt idx="23">
                  <c:v>395023</c:v>
                </c:pt>
                <c:pt idx="24">
                  <c:v>372525</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2.1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3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2.2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2.18</c:v>
                </c:pt>
                <c:pt idx="1">
                  <c:v>2.13</c:v>
                </c:pt>
                <c:pt idx="2">
                  <c:v>2.14</c:v>
                </c:pt>
                <c:pt idx="3">
                  <c:v>2.06</c:v>
                </c:pt>
                <c:pt idx="4">
                  <c:v>1.89</c:v>
                </c:pt>
                <c:pt idx="5">
                  <c:v>2.09</c:v>
                </c:pt>
                <c:pt idx="6">
                  <c:v>2.19</c:v>
                </c:pt>
                <c:pt idx="7">
                  <c:v>2.28</c:v>
                </c:pt>
                <c:pt idx="8">
                  <c:v>2.31</c:v>
                </c:pt>
                <c:pt idx="9">
                  <c:v>2.35</c:v>
                </c:pt>
                <c:pt idx="10">
                  <c:v>2.32</c:v>
                </c:pt>
                <c:pt idx="11">
                  <c:v>2.35</c:v>
                </c:pt>
                <c:pt idx="12">
                  <c:v>2.31</c:v>
                </c:pt>
                <c:pt idx="13">
                  <c:v>2.3</c:v>
                </c:pt>
                <c:pt idx="14">
                  <c:v>2.29</c:v>
                </c:pt>
                <c:pt idx="15">
                  <c:v>2.25</c:v>
                </c:pt>
                <c:pt idx="16">
                  <c:v>2.03</c:v>
                </c:pt>
                <c:pt idx="17">
                  <c:v>2.3</c:v>
                </c:pt>
                <c:pt idx="18">
                  <c:v>2.28</c:v>
                </c:pt>
                <c:pt idx="19">
                  <c:v>2.29</c:v>
                </c:pt>
                <c:pt idx="20">
                  <c:v>2.27</c:v>
                </c:pt>
                <c:pt idx="21">
                  <c:v>2.25</c:v>
                </c:pt>
                <c:pt idx="22">
                  <c:v>2.27</c:v>
                </c:pt>
                <c:pt idx="23">
                  <c:v>2.26</c:v>
                </c:pt>
                <c:pt idx="24">
                  <c:v>2.22</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711,40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540,79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481,31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711402</c:v>
                </c:pt>
                <c:pt idx="1">
                  <c:v>631744</c:v>
                </c:pt>
                <c:pt idx="2">
                  <c:v>600747</c:v>
                </c:pt>
                <c:pt idx="3">
                  <c:v>533816</c:v>
                </c:pt>
                <c:pt idx="4">
                  <c:v>629987</c:v>
                </c:pt>
                <c:pt idx="5">
                  <c:v>549779</c:v>
                </c:pt>
                <c:pt idx="6">
                  <c:v>556485</c:v>
                </c:pt>
                <c:pt idx="7">
                  <c:v>673234</c:v>
                </c:pt>
                <c:pt idx="8">
                  <c:v>625533</c:v>
                </c:pt>
                <c:pt idx="9">
                  <c:v>673689</c:v>
                </c:pt>
                <c:pt idx="10">
                  <c:v>673183</c:v>
                </c:pt>
                <c:pt idx="11">
                  <c:v>677446</c:v>
                </c:pt>
                <c:pt idx="12">
                  <c:v>643665</c:v>
                </c:pt>
                <c:pt idx="13">
                  <c:v>540798</c:v>
                </c:pt>
                <c:pt idx="14">
                  <c:v>521617</c:v>
                </c:pt>
                <c:pt idx="15">
                  <c:v>442238</c:v>
                </c:pt>
                <c:pt idx="16">
                  <c:v>527305</c:v>
                </c:pt>
                <c:pt idx="17">
                  <c:v>399391</c:v>
                </c:pt>
                <c:pt idx="18">
                  <c:v>412321</c:v>
                </c:pt>
                <c:pt idx="19">
                  <c:v>478948</c:v>
                </c:pt>
                <c:pt idx="20">
                  <c:v>436525</c:v>
                </c:pt>
                <c:pt idx="21">
                  <c:v>473099</c:v>
                </c:pt>
                <c:pt idx="22">
                  <c:v>506075</c:v>
                </c:pt>
                <c:pt idx="23">
                  <c:v>521301</c:v>
                </c:pt>
                <c:pt idx="24">
                  <c:v>481317</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4.3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4.6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4.5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4.36</c:v>
                </c:pt>
                <c:pt idx="1">
                  <c:v>4.35</c:v>
                </c:pt>
                <c:pt idx="2">
                  <c:v>4.33</c:v>
                </c:pt>
                <c:pt idx="3">
                  <c:v>4.32</c:v>
                </c:pt>
                <c:pt idx="4">
                  <c:v>4.33</c:v>
                </c:pt>
                <c:pt idx="5">
                  <c:v>4.28</c:v>
                </c:pt>
                <c:pt idx="6">
                  <c:v>4.46</c:v>
                </c:pt>
                <c:pt idx="7">
                  <c:v>4.6</c:v>
                </c:pt>
                <c:pt idx="8">
                  <c:v>4.71</c:v>
                </c:pt>
                <c:pt idx="9">
                  <c:v>4.76</c:v>
                </c:pt>
                <c:pt idx="10">
                  <c:v>4.68</c:v>
                </c:pt>
                <c:pt idx="11">
                  <c:v>4.68</c:v>
                </c:pt>
                <c:pt idx="12">
                  <c:v>4.62</c:v>
                </c:pt>
                <c:pt idx="13">
                  <c:v>4.65</c:v>
                </c:pt>
                <c:pt idx="14">
                  <c:v>4.63</c:v>
                </c:pt>
                <c:pt idx="15">
                  <c:v>4.63</c:v>
                </c:pt>
                <c:pt idx="16">
                  <c:v>4.67</c:v>
                </c:pt>
                <c:pt idx="17">
                  <c:v>4.65</c:v>
                </c:pt>
                <c:pt idx="18">
                  <c:v>4.58</c:v>
                </c:pt>
                <c:pt idx="19">
                  <c:v>4.56</c:v>
                </c:pt>
                <c:pt idx="20">
                  <c:v>4.56</c:v>
                </c:pt>
                <c:pt idx="21">
                  <c:v>4.57</c:v>
                </c:pt>
                <c:pt idx="22">
                  <c:v>4.58</c:v>
                </c:pt>
                <c:pt idx="23">
                  <c:v>4.58</c:v>
                </c:pt>
                <c:pt idx="24">
                  <c:v>4.59</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9,650,60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6,104,69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9,704,97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19650601</c:v>
                </c:pt>
                <c:pt idx="1">
                  <c:v>16493569</c:v>
                </c:pt>
                <c:pt idx="2">
                  <c:v>16341948</c:v>
                </c:pt>
                <c:pt idx="3">
                  <c:v>14998538</c:v>
                </c:pt>
                <c:pt idx="4">
                  <c:v>17544159</c:v>
                </c:pt>
                <c:pt idx="5">
                  <c:v>14541389</c:v>
                </c:pt>
                <c:pt idx="6">
                  <c:v>14295771</c:v>
                </c:pt>
                <c:pt idx="7">
                  <c:v>16604191</c:v>
                </c:pt>
                <c:pt idx="8">
                  <c:v>16439400</c:v>
                </c:pt>
                <c:pt idx="9">
                  <c:v>18455120</c:v>
                </c:pt>
                <c:pt idx="10">
                  <c:v>19466254</c:v>
                </c:pt>
                <c:pt idx="11">
                  <c:v>20296111</c:v>
                </c:pt>
                <c:pt idx="12">
                  <c:v>19670268</c:v>
                </c:pt>
                <c:pt idx="13">
                  <c:v>16104696</c:v>
                </c:pt>
                <c:pt idx="14">
                  <c:v>15846483</c:v>
                </c:pt>
                <c:pt idx="15">
                  <c:v>14802837</c:v>
                </c:pt>
                <c:pt idx="16">
                  <c:v>17427574</c:v>
                </c:pt>
                <c:pt idx="17">
                  <c:v>14399082</c:v>
                </c:pt>
                <c:pt idx="18">
                  <c:v>15511651</c:v>
                </c:pt>
                <c:pt idx="19">
                  <c:v>17609765</c:v>
                </c:pt>
                <c:pt idx="20">
                  <c:v>16874643</c:v>
                </c:pt>
                <c:pt idx="21">
                  <c:v>18609970</c:v>
                </c:pt>
                <c:pt idx="22">
                  <c:v>20178526</c:v>
                </c:pt>
                <c:pt idx="23">
                  <c:v>20192030</c:v>
                </c:pt>
                <c:pt idx="24">
                  <c:v>19704974</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1.4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4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4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1.46</c:v>
                </c:pt>
                <c:pt idx="1">
                  <c:v>1.43</c:v>
                </c:pt>
                <c:pt idx="2">
                  <c:v>1.4</c:v>
                </c:pt>
                <c:pt idx="3">
                  <c:v>1.37</c:v>
                </c:pt>
                <c:pt idx="4">
                  <c:v>1.39</c:v>
                </c:pt>
                <c:pt idx="5">
                  <c:v>1.38</c:v>
                </c:pt>
                <c:pt idx="6">
                  <c:v>1.42</c:v>
                </c:pt>
                <c:pt idx="7">
                  <c:v>1.44</c:v>
                </c:pt>
                <c:pt idx="8">
                  <c:v>1.47</c:v>
                </c:pt>
                <c:pt idx="9">
                  <c:v>1.49</c:v>
                </c:pt>
                <c:pt idx="10">
                  <c:v>1.5</c:v>
                </c:pt>
                <c:pt idx="11">
                  <c:v>1.5</c:v>
                </c:pt>
                <c:pt idx="12">
                  <c:v>1.51</c:v>
                </c:pt>
                <c:pt idx="13">
                  <c:v>1.48</c:v>
                </c:pt>
                <c:pt idx="14">
                  <c:v>1.43</c:v>
                </c:pt>
                <c:pt idx="15">
                  <c:v>1.41</c:v>
                </c:pt>
                <c:pt idx="16">
                  <c:v>1.45</c:v>
                </c:pt>
                <c:pt idx="17">
                  <c:v>1.41</c:v>
                </c:pt>
                <c:pt idx="18">
                  <c:v>1.45</c:v>
                </c:pt>
                <c:pt idx="19">
                  <c:v>1.48</c:v>
                </c:pt>
                <c:pt idx="20">
                  <c:v>1.47</c:v>
                </c:pt>
                <c:pt idx="21">
                  <c:v>1.48</c:v>
                </c:pt>
                <c:pt idx="22">
                  <c:v>1.51</c:v>
                </c:pt>
                <c:pt idx="23">
                  <c:v>1.5</c:v>
                </c:pt>
                <c:pt idx="24">
                  <c:v>1.49</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991,46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620,64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3,367,42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1991469</c:v>
                </c:pt>
                <c:pt idx="1">
                  <c:v>1720918</c:v>
                </c:pt>
                <c:pt idx="2">
                  <c:v>1829407</c:v>
                </c:pt>
                <c:pt idx="3">
                  <c:v>1499606</c:v>
                </c:pt>
                <c:pt idx="4">
                  <c:v>1609986</c:v>
                </c:pt>
                <c:pt idx="5">
                  <c:v>1383221</c:v>
                </c:pt>
                <c:pt idx="6">
                  <c:v>1746405</c:v>
                </c:pt>
                <c:pt idx="7">
                  <c:v>2195652</c:v>
                </c:pt>
                <c:pt idx="8">
                  <c:v>2046927</c:v>
                </c:pt>
                <c:pt idx="9">
                  <c:v>2306423</c:v>
                </c:pt>
                <c:pt idx="10">
                  <c:v>2611470</c:v>
                </c:pt>
                <c:pt idx="11">
                  <c:v>2363585</c:v>
                </c:pt>
                <c:pt idx="12">
                  <c:v>1949574</c:v>
                </c:pt>
                <c:pt idx="13">
                  <c:v>1620640</c:v>
                </c:pt>
                <c:pt idx="14">
                  <c:v>1876289</c:v>
                </c:pt>
                <c:pt idx="15">
                  <c:v>1636470</c:v>
                </c:pt>
                <c:pt idx="16">
                  <c:v>1812223</c:v>
                </c:pt>
                <c:pt idx="17">
                  <c:v>1379378</c:v>
                </c:pt>
                <c:pt idx="18">
                  <c:v>1479200</c:v>
                </c:pt>
                <c:pt idx="19">
                  <c:v>1713958</c:v>
                </c:pt>
                <c:pt idx="20">
                  <c:v>2218025</c:v>
                </c:pt>
                <c:pt idx="21">
                  <c:v>2243440</c:v>
                </c:pt>
                <c:pt idx="22">
                  <c:v>2389241</c:v>
                </c:pt>
                <c:pt idx="23">
                  <c:v>2606508</c:v>
                </c:pt>
                <c:pt idx="24">
                  <c:v>3367428</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2.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6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2.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2.53</c:v>
                </c:pt>
                <c:pt idx="1">
                  <c:v>2.42</c:v>
                </c:pt>
                <c:pt idx="2">
                  <c:v>2.28</c:v>
                </c:pt>
                <c:pt idx="3">
                  <c:v>2.01</c:v>
                </c:pt>
                <c:pt idx="4">
                  <c:v>2.37</c:v>
                </c:pt>
                <c:pt idx="5">
                  <c:v>2.25</c:v>
                </c:pt>
                <c:pt idx="6">
                  <c:v>2.06</c:v>
                </c:pt>
                <c:pt idx="7">
                  <c:v>2.31</c:v>
                </c:pt>
                <c:pt idx="8">
                  <c:v>2.34</c:v>
                </c:pt>
                <c:pt idx="9">
                  <c:v>2.27</c:v>
                </c:pt>
                <c:pt idx="10">
                  <c:v>2.35</c:v>
                </c:pt>
                <c:pt idx="11">
                  <c:v>2.46</c:v>
                </c:pt>
                <c:pt idx="12">
                  <c:v>2.56</c:v>
                </c:pt>
                <c:pt idx="13">
                  <c:v>2.61</c:v>
                </c:pt>
                <c:pt idx="14">
                  <c:v>2.4</c:v>
                </c:pt>
                <c:pt idx="15">
                  <c:v>2.4</c:v>
                </c:pt>
                <c:pt idx="16">
                  <c:v>2.57</c:v>
                </c:pt>
                <c:pt idx="17">
                  <c:v>2.5</c:v>
                </c:pt>
                <c:pt idx="18">
                  <c:v>2.49</c:v>
                </c:pt>
                <c:pt idx="19">
                  <c:v>2.63</c:v>
                </c:pt>
                <c:pt idx="20">
                  <c:v>2.32</c:v>
                </c:pt>
                <c:pt idx="21">
                  <c:v>2.36</c:v>
                </c:pt>
                <c:pt idx="22">
                  <c:v>2.54</c:v>
                </c:pt>
                <c:pt idx="23">
                  <c:v>2.52</c:v>
                </c:pt>
                <c:pt idx="24">
                  <c:v>2.19</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336,80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195,56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2,357,59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2336808</c:v>
                </c:pt>
                <c:pt idx="1">
                  <c:v>2071289</c:v>
                </c:pt>
                <c:pt idx="2">
                  <c:v>2509838</c:v>
                </c:pt>
                <c:pt idx="3">
                  <c:v>3052216</c:v>
                </c:pt>
                <c:pt idx="4">
                  <c:v>3538571</c:v>
                </c:pt>
                <c:pt idx="5">
                  <c:v>2024929</c:v>
                </c:pt>
                <c:pt idx="6">
                  <c:v>1931232</c:v>
                </c:pt>
                <c:pt idx="7">
                  <c:v>2357786</c:v>
                </c:pt>
                <c:pt idx="8">
                  <c:v>2203738</c:v>
                </c:pt>
                <c:pt idx="9">
                  <c:v>2220479</c:v>
                </c:pt>
                <c:pt idx="10">
                  <c:v>2213437</c:v>
                </c:pt>
                <c:pt idx="11">
                  <c:v>2337711</c:v>
                </c:pt>
                <c:pt idx="12">
                  <c:v>2430961</c:v>
                </c:pt>
                <c:pt idx="13">
                  <c:v>2195567</c:v>
                </c:pt>
                <c:pt idx="14">
                  <c:v>2558920</c:v>
                </c:pt>
                <c:pt idx="15">
                  <c:v>3467184</c:v>
                </c:pt>
                <c:pt idx="16">
                  <c:v>7051501</c:v>
                </c:pt>
                <c:pt idx="17">
                  <c:v>2245670</c:v>
                </c:pt>
                <c:pt idx="18">
                  <c:v>2147238</c:v>
                </c:pt>
                <c:pt idx="19">
                  <c:v>2293708</c:v>
                </c:pt>
                <c:pt idx="20">
                  <c:v>2158893</c:v>
                </c:pt>
                <c:pt idx="21">
                  <c:v>2308806</c:v>
                </c:pt>
                <c:pt idx="22">
                  <c:v>2339689</c:v>
                </c:pt>
                <c:pt idx="23">
                  <c:v>2411671</c:v>
                </c:pt>
                <c:pt idx="24">
                  <c:v>2357596</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1.8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1.89</c:v>
                </c:pt>
                <c:pt idx="1">
                  <c:v>1.88</c:v>
                </c:pt>
                <c:pt idx="2">
                  <c:v>1.81</c:v>
                </c:pt>
                <c:pt idx="3">
                  <c:v>1.78</c:v>
                </c:pt>
                <c:pt idx="4">
                  <c:v>1.79</c:v>
                </c:pt>
                <c:pt idx="5">
                  <c:v>1.85</c:v>
                </c:pt>
                <c:pt idx="6">
                  <c:v>1.93</c:v>
                </c:pt>
                <c:pt idx="7">
                  <c:v>1.96</c:v>
                </c:pt>
                <c:pt idx="8">
                  <c:v>1.98</c:v>
                </c:pt>
                <c:pt idx="9">
                  <c:v>1.98</c:v>
                </c:pt>
                <c:pt idx="10">
                  <c:v>2.0</c:v>
                </c:pt>
                <c:pt idx="11">
                  <c:v>1.96</c:v>
                </c:pt>
                <c:pt idx="12">
                  <c:v>1.94</c:v>
                </c:pt>
                <c:pt idx="13">
                  <c:v>1.93</c:v>
                </c:pt>
                <c:pt idx="14">
                  <c:v>2.02</c:v>
                </c:pt>
                <c:pt idx="15">
                  <c:v>2.31</c:v>
                </c:pt>
                <c:pt idx="16">
                  <c:v>2.5</c:v>
                </c:pt>
                <c:pt idx="17">
                  <c:v>1.88</c:v>
                </c:pt>
                <c:pt idx="18">
                  <c:v>1.92</c:v>
                </c:pt>
                <c:pt idx="19">
                  <c:v>1.95</c:v>
                </c:pt>
                <c:pt idx="20">
                  <c:v>1.93</c:v>
                </c:pt>
                <c:pt idx="21">
                  <c:v>1.94</c:v>
                </c:pt>
                <c:pt idx="22">
                  <c:v>1.97</c:v>
                </c:pt>
                <c:pt idx="23">
                  <c:v>1.94</c:v>
                </c:pt>
                <c:pt idx="24">
                  <c:v>1.91</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6,673,74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5,374,47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6,322,53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6673748</c:v>
                </c:pt>
                <c:pt idx="1">
                  <c:v>5567164</c:v>
                </c:pt>
                <c:pt idx="2">
                  <c:v>5308287</c:v>
                </c:pt>
                <c:pt idx="3">
                  <c:v>4991079</c:v>
                </c:pt>
                <c:pt idx="4">
                  <c:v>6366653</c:v>
                </c:pt>
                <c:pt idx="5">
                  <c:v>4707952</c:v>
                </c:pt>
                <c:pt idx="6">
                  <c:v>4772251</c:v>
                </c:pt>
                <c:pt idx="7">
                  <c:v>5652731</c:v>
                </c:pt>
                <c:pt idx="8">
                  <c:v>5557356</c:v>
                </c:pt>
                <c:pt idx="9">
                  <c:v>6302431</c:v>
                </c:pt>
                <c:pt idx="10">
                  <c:v>6679607</c:v>
                </c:pt>
                <c:pt idx="11">
                  <c:v>6784731</c:v>
                </c:pt>
                <c:pt idx="12">
                  <c:v>6304383</c:v>
                </c:pt>
                <c:pt idx="13">
                  <c:v>5374478</c:v>
                </c:pt>
                <c:pt idx="14">
                  <c:v>5310227</c:v>
                </c:pt>
                <c:pt idx="15">
                  <c:v>5066633</c:v>
                </c:pt>
                <c:pt idx="16">
                  <c:v>6469996</c:v>
                </c:pt>
                <c:pt idx="17">
                  <c:v>4742465</c:v>
                </c:pt>
                <c:pt idx="18">
                  <c:v>4697738</c:v>
                </c:pt>
                <c:pt idx="19">
                  <c:v>5472569</c:v>
                </c:pt>
                <c:pt idx="20">
                  <c:v>5297420</c:v>
                </c:pt>
                <c:pt idx="21">
                  <c:v>6013292</c:v>
                </c:pt>
                <c:pt idx="22">
                  <c:v>6490044</c:v>
                </c:pt>
                <c:pt idx="23">
                  <c:v>6801086</c:v>
                </c:pt>
                <c:pt idx="24">
                  <c:v>6322537</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2.3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6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2.4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2.32</c:v>
                </c:pt>
                <c:pt idx="1">
                  <c:v>2.29</c:v>
                </c:pt>
                <c:pt idx="2">
                  <c:v>2.27</c:v>
                </c:pt>
                <c:pt idx="3">
                  <c:v>2.19</c:v>
                </c:pt>
                <c:pt idx="4">
                  <c:v>2.08</c:v>
                </c:pt>
                <c:pt idx="5">
                  <c:v>2.33</c:v>
                </c:pt>
                <c:pt idx="6">
                  <c:v>2.5</c:v>
                </c:pt>
                <c:pt idx="7">
                  <c:v>2.56</c:v>
                </c:pt>
                <c:pt idx="8">
                  <c:v>2.57</c:v>
                </c:pt>
                <c:pt idx="9">
                  <c:v>2.63</c:v>
                </c:pt>
                <c:pt idx="10">
                  <c:v>2.59</c:v>
                </c:pt>
                <c:pt idx="11">
                  <c:v>2.61</c:v>
                </c:pt>
                <c:pt idx="12">
                  <c:v>2.61</c:v>
                </c:pt>
                <c:pt idx="13">
                  <c:v>2.61</c:v>
                </c:pt>
                <c:pt idx="14">
                  <c:v>2.53</c:v>
                </c:pt>
                <c:pt idx="15">
                  <c:v>2.39</c:v>
                </c:pt>
                <c:pt idx="16">
                  <c:v>2.24</c:v>
                </c:pt>
                <c:pt idx="17">
                  <c:v>2.45</c:v>
                </c:pt>
                <c:pt idx="18">
                  <c:v>2.51</c:v>
                </c:pt>
                <c:pt idx="19">
                  <c:v>2.55</c:v>
                </c:pt>
                <c:pt idx="20">
                  <c:v>2.51</c:v>
                </c:pt>
                <c:pt idx="21">
                  <c:v>2.51</c:v>
                </c:pt>
                <c:pt idx="22">
                  <c:v>2.54</c:v>
                </c:pt>
                <c:pt idx="23">
                  <c:v>2.51</c:v>
                </c:pt>
                <c:pt idx="24">
                  <c:v>2.46</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80,73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80,64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56,49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80738</c:v>
                </c:pt>
                <c:pt idx="1">
                  <c:v>77209</c:v>
                </c:pt>
                <c:pt idx="2">
                  <c:v>65247</c:v>
                </c:pt>
                <c:pt idx="3">
                  <c:v>96961</c:v>
                </c:pt>
                <c:pt idx="4">
                  <c:v>83173</c:v>
                </c:pt>
                <c:pt idx="5">
                  <c:v>68835</c:v>
                </c:pt>
                <c:pt idx="6">
                  <c:v>89267</c:v>
                </c:pt>
                <c:pt idx="7">
                  <c:v>114531</c:v>
                </c:pt>
                <c:pt idx="8">
                  <c:v>100969</c:v>
                </c:pt>
                <c:pt idx="9">
                  <c:v>103375</c:v>
                </c:pt>
                <c:pt idx="10">
                  <c:v>118817</c:v>
                </c:pt>
                <c:pt idx="11">
                  <c:v>147066</c:v>
                </c:pt>
                <c:pt idx="12">
                  <c:v>109639</c:v>
                </c:pt>
                <c:pt idx="13">
                  <c:v>80642</c:v>
                </c:pt>
                <c:pt idx="14">
                  <c:v>84441</c:v>
                </c:pt>
                <c:pt idx="15">
                  <c:v>59981</c:v>
                </c:pt>
                <c:pt idx="16">
                  <c:v>56514</c:v>
                </c:pt>
                <c:pt idx="17">
                  <c:v>71152</c:v>
                </c:pt>
                <c:pt idx="18">
                  <c:v>78970</c:v>
                </c:pt>
                <c:pt idx="19">
                  <c:v>80553</c:v>
                </c:pt>
                <c:pt idx="20">
                  <c:v>56804</c:v>
                </c:pt>
                <c:pt idx="21">
                  <c:v>57188</c:v>
                </c:pt>
                <c:pt idx="22">
                  <c:v>100871</c:v>
                </c:pt>
                <c:pt idx="23">
                  <c:v>91121</c:v>
                </c:pt>
                <c:pt idx="24">
                  <c:v>5649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3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6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3.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36</c:v>
                </c:pt>
                <c:pt idx="1">
                  <c:v>3.3</c:v>
                </c:pt>
                <c:pt idx="2">
                  <c:v>3.29</c:v>
                </c:pt>
                <c:pt idx="3">
                  <c:v>3.19</c:v>
                </c:pt>
                <c:pt idx="4">
                  <c:v>3.27</c:v>
                </c:pt>
                <c:pt idx="5">
                  <c:v>3.16</c:v>
                </c:pt>
                <c:pt idx="6">
                  <c:v>3.11</c:v>
                </c:pt>
                <c:pt idx="7">
                  <c:v>2.78</c:v>
                </c:pt>
                <c:pt idx="8">
                  <c:v>2.65</c:v>
                </c:pt>
                <c:pt idx="9">
                  <c:v>2.7</c:v>
                </c:pt>
                <c:pt idx="10">
                  <c:v>2.64</c:v>
                </c:pt>
                <c:pt idx="11">
                  <c:v>2.72</c:v>
                </c:pt>
                <c:pt idx="12">
                  <c:v>2.69</c:v>
                </c:pt>
                <c:pt idx="13">
                  <c:v>2.69</c:v>
                </c:pt>
                <c:pt idx="14">
                  <c:v>2.85</c:v>
                </c:pt>
                <c:pt idx="15">
                  <c:v>2.9</c:v>
                </c:pt>
                <c:pt idx="16">
                  <c:v>2.84</c:v>
                </c:pt>
                <c:pt idx="17">
                  <c:v>2.81</c:v>
                </c:pt>
                <c:pt idx="18">
                  <c:v>2.78</c:v>
                </c:pt>
                <c:pt idx="19">
                  <c:v>2.68</c:v>
                </c:pt>
                <c:pt idx="20">
                  <c:v>2.96</c:v>
                </c:pt>
                <c:pt idx="21">
                  <c:v>2.88</c:v>
                </c:pt>
                <c:pt idx="22">
                  <c:v>3.05</c:v>
                </c:pt>
                <c:pt idx="23">
                  <c:v>3.36</c:v>
                </c:pt>
                <c:pt idx="24">
                  <c:v>3.74</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932,24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105,81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315,60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932241</c:v>
                </c:pt>
                <c:pt idx="1">
                  <c:v>858361</c:v>
                </c:pt>
                <c:pt idx="2">
                  <c:v>830277</c:v>
                </c:pt>
                <c:pt idx="3">
                  <c:v>844823</c:v>
                </c:pt>
                <c:pt idx="4">
                  <c:v>901213</c:v>
                </c:pt>
                <c:pt idx="5">
                  <c:v>966092</c:v>
                </c:pt>
                <c:pt idx="6">
                  <c:v>898865</c:v>
                </c:pt>
                <c:pt idx="7">
                  <c:v>878241</c:v>
                </c:pt>
                <c:pt idx="8">
                  <c:v>884093</c:v>
                </c:pt>
                <c:pt idx="9">
                  <c:v>1007540</c:v>
                </c:pt>
                <c:pt idx="10">
                  <c:v>1167542</c:v>
                </c:pt>
                <c:pt idx="11">
                  <c:v>1250830</c:v>
                </c:pt>
                <c:pt idx="12">
                  <c:v>1228389</c:v>
                </c:pt>
                <c:pt idx="13">
                  <c:v>1105814</c:v>
                </c:pt>
                <c:pt idx="14">
                  <c:v>1181084</c:v>
                </c:pt>
                <c:pt idx="15">
                  <c:v>1056401</c:v>
                </c:pt>
                <c:pt idx="16">
                  <c:v>1019893</c:v>
                </c:pt>
                <c:pt idx="17">
                  <c:v>1023486</c:v>
                </c:pt>
                <c:pt idx="18">
                  <c:v>1112216</c:v>
                </c:pt>
                <c:pt idx="19">
                  <c:v>1492642</c:v>
                </c:pt>
                <c:pt idx="20">
                  <c:v>1544677</c:v>
                </c:pt>
                <c:pt idx="21">
                  <c:v>1423238</c:v>
                </c:pt>
                <c:pt idx="22">
                  <c:v>1420612</c:v>
                </c:pt>
                <c:pt idx="23">
                  <c:v>1474668</c:v>
                </c:pt>
                <c:pt idx="24">
                  <c:v>1315604</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8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2.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11</c:v>
                </c:pt>
                <c:pt idx="1">
                  <c:v>2.93</c:v>
                </c:pt>
                <c:pt idx="2">
                  <c:v>2.88</c:v>
                </c:pt>
                <c:pt idx="3">
                  <c:v>2.91</c:v>
                </c:pt>
                <c:pt idx="4">
                  <c:v>2.91</c:v>
                </c:pt>
                <c:pt idx="5">
                  <c:v>3.1</c:v>
                </c:pt>
                <c:pt idx="6">
                  <c:v>2.99</c:v>
                </c:pt>
                <c:pt idx="7">
                  <c:v>3.01</c:v>
                </c:pt>
                <c:pt idx="8">
                  <c:v>3.02</c:v>
                </c:pt>
                <c:pt idx="9">
                  <c:v>2.88</c:v>
                </c:pt>
                <c:pt idx="10">
                  <c:v>2.67</c:v>
                </c:pt>
                <c:pt idx="11">
                  <c:v>2.89</c:v>
                </c:pt>
                <c:pt idx="12">
                  <c:v>3.07</c:v>
                </c:pt>
                <c:pt idx="13">
                  <c:v>2.81</c:v>
                </c:pt>
                <c:pt idx="14">
                  <c:v>2.52</c:v>
                </c:pt>
                <c:pt idx="15">
                  <c:v>2.47</c:v>
                </c:pt>
                <c:pt idx="16">
                  <c:v>2.63</c:v>
                </c:pt>
                <c:pt idx="17">
                  <c:v>2.67</c:v>
                </c:pt>
                <c:pt idx="18">
                  <c:v>2.6</c:v>
                </c:pt>
                <c:pt idx="19">
                  <c:v>2.42</c:v>
                </c:pt>
                <c:pt idx="20">
                  <c:v>2.49</c:v>
                </c:pt>
                <c:pt idx="21">
                  <c:v>2.67</c:v>
                </c:pt>
                <c:pt idx="22">
                  <c:v>2.71</c:v>
                </c:pt>
                <c:pt idx="23">
                  <c:v>2.62</c:v>
                </c:pt>
                <c:pt idx="24">
                  <c:v>2.77</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804,19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653,88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760,16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804191</c:v>
                </c:pt>
                <c:pt idx="1">
                  <c:v>660197</c:v>
                </c:pt>
                <c:pt idx="2">
                  <c:v>655899</c:v>
                </c:pt>
                <c:pt idx="3">
                  <c:v>611203</c:v>
                </c:pt>
                <c:pt idx="4">
                  <c:v>640122</c:v>
                </c:pt>
                <c:pt idx="5">
                  <c:v>691277</c:v>
                </c:pt>
                <c:pt idx="6">
                  <c:v>670319</c:v>
                </c:pt>
                <c:pt idx="7">
                  <c:v>749349</c:v>
                </c:pt>
                <c:pt idx="8">
                  <c:v>709852</c:v>
                </c:pt>
                <c:pt idx="9">
                  <c:v>813028</c:v>
                </c:pt>
                <c:pt idx="10">
                  <c:v>812811</c:v>
                </c:pt>
                <c:pt idx="11">
                  <c:v>949288</c:v>
                </c:pt>
                <c:pt idx="12">
                  <c:v>851856</c:v>
                </c:pt>
                <c:pt idx="13">
                  <c:v>653884</c:v>
                </c:pt>
                <c:pt idx="14">
                  <c:v>640235</c:v>
                </c:pt>
                <c:pt idx="15">
                  <c:v>674959</c:v>
                </c:pt>
                <c:pt idx="16">
                  <c:v>757003</c:v>
                </c:pt>
                <c:pt idx="17">
                  <c:v>763970</c:v>
                </c:pt>
                <c:pt idx="18">
                  <c:v>800168</c:v>
                </c:pt>
                <c:pt idx="19">
                  <c:v>788548</c:v>
                </c:pt>
                <c:pt idx="20">
                  <c:v>788952</c:v>
                </c:pt>
                <c:pt idx="21">
                  <c:v>820939</c:v>
                </c:pt>
                <c:pt idx="22">
                  <c:v>757786</c:v>
                </c:pt>
                <c:pt idx="23">
                  <c:v>745228</c:v>
                </c:pt>
                <c:pt idx="24">
                  <c:v>760168</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2.6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2.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2.61</c:v>
                </c:pt>
                <c:pt idx="1">
                  <c:v>2.58</c:v>
                </c:pt>
                <c:pt idx="2">
                  <c:v>2.61</c:v>
                </c:pt>
                <c:pt idx="3">
                  <c:v>2.59</c:v>
                </c:pt>
                <c:pt idx="4">
                  <c:v>2.73</c:v>
                </c:pt>
                <c:pt idx="5">
                  <c:v>2.74</c:v>
                </c:pt>
                <c:pt idx="6">
                  <c:v>2.73</c:v>
                </c:pt>
                <c:pt idx="7">
                  <c:v>2.49</c:v>
                </c:pt>
                <c:pt idx="8">
                  <c:v>2.5</c:v>
                </c:pt>
                <c:pt idx="9">
                  <c:v>2.41</c:v>
                </c:pt>
                <c:pt idx="10">
                  <c:v>2.42</c:v>
                </c:pt>
                <c:pt idx="11">
                  <c:v>2.36</c:v>
                </c:pt>
                <c:pt idx="12">
                  <c:v>2.3</c:v>
                </c:pt>
                <c:pt idx="13">
                  <c:v>2.11</c:v>
                </c:pt>
                <c:pt idx="14">
                  <c:v>2.07</c:v>
                </c:pt>
                <c:pt idx="15">
                  <c:v>2.11</c:v>
                </c:pt>
                <c:pt idx="16">
                  <c:v>2.22</c:v>
                </c:pt>
                <c:pt idx="17">
                  <c:v>2.16</c:v>
                </c:pt>
                <c:pt idx="18">
                  <c:v>2.26</c:v>
                </c:pt>
                <c:pt idx="19">
                  <c:v>2.44</c:v>
                </c:pt>
                <c:pt idx="20">
                  <c:v>2.33</c:v>
                </c:pt>
                <c:pt idx="21">
                  <c:v>2.31</c:v>
                </c:pt>
                <c:pt idx="22">
                  <c:v>2.41</c:v>
                </c:pt>
                <c:pt idx="23">
                  <c:v>2.46</c:v>
                </c:pt>
                <c:pt idx="24">
                  <c:v>2.52</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407,98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400,58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412,64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407983</c:v>
                </c:pt>
                <c:pt idx="1">
                  <c:v>324334</c:v>
                </c:pt>
                <c:pt idx="2">
                  <c:v>357134</c:v>
                </c:pt>
                <c:pt idx="3">
                  <c:v>356150</c:v>
                </c:pt>
                <c:pt idx="4">
                  <c:v>372003</c:v>
                </c:pt>
                <c:pt idx="5">
                  <c:v>392561</c:v>
                </c:pt>
                <c:pt idx="6">
                  <c:v>318944</c:v>
                </c:pt>
                <c:pt idx="7">
                  <c:v>357487</c:v>
                </c:pt>
                <c:pt idx="8">
                  <c:v>300751</c:v>
                </c:pt>
                <c:pt idx="9">
                  <c:v>320888</c:v>
                </c:pt>
                <c:pt idx="10">
                  <c:v>343660</c:v>
                </c:pt>
                <c:pt idx="11">
                  <c:v>473689</c:v>
                </c:pt>
                <c:pt idx="12">
                  <c:v>405430</c:v>
                </c:pt>
                <c:pt idx="13">
                  <c:v>400585</c:v>
                </c:pt>
                <c:pt idx="14">
                  <c:v>392951</c:v>
                </c:pt>
                <c:pt idx="15">
                  <c:v>411033</c:v>
                </c:pt>
                <c:pt idx="16">
                  <c:v>387317</c:v>
                </c:pt>
                <c:pt idx="17">
                  <c:v>369284</c:v>
                </c:pt>
                <c:pt idx="18">
                  <c:v>369893</c:v>
                </c:pt>
                <c:pt idx="19">
                  <c:v>523420</c:v>
                </c:pt>
                <c:pt idx="20">
                  <c:v>445583</c:v>
                </c:pt>
                <c:pt idx="21">
                  <c:v>498798</c:v>
                </c:pt>
                <c:pt idx="22">
                  <c:v>490343</c:v>
                </c:pt>
                <c:pt idx="23">
                  <c:v>557639</c:v>
                </c:pt>
                <c:pt idx="24">
                  <c:v>412642</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2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7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3.0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21</c:v>
                </c:pt>
                <c:pt idx="1">
                  <c:v>3.09</c:v>
                </c:pt>
                <c:pt idx="2">
                  <c:v>3.03</c:v>
                </c:pt>
                <c:pt idx="3">
                  <c:v>2.69</c:v>
                </c:pt>
                <c:pt idx="4">
                  <c:v>2.83</c:v>
                </c:pt>
                <c:pt idx="5">
                  <c:v>2.5</c:v>
                </c:pt>
                <c:pt idx="6">
                  <c:v>2.97</c:v>
                </c:pt>
                <c:pt idx="7">
                  <c:v>2.85</c:v>
                </c:pt>
                <c:pt idx="8">
                  <c:v>2.84</c:v>
                </c:pt>
                <c:pt idx="9">
                  <c:v>2.71</c:v>
                </c:pt>
                <c:pt idx="10">
                  <c:v>2.83</c:v>
                </c:pt>
                <c:pt idx="11">
                  <c:v>2.78</c:v>
                </c:pt>
                <c:pt idx="12">
                  <c:v>2.82</c:v>
                </c:pt>
                <c:pt idx="13">
                  <c:v>2.79</c:v>
                </c:pt>
                <c:pt idx="14">
                  <c:v>2.69</c:v>
                </c:pt>
                <c:pt idx="15">
                  <c:v>2.7</c:v>
                </c:pt>
                <c:pt idx="16">
                  <c:v>2.83</c:v>
                </c:pt>
                <c:pt idx="17">
                  <c:v>2.93</c:v>
                </c:pt>
                <c:pt idx="18">
                  <c:v>3.01</c:v>
                </c:pt>
                <c:pt idx="19">
                  <c:v>3.06</c:v>
                </c:pt>
                <c:pt idx="20">
                  <c:v>3.02</c:v>
                </c:pt>
                <c:pt idx="21">
                  <c:v>3.05</c:v>
                </c:pt>
                <c:pt idx="22">
                  <c:v>3.15</c:v>
                </c:pt>
                <c:pt idx="23">
                  <c:v>2.92</c:v>
                </c:pt>
                <c:pt idx="24">
                  <c:v>3.05</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876,38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4,778,18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7,472,40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2876386</c:v>
                </c:pt>
                <c:pt idx="1">
                  <c:v>2165194</c:v>
                </c:pt>
                <c:pt idx="2">
                  <c:v>2141244</c:v>
                </c:pt>
                <c:pt idx="3">
                  <c:v>1863872</c:v>
                </c:pt>
                <c:pt idx="4">
                  <c:v>2364127</c:v>
                </c:pt>
                <c:pt idx="5">
                  <c:v>2360829</c:v>
                </c:pt>
                <c:pt idx="6">
                  <c:v>2467456</c:v>
                </c:pt>
                <c:pt idx="7">
                  <c:v>3782432</c:v>
                </c:pt>
                <c:pt idx="8">
                  <c:v>4235008</c:v>
                </c:pt>
                <c:pt idx="9">
                  <c:v>4930698</c:v>
                </c:pt>
                <c:pt idx="10">
                  <c:v>5478950</c:v>
                </c:pt>
                <c:pt idx="11">
                  <c:v>6151193</c:v>
                </c:pt>
                <c:pt idx="12">
                  <c:v>5731044</c:v>
                </c:pt>
                <c:pt idx="13">
                  <c:v>4778185</c:v>
                </c:pt>
                <c:pt idx="14">
                  <c:v>4512012</c:v>
                </c:pt>
                <c:pt idx="15">
                  <c:v>4103187</c:v>
                </c:pt>
                <c:pt idx="16">
                  <c:v>5042922</c:v>
                </c:pt>
                <c:pt idx="17">
                  <c:v>4471011</c:v>
                </c:pt>
                <c:pt idx="18">
                  <c:v>4528568</c:v>
                </c:pt>
                <c:pt idx="19">
                  <c:v>5801832</c:v>
                </c:pt>
                <c:pt idx="20">
                  <c:v>5509250</c:v>
                </c:pt>
                <c:pt idx="21">
                  <c:v>6390361</c:v>
                </c:pt>
                <c:pt idx="22">
                  <c:v>6856224</c:v>
                </c:pt>
                <c:pt idx="23">
                  <c:v>7108300</c:v>
                </c:pt>
                <c:pt idx="24">
                  <c:v>7472403</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6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2.8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67</c:v>
                </c:pt>
                <c:pt idx="1">
                  <c:v>3.5</c:v>
                </c:pt>
                <c:pt idx="2">
                  <c:v>3.32</c:v>
                </c:pt>
                <c:pt idx="3">
                  <c:v>3.34</c:v>
                </c:pt>
                <c:pt idx="4">
                  <c:v>3.4</c:v>
                </c:pt>
                <c:pt idx="5">
                  <c:v>3.28</c:v>
                </c:pt>
                <c:pt idx="6">
                  <c:v>3.15</c:v>
                </c:pt>
                <c:pt idx="7">
                  <c:v>3.26</c:v>
                </c:pt>
                <c:pt idx="8">
                  <c:v>3.31</c:v>
                </c:pt>
                <c:pt idx="9">
                  <c:v>3.26</c:v>
                </c:pt>
                <c:pt idx="10">
                  <c:v>3.21</c:v>
                </c:pt>
                <c:pt idx="11">
                  <c:v>3.15</c:v>
                </c:pt>
                <c:pt idx="12">
                  <c:v>3.03</c:v>
                </c:pt>
                <c:pt idx="13">
                  <c:v>2.92</c:v>
                </c:pt>
                <c:pt idx="14">
                  <c:v>2.93</c:v>
                </c:pt>
                <c:pt idx="15">
                  <c:v>2.87</c:v>
                </c:pt>
                <c:pt idx="16">
                  <c:v>2.86</c:v>
                </c:pt>
                <c:pt idx="17">
                  <c:v>2.76</c:v>
                </c:pt>
                <c:pt idx="18">
                  <c:v>2.75</c:v>
                </c:pt>
                <c:pt idx="19">
                  <c:v>2.84</c:v>
                </c:pt>
                <c:pt idx="20">
                  <c:v>2.81</c:v>
                </c:pt>
                <c:pt idx="21">
                  <c:v>2.84</c:v>
                </c:pt>
                <c:pt idx="22">
                  <c:v>2.83</c:v>
                </c:pt>
                <c:pt idx="23">
                  <c:v>2.73</c:v>
                </c:pt>
                <c:pt idx="24">
                  <c:v>2.8</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8,166,00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7,202,58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7,031,72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8166004</c:v>
                </c:pt>
                <c:pt idx="1">
                  <c:v>7172155</c:v>
                </c:pt>
                <c:pt idx="2">
                  <c:v>7085847</c:v>
                </c:pt>
                <c:pt idx="3">
                  <c:v>6954277</c:v>
                </c:pt>
                <c:pt idx="4">
                  <c:v>9388423</c:v>
                </c:pt>
                <c:pt idx="5">
                  <c:v>7148381</c:v>
                </c:pt>
                <c:pt idx="6">
                  <c:v>7095200</c:v>
                </c:pt>
                <c:pt idx="7">
                  <c:v>8572633</c:v>
                </c:pt>
                <c:pt idx="8">
                  <c:v>7947834</c:v>
                </c:pt>
                <c:pt idx="9">
                  <c:v>8451105</c:v>
                </c:pt>
                <c:pt idx="10">
                  <c:v>8574278</c:v>
                </c:pt>
                <c:pt idx="11">
                  <c:v>8987235</c:v>
                </c:pt>
                <c:pt idx="12">
                  <c:v>8370299</c:v>
                </c:pt>
                <c:pt idx="13">
                  <c:v>7202581</c:v>
                </c:pt>
                <c:pt idx="14">
                  <c:v>7308455</c:v>
                </c:pt>
                <c:pt idx="15">
                  <c:v>6896936</c:v>
                </c:pt>
                <c:pt idx="16">
                  <c:v>8513595</c:v>
                </c:pt>
                <c:pt idx="17">
                  <c:v>6340888</c:v>
                </c:pt>
                <c:pt idx="18">
                  <c:v>6123541</c:v>
                </c:pt>
                <c:pt idx="19">
                  <c:v>6983863</c:v>
                </c:pt>
                <c:pt idx="20">
                  <c:v>6394168</c:v>
                </c:pt>
                <c:pt idx="21">
                  <c:v>7001157</c:v>
                </c:pt>
                <c:pt idx="22">
                  <c:v>7231936</c:v>
                </c:pt>
                <c:pt idx="23">
                  <c:v>7611882</c:v>
                </c:pt>
                <c:pt idx="24">
                  <c:v>7031723</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6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3.5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3.3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68</c:v>
                </c:pt>
                <c:pt idx="1">
                  <c:v>3.56</c:v>
                </c:pt>
                <c:pt idx="2">
                  <c:v>3.42</c:v>
                </c:pt>
                <c:pt idx="3">
                  <c:v>3.16</c:v>
                </c:pt>
                <c:pt idx="4">
                  <c:v>2.68</c:v>
                </c:pt>
                <c:pt idx="5">
                  <c:v>3.34</c:v>
                </c:pt>
                <c:pt idx="6">
                  <c:v>3.29</c:v>
                </c:pt>
                <c:pt idx="7">
                  <c:v>3.46</c:v>
                </c:pt>
                <c:pt idx="8">
                  <c:v>3.47</c:v>
                </c:pt>
                <c:pt idx="9">
                  <c:v>3.53</c:v>
                </c:pt>
                <c:pt idx="10">
                  <c:v>3.62</c:v>
                </c:pt>
                <c:pt idx="11">
                  <c:v>3.61</c:v>
                </c:pt>
                <c:pt idx="12">
                  <c:v>3.52</c:v>
                </c:pt>
                <c:pt idx="13">
                  <c:v>3.5</c:v>
                </c:pt>
                <c:pt idx="14">
                  <c:v>3.4</c:v>
                </c:pt>
                <c:pt idx="15">
                  <c:v>3.4</c:v>
                </c:pt>
                <c:pt idx="16">
                  <c:v>3.28</c:v>
                </c:pt>
                <c:pt idx="17">
                  <c:v>3.39</c:v>
                </c:pt>
                <c:pt idx="18">
                  <c:v>3.47</c:v>
                </c:pt>
                <c:pt idx="19">
                  <c:v>3.41</c:v>
                </c:pt>
                <c:pt idx="20">
                  <c:v>3.44</c:v>
                </c:pt>
                <c:pt idx="21">
                  <c:v>3.38</c:v>
                </c:pt>
                <c:pt idx="22">
                  <c:v>3.41</c:v>
                </c:pt>
                <c:pt idx="23">
                  <c:v>3.38</c:v>
                </c:pt>
                <c:pt idx="24">
                  <c:v>3.35</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8,826,11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7,272,7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8,069,99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8826110</c:v>
                </c:pt>
                <c:pt idx="1">
                  <c:v>7586023</c:v>
                </c:pt>
                <c:pt idx="2">
                  <c:v>7722500</c:v>
                </c:pt>
                <c:pt idx="3">
                  <c:v>7828836</c:v>
                </c:pt>
                <c:pt idx="4">
                  <c:v>8379622</c:v>
                </c:pt>
                <c:pt idx="5">
                  <c:v>6751326</c:v>
                </c:pt>
                <c:pt idx="6">
                  <c:v>6807799</c:v>
                </c:pt>
                <c:pt idx="7">
                  <c:v>8356766</c:v>
                </c:pt>
                <c:pt idx="8">
                  <c:v>8196737</c:v>
                </c:pt>
                <c:pt idx="9">
                  <c:v>8717720</c:v>
                </c:pt>
                <c:pt idx="10">
                  <c:v>9102488</c:v>
                </c:pt>
                <c:pt idx="11">
                  <c:v>9285794</c:v>
                </c:pt>
                <c:pt idx="12">
                  <c:v>8710778</c:v>
                </c:pt>
                <c:pt idx="13">
                  <c:v>7272779</c:v>
                </c:pt>
                <c:pt idx="14">
                  <c:v>7291330</c:v>
                </c:pt>
                <c:pt idx="15">
                  <c:v>6931884</c:v>
                </c:pt>
                <c:pt idx="16">
                  <c:v>8700862</c:v>
                </c:pt>
                <c:pt idx="17">
                  <c:v>6058124</c:v>
                </c:pt>
                <c:pt idx="18">
                  <c:v>6201746</c:v>
                </c:pt>
                <c:pt idx="19">
                  <c:v>7280547</c:v>
                </c:pt>
                <c:pt idx="20">
                  <c:v>7043286</c:v>
                </c:pt>
                <c:pt idx="21">
                  <c:v>7515158</c:v>
                </c:pt>
                <c:pt idx="22">
                  <c:v>7996800</c:v>
                </c:pt>
                <c:pt idx="23">
                  <c:v>8405242</c:v>
                </c:pt>
                <c:pt idx="24">
                  <c:v>806999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4.0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4.1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4.0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4.04</c:v>
                </c:pt>
                <c:pt idx="1">
                  <c:v>4.08</c:v>
                </c:pt>
                <c:pt idx="2">
                  <c:v>4.01</c:v>
                </c:pt>
                <c:pt idx="3">
                  <c:v>3.83</c:v>
                </c:pt>
                <c:pt idx="4">
                  <c:v>3.83</c:v>
                </c:pt>
                <c:pt idx="5">
                  <c:v>4.01</c:v>
                </c:pt>
                <c:pt idx="6">
                  <c:v>4.08</c:v>
                </c:pt>
                <c:pt idx="7">
                  <c:v>4.14</c:v>
                </c:pt>
                <c:pt idx="8">
                  <c:v>4.16</c:v>
                </c:pt>
                <c:pt idx="9">
                  <c:v>4.22</c:v>
                </c:pt>
                <c:pt idx="10">
                  <c:v>4.26</c:v>
                </c:pt>
                <c:pt idx="11">
                  <c:v>4.26</c:v>
                </c:pt>
                <c:pt idx="12">
                  <c:v>4.16</c:v>
                </c:pt>
                <c:pt idx="13">
                  <c:v>4.13</c:v>
                </c:pt>
                <c:pt idx="14">
                  <c:v>3.97</c:v>
                </c:pt>
                <c:pt idx="15">
                  <c:v>3.84</c:v>
                </c:pt>
                <c:pt idx="16">
                  <c:v>3.45</c:v>
                </c:pt>
                <c:pt idx="17">
                  <c:v>3.84</c:v>
                </c:pt>
                <c:pt idx="18">
                  <c:v>3.97</c:v>
                </c:pt>
                <c:pt idx="19">
                  <c:v>4.0</c:v>
                </c:pt>
                <c:pt idx="20">
                  <c:v>3.96</c:v>
                </c:pt>
                <c:pt idx="21">
                  <c:v>3.98</c:v>
                </c:pt>
                <c:pt idx="22">
                  <c:v>4.06</c:v>
                </c:pt>
                <c:pt idx="23">
                  <c:v>4.06</c:v>
                </c:pt>
                <c:pt idx="24">
                  <c:v>4.05</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024,81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499,30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914,98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2024818</c:v>
                </c:pt>
                <c:pt idx="1">
                  <c:v>1721701</c:v>
                </c:pt>
                <c:pt idx="2">
                  <c:v>2492459</c:v>
                </c:pt>
                <c:pt idx="3">
                  <c:v>2266092</c:v>
                </c:pt>
                <c:pt idx="4">
                  <c:v>2606751</c:v>
                </c:pt>
                <c:pt idx="5">
                  <c:v>1356840</c:v>
                </c:pt>
                <c:pt idx="6">
                  <c:v>1918791</c:v>
                </c:pt>
                <c:pt idx="7">
                  <c:v>2341518</c:v>
                </c:pt>
                <c:pt idx="8">
                  <c:v>1973270</c:v>
                </c:pt>
                <c:pt idx="9">
                  <c:v>1747869</c:v>
                </c:pt>
                <c:pt idx="10">
                  <c:v>2743075</c:v>
                </c:pt>
                <c:pt idx="11">
                  <c:v>2161482</c:v>
                </c:pt>
                <c:pt idx="12">
                  <c:v>1783528</c:v>
                </c:pt>
                <c:pt idx="13">
                  <c:v>1499300</c:v>
                </c:pt>
                <c:pt idx="14">
                  <c:v>2359923</c:v>
                </c:pt>
                <c:pt idx="15">
                  <c:v>1988819</c:v>
                </c:pt>
                <c:pt idx="16">
                  <c:v>3261444</c:v>
                </c:pt>
                <c:pt idx="17">
                  <c:v>1074873</c:v>
                </c:pt>
                <c:pt idx="18">
                  <c:v>1175600</c:v>
                </c:pt>
                <c:pt idx="19">
                  <c:v>1502130</c:v>
                </c:pt>
                <c:pt idx="20">
                  <c:v>1569925</c:v>
                </c:pt>
                <c:pt idx="21">
                  <c:v>1638981</c:v>
                </c:pt>
                <c:pt idx="22">
                  <c:v>2104472</c:v>
                </c:pt>
                <c:pt idx="23">
                  <c:v>2426764</c:v>
                </c:pt>
                <c:pt idx="24">
                  <c:v>1914980</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1.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7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5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1.53</c:v>
                </c:pt>
                <c:pt idx="1">
                  <c:v>1.59</c:v>
                </c:pt>
                <c:pt idx="2">
                  <c:v>1.5</c:v>
                </c:pt>
                <c:pt idx="3">
                  <c:v>1.32</c:v>
                </c:pt>
                <c:pt idx="4">
                  <c:v>1.24</c:v>
                </c:pt>
                <c:pt idx="5">
                  <c:v>1.5</c:v>
                </c:pt>
                <c:pt idx="6">
                  <c:v>1.58</c:v>
                </c:pt>
                <c:pt idx="7">
                  <c:v>1.56</c:v>
                </c:pt>
                <c:pt idx="8">
                  <c:v>1.63</c:v>
                </c:pt>
                <c:pt idx="9">
                  <c:v>1.69</c:v>
                </c:pt>
                <c:pt idx="10">
                  <c:v>1.75</c:v>
                </c:pt>
                <c:pt idx="11">
                  <c:v>1.74</c:v>
                </c:pt>
                <c:pt idx="12">
                  <c:v>1.7</c:v>
                </c:pt>
                <c:pt idx="13">
                  <c:v>1.71</c:v>
                </c:pt>
                <c:pt idx="14">
                  <c:v>1.68</c:v>
                </c:pt>
                <c:pt idx="15">
                  <c:v>1.58</c:v>
                </c:pt>
                <c:pt idx="16">
                  <c:v>1.37</c:v>
                </c:pt>
                <c:pt idx="17">
                  <c:v>1.6</c:v>
                </c:pt>
                <c:pt idx="18">
                  <c:v>1.6</c:v>
                </c:pt>
                <c:pt idx="19">
                  <c:v>1.61</c:v>
                </c:pt>
                <c:pt idx="20">
                  <c:v>1.6</c:v>
                </c:pt>
                <c:pt idx="21">
                  <c:v>1.59</c:v>
                </c:pt>
                <c:pt idx="22">
                  <c:v>1.58</c:v>
                </c:pt>
                <c:pt idx="23">
                  <c:v>1.55</c:v>
                </c:pt>
                <c:pt idx="24">
                  <c:v>1.57</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4,874,40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4,404,64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5,072,20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4874403</c:v>
                </c:pt>
                <c:pt idx="1">
                  <c:v>4061632</c:v>
                </c:pt>
                <c:pt idx="2">
                  <c:v>3879358</c:v>
                </c:pt>
                <c:pt idx="3">
                  <c:v>3511292</c:v>
                </c:pt>
                <c:pt idx="4">
                  <c:v>4214885</c:v>
                </c:pt>
                <c:pt idx="5">
                  <c:v>3744206</c:v>
                </c:pt>
                <c:pt idx="6">
                  <c:v>3759512</c:v>
                </c:pt>
                <c:pt idx="7">
                  <c:v>5253636</c:v>
                </c:pt>
                <c:pt idx="8">
                  <c:v>4689123</c:v>
                </c:pt>
                <c:pt idx="9">
                  <c:v>5734254</c:v>
                </c:pt>
                <c:pt idx="10">
                  <c:v>5651768</c:v>
                </c:pt>
                <c:pt idx="11">
                  <c:v>5474492</c:v>
                </c:pt>
                <c:pt idx="12">
                  <c:v>5066269</c:v>
                </c:pt>
                <c:pt idx="13">
                  <c:v>4404649</c:v>
                </c:pt>
                <c:pt idx="14">
                  <c:v>3916131</c:v>
                </c:pt>
                <c:pt idx="15">
                  <c:v>3577715</c:v>
                </c:pt>
                <c:pt idx="16">
                  <c:v>4191728</c:v>
                </c:pt>
                <c:pt idx="17">
                  <c:v>3535059</c:v>
                </c:pt>
                <c:pt idx="18">
                  <c:v>3536179</c:v>
                </c:pt>
                <c:pt idx="19">
                  <c:v>4090033</c:v>
                </c:pt>
                <c:pt idx="20">
                  <c:v>4204209</c:v>
                </c:pt>
                <c:pt idx="21">
                  <c:v>4654757</c:v>
                </c:pt>
                <c:pt idx="22">
                  <c:v>5100493</c:v>
                </c:pt>
                <c:pt idx="23">
                  <c:v>5300795</c:v>
                </c:pt>
                <c:pt idx="24">
                  <c:v>5072208</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5.2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5.6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4.9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5.29</c:v>
                </c:pt>
                <c:pt idx="1">
                  <c:v>5.28</c:v>
                </c:pt>
                <c:pt idx="2">
                  <c:v>5.14</c:v>
                </c:pt>
                <c:pt idx="3">
                  <c:v>5.26</c:v>
                </c:pt>
                <c:pt idx="4">
                  <c:v>5.35</c:v>
                </c:pt>
                <c:pt idx="5">
                  <c:v>5.16</c:v>
                </c:pt>
                <c:pt idx="6">
                  <c:v>5.13</c:v>
                </c:pt>
                <c:pt idx="7">
                  <c:v>5.45</c:v>
                </c:pt>
                <c:pt idx="8">
                  <c:v>5.43</c:v>
                </c:pt>
                <c:pt idx="9">
                  <c:v>5.5</c:v>
                </c:pt>
                <c:pt idx="10">
                  <c:v>5.37</c:v>
                </c:pt>
                <c:pt idx="11">
                  <c:v>5.52</c:v>
                </c:pt>
                <c:pt idx="12">
                  <c:v>5.36</c:v>
                </c:pt>
                <c:pt idx="13">
                  <c:v>5.61</c:v>
                </c:pt>
                <c:pt idx="14">
                  <c:v>5.35</c:v>
                </c:pt>
                <c:pt idx="15">
                  <c:v>5.38</c:v>
                </c:pt>
                <c:pt idx="16">
                  <c:v>5.33</c:v>
                </c:pt>
                <c:pt idx="17">
                  <c:v>5.37</c:v>
                </c:pt>
                <c:pt idx="18">
                  <c:v>5.14</c:v>
                </c:pt>
                <c:pt idx="19">
                  <c:v>5.12</c:v>
                </c:pt>
                <c:pt idx="20">
                  <c:v>5.08</c:v>
                </c:pt>
                <c:pt idx="21">
                  <c:v>4.92</c:v>
                </c:pt>
                <c:pt idx="22">
                  <c:v>4.97</c:v>
                </c:pt>
                <c:pt idx="23">
                  <c:v>5.05</c:v>
                </c:pt>
                <c:pt idx="24">
                  <c:v>4.94</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68,8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46,45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728,35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68882</c:v>
                </c:pt>
                <c:pt idx="1">
                  <c:v>65437</c:v>
                </c:pt>
                <c:pt idx="2">
                  <c:v>64859</c:v>
                </c:pt>
                <c:pt idx="3">
                  <c:v>45965</c:v>
                </c:pt>
                <c:pt idx="4">
                  <c:v>56171</c:v>
                </c:pt>
                <c:pt idx="5">
                  <c:v>59797</c:v>
                </c:pt>
                <c:pt idx="6">
                  <c:v>76334</c:v>
                </c:pt>
                <c:pt idx="7">
                  <c:v>131843</c:v>
                </c:pt>
                <c:pt idx="8">
                  <c:v>151356</c:v>
                </c:pt>
                <c:pt idx="9">
                  <c:v>192919</c:v>
                </c:pt>
                <c:pt idx="10">
                  <c:v>225851</c:v>
                </c:pt>
                <c:pt idx="11">
                  <c:v>258852</c:v>
                </c:pt>
                <c:pt idx="12">
                  <c:v>264602</c:v>
                </c:pt>
                <c:pt idx="13">
                  <c:v>246456</c:v>
                </c:pt>
                <c:pt idx="14">
                  <c:v>219043</c:v>
                </c:pt>
                <c:pt idx="15">
                  <c:v>240569</c:v>
                </c:pt>
                <c:pt idx="16">
                  <c:v>312484</c:v>
                </c:pt>
                <c:pt idx="17">
                  <c:v>317062</c:v>
                </c:pt>
                <c:pt idx="18">
                  <c:v>363785</c:v>
                </c:pt>
                <c:pt idx="19">
                  <c:v>464547</c:v>
                </c:pt>
                <c:pt idx="20">
                  <c:v>480538</c:v>
                </c:pt>
                <c:pt idx="21">
                  <c:v>564170</c:v>
                </c:pt>
                <c:pt idx="22">
                  <c:v>612323</c:v>
                </c:pt>
                <c:pt idx="23">
                  <c:v>780562</c:v>
                </c:pt>
                <c:pt idx="24">
                  <c:v>728356</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5.1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0.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3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5.16</c:v>
                </c:pt>
                <c:pt idx="1">
                  <c:v>4.65</c:v>
                </c:pt>
                <c:pt idx="2">
                  <c:v>4.26</c:v>
                </c:pt>
                <c:pt idx="3">
                  <c:v>4.26</c:v>
                </c:pt>
                <c:pt idx="4">
                  <c:v>4.55</c:v>
                </c:pt>
                <c:pt idx="5">
                  <c:v>3.89</c:v>
                </c:pt>
                <c:pt idx="6">
                  <c:v>1.35</c:v>
                </c:pt>
                <c:pt idx="7">
                  <c:v>1.28</c:v>
                </c:pt>
                <c:pt idx="8">
                  <c:v>1.27</c:v>
                </c:pt>
                <c:pt idx="9">
                  <c:v>1.24</c:v>
                </c:pt>
                <c:pt idx="10">
                  <c:v>1.16</c:v>
                </c:pt>
                <c:pt idx="11">
                  <c:v>1.05</c:v>
                </c:pt>
                <c:pt idx="12">
                  <c:v>1.02</c:v>
                </c:pt>
                <c:pt idx="13">
                  <c:v>0.98</c:v>
                </c:pt>
                <c:pt idx="14">
                  <c:v>1.04</c:v>
                </c:pt>
                <c:pt idx="15">
                  <c:v>1.1</c:v>
                </c:pt>
                <c:pt idx="16">
                  <c:v>1.03</c:v>
                </c:pt>
                <c:pt idx="17">
                  <c:v>0.99</c:v>
                </c:pt>
                <c:pt idx="18">
                  <c:v>1.11</c:v>
                </c:pt>
                <c:pt idx="19">
                  <c:v>1.24</c:v>
                </c:pt>
                <c:pt idx="20">
                  <c:v>1.21</c:v>
                </c:pt>
                <c:pt idx="21">
                  <c:v>1.28</c:v>
                </c:pt>
                <c:pt idx="22">
                  <c:v>1.28</c:v>
                </c:pt>
                <c:pt idx="23">
                  <c:v>1.3</c:v>
                </c:pt>
                <c:pt idx="24">
                  <c:v>1.3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401,22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1"/>
              <c:tx>
                <c:rich>
                  <a:bodyPr/>
                  <a:lstStyle/>
                  <a:p>
                    <a:r>
                      <a:t>Value Sales </a:t>
                    </a:r>
                  </a:p>
                  <a:p>
                    <a:r>
                      <a:t> 537,412</a:t>
                    </a:r>
                  </a:p>
                </c:rich>
              </c:tx>
              <c:dLblPos val="b"/>
              <c:showLegendKey val="0"/>
              <c:showVal val="1"/>
              <c:showCatName val="0"/>
              <c:showSerName val="0"/>
              <c:showPercent val="0"/>
              <c:showBubbleSize val="0"/>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Nov-22</c:v>
                </c:pt>
                <c:pt idx="1">
                  <c:v>Dec-22</c:v>
                </c:pt>
                <c:pt idx="2">
                  <c:v>Jan-23</c:v>
                </c:pt>
                <c:pt idx="3">
                  <c:v>Feb-23</c:v>
                </c:pt>
                <c:pt idx="4">
                  <c:v>Mar-23</c:v>
                </c:pt>
                <c:pt idx="5">
                  <c:v>Apr-23</c:v>
                </c:pt>
                <c:pt idx="6">
                  <c:v>May-23</c:v>
                </c:pt>
                <c:pt idx="7">
                  <c:v>Jun-23</c:v>
                </c:pt>
                <c:pt idx="8">
                  <c:v>Jul-23</c:v>
                </c:pt>
                <c:pt idx="9">
                  <c:v>Aug-23</c:v>
                </c:pt>
                <c:pt idx="10">
                  <c:v>Sep-23</c:v>
                </c:pt>
                <c:pt idx="11">
                  <c:v>Oct-23</c:v>
                </c:pt>
                <c:pt idx="12">
                  <c:v>Nov-23</c:v>
                </c:pt>
                <c:pt idx="13">
                  <c:v>Dec-23</c:v>
                </c:pt>
                <c:pt idx="14">
                  <c:v>Jan-24</c:v>
                </c:pt>
                <c:pt idx="15">
                  <c:v>Feb-24</c:v>
                </c:pt>
                <c:pt idx="16">
                  <c:v>Mar-24</c:v>
                </c:pt>
                <c:pt idx="17">
                  <c:v>Apr-24</c:v>
                </c:pt>
                <c:pt idx="18">
                  <c:v>May-24</c:v>
                </c:pt>
                <c:pt idx="19">
                  <c:v>Jun-24</c:v>
                </c:pt>
                <c:pt idx="20">
                  <c:v>Jul-24</c:v>
                </c:pt>
                <c:pt idx="21">
                  <c:v>Aug-24</c:v>
                </c:pt>
              </c:strCache>
            </c:strRef>
          </c:cat>
          <c:val>
            <c:numRef>
              <c:f>Sheet1!$B$2:$B$23</c:f>
              <c:numCache>
                <c:formatCode>General</c:formatCode>
                <c:ptCount val="22"/>
                <c:pt idx="0">
                  <c:v>5</c:v>
                </c:pt>
                <c:pt idx="1">
                  <c:v>35897</c:v>
                </c:pt>
                <c:pt idx="2">
                  <c:v>93690</c:v>
                </c:pt>
                <c:pt idx="3">
                  <c:v>129083</c:v>
                </c:pt>
                <c:pt idx="4">
                  <c:v>305767</c:v>
                </c:pt>
                <c:pt idx="5">
                  <c:v>340548</c:v>
                </c:pt>
                <c:pt idx="6">
                  <c:v>352365</c:v>
                </c:pt>
                <c:pt idx="7">
                  <c:v>400022</c:v>
                </c:pt>
                <c:pt idx="8">
                  <c:v>438610</c:v>
                </c:pt>
                <c:pt idx="9">
                  <c:v>437888</c:v>
                </c:pt>
                <c:pt idx="10">
                  <c:v>374403</c:v>
                </c:pt>
                <c:pt idx="11">
                  <c:v>349027</c:v>
                </c:pt>
                <c:pt idx="12">
                  <c:v>297360</c:v>
                </c:pt>
                <c:pt idx="13">
                  <c:v>401221</c:v>
                </c:pt>
                <c:pt idx="14">
                  <c:v>386981</c:v>
                </c:pt>
                <c:pt idx="15">
                  <c:v>403051</c:v>
                </c:pt>
                <c:pt idx="16">
                  <c:v>485404</c:v>
                </c:pt>
                <c:pt idx="17">
                  <c:v>471849</c:v>
                </c:pt>
                <c:pt idx="18">
                  <c:v>519632</c:v>
                </c:pt>
                <c:pt idx="19">
                  <c:v>558312</c:v>
                </c:pt>
                <c:pt idx="20">
                  <c:v>535089</c:v>
                </c:pt>
                <c:pt idx="21">
                  <c:v>537412</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0.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4.2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1"/>
              <c:tx>
                <c:rich>
                  <a:bodyPr/>
                  <a:lstStyle/>
                  <a:p>
                    <a:r>
                      <a:t>Av Price/KG </a:t>
                    </a:r>
                  </a:p>
                  <a:p>
                    <a:r>
                      <a:t> $ 3.69</a:t>
                    </a:r>
                  </a:p>
                </c:rich>
              </c:tx>
              <c:dLblPos val="t"/>
              <c:showLegendKey val="0"/>
              <c:showVal val="1"/>
              <c:showCatName val="0"/>
              <c:showSerName val="0"/>
              <c:showPercent val="0"/>
              <c:showBubbleSize val="0"/>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Nov-22</c:v>
                </c:pt>
                <c:pt idx="1">
                  <c:v>Dec-22</c:v>
                </c:pt>
                <c:pt idx="2">
                  <c:v>Jan-23</c:v>
                </c:pt>
                <c:pt idx="3">
                  <c:v>Feb-23</c:v>
                </c:pt>
                <c:pt idx="4">
                  <c:v>Mar-23</c:v>
                </c:pt>
                <c:pt idx="5">
                  <c:v>Apr-23</c:v>
                </c:pt>
                <c:pt idx="6">
                  <c:v>May-23</c:v>
                </c:pt>
                <c:pt idx="7">
                  <c:v>Jun-23</c:v>
                </c:pt>
                <c:pt idx="8">
                  <c:v>Jul-23</c:v>
                </c:pt>
                <c:pt idx="9">
                  <c:v>Aug-23</c:v>
                </c:pt>
                <c:pt idx="10">
                  <c:v>Sep-23</c:v>
                </c:pt>
                <c:pt idx="11">
                  <c:v>Oct-23</c:v>
                </c:pt>
                <c:pt idx="12">
                  <c:v>Nov-23</c:v>
                </c:pt>
                <c:pt idx="13">
                  <c:v>Dec-23</c:v>
                </c:pt>
                <c:pt idx="14">
                  <c:v>Jan-24</c:v>
                </c:pt>
                <c:pt idx="15">
                  <c:v>Feb-24</c:v>
                </c:pt>
                <c:pt idx="16">
                  <c:v>Mar-24</c:v>
                </c:pt>
                <c:pt idx="17">
                  <c:v>Apr-24</c:v>
                </c:pt>
                <c:pt idx="18">
                  <c:v>May-24</c:v>
                </c:pt>
                <c:pt idx="19">
                  <c:v>Jun-24</c:v>
                </c:pt>
                <c:pt idx="20">
                  <c:v>Jul-24</c:v>
                </c:pt>
                <c:pt idx="21">
                  <c:v>Aug-24</c:v>
                </c:pt>
              </c:strCache>
            </c:strRef>
          </c:cat>
          <c:val>
            <c:numRef>
              <c:f>Sheet1!$C$2:$C$23</c:f>
              <c:numCache>
                <c:formatCode>General</c:formatCode>
                <c:ptCount val="22"/>
                <c:pt idx="0">
                  <c:v>0.0</c:v>
                </c:pt>
                <c:pt idx="1">
                  <c:v>5.32</c:v>
                </c:pt>
                <c:pt idx="2">
                  <c:v>5.41</c:v>
                </c:pt>
                <c:pt idx="3">
                  <c:v>5.26</c:v>
                </c:pt>
                <c:pt idx="4">
                  <c:v>4.88</c:v>
                </c:pt>
                <c:pt idx="5">
                  <c:v>4.53</c:v>
                </c:pt>
                <c:pt idx="6">
                  <c:v>4.42</c:v>
                </c:pt>
                <c:pt idx="7">
                  <c:v>4.38</c:v>
                </c:pt>
                <c:pt idx="8">
                  <c:v>4.4</c:v>
                </c:pt>
                <c:pt idx="9">
                  <c:v>4.33</c:v>
                </c:pt>
                <c:pt idx="10">
                  <c:v>4.23</c:v>
                </c:pt>
                <c:pt idx="11">
                  <c:v>4.22</c:v>
                </c:pt>
                <c:pt idx="12">
                  <c:v>4.25</c:v>
                </c:pt>
                <c:pt idx="13">
                  <c:v>4.26</c:v>
                </c:pt>
                <c:pt idx="14">
                  <c:v>4.17</c:v>
                </c:pt>
                <c:pt idx="15">
                  <c:v>3.87</c:v>
                </c:pt>
                <c:pt idx="16">
                  <c:v>3.83</c:v>
                </c:pt>
                <c:pt idx="17">
                  <c:v>3.81</c:v>
                </c:pt>
                <c:pt idx="18">
                  <c:v>3.79</c:v>
                </c:pt>
                <c:pt idx="19">
                  <c:v>3.81</c:v>
                </c:pt>
                <c:pt idx="20">
                  <c:v>3.77</c:v>
                </c:pt>
                <c:pt idx="21">
                  <c:v>3.69</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989,48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141,84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2,741,43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2989487</c:v>
                </c:pt>
                <c:pt idx="1">
                  <c:v>2222742</c:v>
                </c:pt>
                <c:pt idx="2">
                  <c:v>2194776</c:v>
                </c:pt>
                <c:pt idx="3">
                  <c:v>1920250</c:v>
                </c:pt>
                <c:pt idx="4">
                  <c:v>2319599</c:v>
                </c:pt>
                <c:pt idx="5">
                  <c:v>1964383</c:v>
                </c:pt>
                <c:pt idx="6">
                  <c:v>1832242</c:v>
                </c:pt>
                <c:pt idx="7">
                  <c:v>2094522</c:v>
                </c:pt>
                <c:pt idx="8">
                  <c:v>2164031</c:v>
                </c:pt>
                <c:pt idx="9">
                  <c:v>2351921</c:v>
                </c:pt>
                <c:pt idx="10">
                  <c:v>2559286</c:v>
                </c:pt>
                <c:pt idx="11">
                  <c:v>3052977</c:v>
                </c:pt>
                <c:pt idx="12">
                  <c:v>2721533</c:v>
                </c:pt>
                <c:pt idx="13">
                  <c:v>2141849</c:v>
                </c:pt>
                <c:pt idx="14">
                  <c:v>2027404</c:v>
                </c:pt>
                <c:pt idx="15">
                  <c:v>1929057</c:v>
                </c:pt>
                <c:pt idx="16">
                  <c:v>2338883</c:v>
                </c:pt>
                <c:pt idx="17">
                  <c:v>1931259</c:v>
                </c:pt>
                <c:pt idx="18">
                  <c:v>1993770</c:v>
                </c:pt>
                <c:pt idx="19">
                  <c:v>2484185</c:v>
                </c:pt>
                <c:pt idx="20">
                  <c:v>2218242</c:v>
                </c:pt>
                <c:pt idx="21">
                  <c:v>2457366</c:v>
                </c:pt>
                <c:pt idx="22">
                  <c:v>2648271</c:v>
                </c:pt>
                <c:pt idx="23">
                  <c:v>2567403</c:v>
                </c:pt>
                <c:pt idx="24">
                  <c:v>274143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3.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3.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64</c:v>
                </c:pt>
                <c:pt idx="1">
                  <c:v>3.47</c:v>
                </c:pt>
                <c:pt idx="2">
                  <c:v>3.3</c:v>
                </c:pt>
                <c:pt idx="3">
                  <c:v>3.32</c:v>
                </c:pt>
                <c:pt idx="4">
                  <c:v>3.33</c:v>
                </c:pt>
                <c:pt idx="5">
                  <c:v>3.09</c:v>
                </c:pt>
                <c:pt idx="6">
                  <c:v>3.06</c:v>
                </c:pt>
                <c:pt idx="7">
                  <c:v>3.12</c:v>
                </c:pt>
                <c:pt idx="8">
                  <c:v>3.21</c:v>
                </c:pt>
                <c:pt idx="9">
                  <c:v>3.19</c:v>
                </c:pt>
                <c:pt idx="10">
                  <c:v>3.18</c:v>
                </c:pt>
                <c:pt idx="11">
                  <c:v>3.24</c:v>
                </c:pt>
                <c:pt idx="12">
                  <c:v>3.13</c:v>
                </c:pt>
                <c:pt idx="13">
                  <c:v>3.06</c:v>
                </c:pt>
                <c:pt idx="14">
                  <c:v>3.02</c:v>
                </c:pt>
                <c:pt idx="15">
                  <c:v>3.01</c:v>
                </c:pt>
                <c:pt idx="16">
                  <c:v>3.03</c:v>
                </c:pt>
                <c:pt idx="17">
                  <c:v>2.96</c:v>
                </c:pt>
                <c:pt idx="18">
                  <c:v>2.97</c:v>
                </c:pt>
                <c:pt idx="19">
                  <c:v>3.06</c:v>
                </c:pt>
                <c:pt idx="20">
                  <c:v>3.01</c:v>
                </c:pt>
                <c:pt idx="21">
                  <c:v>2.99</c:v>
                </c:pt>
                <c:pt idx="22">
                  <c:v>3.0</c:v>
                </c:pt>
                <c:pt idx="23">
                  <c:v>2.95</c:v>
                </c:pt>
                <c:pt idx="24">
                  <c:v>3.02</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582,54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608,25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791,09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582544</c:v>
                </c:pt>
                <c:pt idx="1">
                  <c:v>558651</c:v>
                </c:pt>
                <c:pt idx="2">
                  <c:v>560896</c:v>
                </c:pt>
                <c:pt idx="3">
                  <c:v>550114</c:v>
                </c:pt>
                <c:pt idx="4">
                  <c:v>514117</c:v>
                </c:pt>
                <c:pt idx="5">
                  <c:v>580570</c:v>
                </c:pt>
                <c:pt idx="6">
                  <c:v>506534</c:v>
                </c:pt>
                <c:pt idx="7">
                  <c:v>573199</c:v>
                </c:pt>
                <c:pt idx="8">
                  <c:v>575661</c:v>
                </c:pt>
                <c:pt idx="9">
                  <c:v>638673</c:v>
                </c:pt>
                <c:pt idx="10">
                  <c:v>632339</c:v>
                </c:pt>
                <c:pt idx="11">
                  <c:v>744859</c:v>
                </c:pt>
                <c:pt idx="12">
                  <c:v>624684</c:v>
                </c:pt>
                <c:pt idx="13">
                  <c:v>608257</c:v>
                </c:pt>
                <c:pt idx="14">
                  <c:v>641525</c:v>
                </c:pt>
                <c:pt idx="15">
                  <c:v>690482</c:v>
                </c:pt>
                <c:pt idx="16">
                  <c:v>594475</c:v>
                </c:pt>
                <c:pt idx="17">
                  <c:v>626201</c:v>
                </c:pt>
                <c:pt idx="18">
                  <c:v>609262</c:v>
                </c:pt>
                <c:pt idx="19">
                  <c:v>682369</c:v>
                </c:pt>
                <c:pt idx="20">
                  <c:v>686634</c:v>
                </c:pt>
                <c:pt idx="21">
                  <c:v>791892</c:v>
                </c:pt>
                <c:pt idx="22">
                  <c:v>787474</c:v>
                </c:pt>
                <c:pt idx="23">
                  <c:v>925610</c:v>
                </c:pt>
                <c:pt idx="24">
                  <c:v>79109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6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3.6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3.4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62</c:v>
                </c:pt>
                <c:pt idx="1">
                  <c:v>3.45</c:v>
                </c:pt>
                <c:pt idx="2">
                  <c:v>3.31</c:v>
                </c:pt>
                <c:pt idx="3">
                  <c:v>3.33</c:v>
                </c:pt>
                <c:pt idx="4">
                  <c:v>3.41</c:v>
                </c:pt>
                <c:pt idx="5">
                  <c:v>3.39</c:v>
                </c:pt>
                <c:pt idx="6">
                  <c:v>3.58</c:v>
                </c:pt>
                <c:pt idx="7">
                  <c:v>3.54</c:v>
                </c:pt>
                <c:pt idx="8">
                  <c:v>3.57</c:v>
                </c:pt>
                <c:pt idx="9">
                  <c:v>3.62</c:v>
                </c:pt>
                <c:pt idx="10">
                  <c:v>3.69</c:v>
                </c:pt>
                <c:pt idx="11">
                  <c:v>3.6</c:v>
                </c:pt>
                <c:pt idx="12">
                  <c:v>3.65</c:v>
                </c:pt>
                <c:pt idx="13">
                  <c:v>3.6</c:v>
                </c:pt>
                <c:pt idx="14">
                  <c:v>3.39</c:v>
                </c:pt>
                <c:pt idx="15">
                  <c:v>3.28</c:v>
                </c:pt>
                <c:pt idx="16">
                  <c:v>3.32</c:v>
                </c:pt>
                <c:pt idx="17">
                  <c:v>3.43</c:v>
                </c:pt>
                <c:pt idx="18">
                  <c:v>3.6</c:v>
                </c:pt>
                <c:pt idx="19">
                  <c:v>3.56</c:v>
                </c:pt>
                <c:pt idx="20">
                  <c:v>3.49</c:v>
                </c:pt>
                <c:pt idx="21">
                  <c:v>3.17</c:v>
                </c:pt>
                <c:pt idx="22">
                  <c:v>3.32</c:v>
                </c:pt>
                <c:pt idx="23">
                  <c:v>3.35</c:v>
                </c:pt>
                <c:pt idx="24">
                  <c:v>3.46</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745,15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635,32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706,42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745155</c:v>
                </c:pt>
                <c:pt idx="1">
                  <c:v>640861</c:v>
                </c:pt>
                <c:pt idx="2">
                  <c:v>653854</c:v>
                </c:pt>
                <c:pt idx="3">
                  <c:v>564698</c:v>
                </c:pt>
                <c:pt idx="4">
                  <c:v>734491</c:v>
                </c:pt>
                <c:pt idx="5">
                  <c:v>619308</c:v>
                </c:pt>
                <c:pt idx="6">
                  <c:v>614652</c:v>
                </c:pt>
                <c:pt idx="7">
                  <c:v>1104036</c:v>
                </c:pt>
                <c:pt idx="8">
                  <c:v>730544</c:v>
                </c:pt>
                <c:pt idx="9">
                  <c:v>754051</c:v>
                </c:pt>
                <c:pt idx="10">
                  <c:v>773789</c:v>
                </c:pt>
                <c:pt idx="11">
                  <c:v>863660</c:v>
                </c:pt>
                <c:pt idx="12">
                  <c:v>730700</c:v>
                </c:pt>
                <c:pt idx="13">
                  <c:v>635320</c:v>
                </c:pt>
                <c:pt idx="14">
                  <c:v>621221</c:v>
                </c:pt>
                <c:pt idx="15">
                  <c:v>524070</c:v>
                </c:pt>
                <c:pt idx="16">
                  <c:v>652461</c:v>
                </c:pt>
                <c:pt idx="17">
                  <c:v>580661</c:v>
                </c:pt>
                <c:pt idx="18">
                  <c:v>573562</c:v>
                </c:pt>
                <c:pt idx="19">
                  <c:v>625479</c:v>
                </c:pt>
                <c:pt idx="20">
                  <c:v>555505</c:v>
                </c:pt>
                <c:pt idx="21">
                  <c:v>611506</c:v>
                </c:pt>
                <c:pt idx="22">
                  <c:v>725017</c:v>
                </c:pt>
                <c:pt idx="23">
                  <c:v>921135</c:v>
                </c:pt>
                <c:pt idx="24">
                  <c:v>706421</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4.2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4.4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3.8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4.28</c:v>
                </c:pt>
                <c:pt idx="1">
                  <c:v>4.01</c:v>
                </c:pt>
                <c:pt idx="2">
                  <c:v>3.87</c:v>
                </c:pt>
                <c:pt idx="3">
                  <c:v>3.88</c:v>
                </c:pt>
                <c:pt idx="4">
                  <c:v>3.76</c:v>
                </c:pt>
                <c:pt idx="5">
                  <c:v>3.88</c:v>
                </c:pt>
                <c:pt idx="6">
                  <c:v>3.89</c:v>
                </c:pt>
                <c:pt idx="7">
                  <c:v>4.14</c:v>
                </c:pt>
                <c:pt idx="8">
                  <c:v>4.12</c:v>
                </c:pt>
                <c:pt idx="9">
                  <c:v>4.33</c:v>
                </c:pt>
                <c:pt idx="10">
                  <c:v>4.19</c:v>
                </c:pt>
                <c:pt idx="11">
                  <c:v>4.34</c:v>
                </c:pt>
                <c:pt idx="12">
                  <c:v>4.41</c:v>
                </c:pt>
                <c:pt idx="13">
                  <c:v>4.44</c:v>
                </c:pt>
                <c:pt idx="14">
                  <c:v>4.2</c:v>
                </c:pt>
                <c:pt idx="15">
                  <c:v>4.45</c:v>
                </c:pt>
                <c:pt idx="16">
                  <c:v>4.45</c:v>
                </c:pt>
                <c:pt idx="17">
                  <c:v>4.39</c:v>
                </c:pt>
                <c:pt idx="18">
                  <c:v>4.3</c:v>
                </c:pt>
                <c:pt idx="19">
                  <c:v>4.26</c:v>
                </c:pt>
                <c:pt idx="20">
                  <c:v>4.2</c:v>
                </c:pt>
                <c:pt idx="21">
                  <c:v>4.15</c:v>
                </c:pt>
                <c:pt idx="22">
                  <c:v>4.05</c:v>
                </c:pt>
                <c:pt idx="23">
                  <c:v>4.11</c:v>
                </c:pt>
                <c:pt idx="24">
                  <c:v>3.84</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655,3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617,13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2,185,79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2655379</c:v>
                </c:pt>
                <c:pt idx="1">
                  <c:v>2236986</c:v>
                </c:pt>
                <c:pt idx="2">
                  <c:v>2358554</c:v>
                </c:pt>
                <c:pt idx="3">
                  <c:v>2598420</c:v>
                </c:pt>
                <c:pt idx="4">
                  <c:v>4016231</c:v>
                </c:pt>
                <c:pt idx="5">
                  <c:v>2391692</c:v>
                </c:pt>
                <c:pt idx="6">
                  <c:v>2477789</c:v>
                </c:pt>
                <c:pt idx="7">
                  <c:v>3039327</c:v>
                </c:pt>
                <c:pt idx="8">
                  <c:v>2867621</c:v>
                </c:pt>
                <c:pt idx="9">
                  <c:v>2983250</c:v>
                </c:pt>
                <c:pt idx="10">
                  <c:v>3124178</c:v>
                </c:pt>
                <c:pt idx="11">
                  <c:v>3210211</c:v>
                </c:pt>
                <c:pt idx="12">
                  <c:v>3034302</c:v>
                </c:pt>
                <c:pt idx="13">
                  <c:v>2617135</c:v>
                </c:pt>
                <c:pt idx="14">
                  <c:v>2694403</c:v>
                </c:pt>
                <c:pt idx="15">
                  <c:v>2721083</c:v>
                </c:pt>
                <c:pt idx="16">
                  <c:v>3726277</c:v>
                </c:pt>
                <c:pt idx="17">
                  <c:v>2153027</c:v>
                </c:pt>
                <c:pt idx="18">
                  <c:v>2002602</c:v>
                </c:pt>
                <c:pt idx="19">
                  <c:v>2346767</c:v>
                </c:pt>
                <c:pt idx="20">
                  <c:v>2088538</c:v>
                </c:pt>
                <c:pt idx="21">
                  <c:v>2288377</c:v>
                </c:pt>
                <c:pt idx="22">
                  <c:v>2385250</c:v>
                </c:pt>
                <c:pt idx="23">
                  <c:v>2365344</c:v>
                </c:pt>
                <c:pt idx="24">
                  <c:v>2185797</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7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3.3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3.2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73</c:v>
                </c:pt>
                <c:pt idx="1">
                  <c:v>3.69</c:v>
                </c:pt>
                <c:pt idx="2">
                  <c:v>3.47</c:v>
                </c:pt>
                <c:pt idx="3">
                  <c:v>3.07</c:v>
                </c:pt>
                <c:pt idx="4">
                  <c:v>2.44</c:v>
                </c:pt>
                <c:pt idx="5">
                  <c:v>3.11</c:v>
                </c:pt>
                <c:pt idx="6">
                  <c:v>3.33</c:v>
                </c:pt>
                <c:pt idx="7">
                  <c:v>3.26</c:v>
                </c:pt>
                <c:pt idx="8">
                  <c:v>3.3</c:v>
                </c:pt>
                <c:pt idx="9">
                  <c:v>3.39</c:v>
                </c:pt>
                <c:pt idx="10">
                  <c:v>3.43</c:v>
                </c:pt>
                <c:pt idx="11">
                  <c:v>3.39</c:v>
                </c:pt>
                <c:pt idx="12">
                  <c:v>3.31</c:v>
                </c:pt>
                <c:pt idx="13">
                  <c:v>3.31</c:v>
                </c:pt>
                <c:pt idx="14">
                  <c:v>3.26</c:v>
                </c:pt>
                <c:pt idx="15">
                  <c:v>3.25</c:v>
                </c:pt>
                <c:pt idx="16">
                  <c:v>3.09</c:v>
                </c:pt>
                <c:pt idx="17">
                  <c:v>3.09</c:v>
                </c:pt>
                <c:pt idx="18">
                  <c:v>3.39</c:v>
                </c:pt>
                <c:pt idx="19">
                  <c:v>3.4</c:v>
                </c:pt>
                <c:pt idx="20">
                  <c:v>3.31</c:v>
                </c:pt>
                <c:pt idx="21">
                  <c:v>3.25</c:v>
                </c:pt>
                <c:pt idx="22">
                  <c:v>3.21</c:v>
                </c:pt>
                <c:pt idx="23">
                  <c:v>3.21</c:v>
                </c:pt>
                <c:pt idx="24">
                  <c:v>3.25</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238,25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210,72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394,09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1238253</c:v>
                </c:pt>
                <c:pt idx="1">
                  <c:v>1121486</c:v>
                </c:pt>
                <c:pt idx="2">
                  <c:v>1174343</c:v>
                </c:pt>
                <c:pt idx="3">
                  <c:v>1070599</c:v>
                </c:pt>
                <c:pt idx="4">
                  <c:v>1124276</c:v>
                </c:pt>
                <c:pt idx="5">
                  <c:v>1159092</c:v>
                </c:pt>
                <c:pt idx="6">
                  <c:v>1050205</c:v>
                </c:pt>
                <c:pt idx="7">
                  <c:v>1154825</c:v>
                </c:pt>
                <c:pt idx="8">
                  <c:v>1155028</c:v>
                </c:pt>
                <c:pt idx="9">
                  <c:v>1280055</c:v>
                </c:pt>
                <c:pt idx="10">
                  <c:v>1344507</c:v>
                </c:pt>
                <c:pt idx="11">
                  <c:v>1467510</c:v>
                </c:pt>
                <c:pt idx="12">
                  <c:v>1336445</c:v>
                </c:pt>
                <c:pt idx="13">
                  <c:v>1210725</c:v>
                </c:pt>
                <c:pt idx="14">
                  <c:v>1190464</c:v>
                </c:pt>
                <c:pt idx="15">
                  <c:v>1192937</c:v>
                </c:pt>
                <c:pt idx="16">
                  <c:v>1120055</c:v>
                </c:pt>
                <c:pt idx="17">
                  <c:v>1068497</c:v>
                </c:pt>
                <c:pt idx="18">
                  <c:v>1064587</c:v>
                </c:pt>
                <c:pt idx="19">
                  <c:v>1179453</c:v>
                </c:pt>
                <c:pt idx="20">
                  <c:v>1203157</c:v>
                </c:pt>
                <c:pt idx="21">
                  <c:v>1246513</c:v>
                </c:pt>
                <c:pt idx="22">
                  <c:v>1317138</c:v>
                </c:pt>
                <c:pt idx="23">
                  <c:v>1554175</c:v>
                </c:pt>
                <c:pt idx="24">
                  <c:v>1394096</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3.3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15</c:v>
                </c:pt>
                <c:pt idx="1">
                  <c:v>3.26</c:v>
                </c:pt>
                <c:pt idx="2">
                  <c:v>3.27</c:v>
                </c:pt>
                <c:pt idx="3">
                  <c:v>3.29</c:v>
                </c:pt>
                <c:pt idx="4">
                  <c:v>3.4</c:v>
                </c:pt>
                <c:pt idx="5">
                  <c:v>3.43</c:v>
                </c:pt>
                <c:pt idx="6">
                  <c:v>3.36</c:v>
                </c:pt>
                <c:pt idx="7">
                  <c:v>3.21</c:v>
                </c:pt>
                <c:pt idx="8">
                  <c:v>3.2</c:v>
                </c:pt>
                <c:pt idx="9">
                  <c:v>3.14</c:v>
                </c:pt>
                <c:pt idx="10">
                  <c:v>3.18</c:v>
                </c:pt>
                <c:pt idx="11">
                  <c:v>3.12</c:v>
                </c:pt>
                <c:pt idx="12">
                  <c:v>3.05</c:v>
                </c:pt>
                <c:pt idx="13">
                  <c:v>2.92</c:v>
                </c:pt>
                <c:pt idx="14">
                  <c:v>2.66</c:v>
                </c:pt>
                <c:pt idx="15">
                  <c:v>2.71</c:v>
                </c:pt>
                <c:pt idx="16">
                  <c:v>2.78</c:v>
                </c:pt>
                <c:pt idx="17">
                  <c:v>2.79</c:v>
                </c:pt>
                <c:pt idx="18">
                  <c:v>2.76</c:v>
                </c:pt>
                <c:pt idx="19">
                  <c:v>2.93</c:v>
                </c:pt>
                <c:pt idx="20">
                  <c:v>2.91</c:v>
                </c:pt>
                <c:pt idx="21">
                  <c:v>2.83</c:v>
                </c:pt>
                <c:pt idx="22">
                  <c:v>3.07</c:v>
                </c:pt>
                <c:pt idx="23">
                  <c:v>3.21</c:v>
                </c:pt>
                <c:pt idx="24">
                  <c:v>3.31</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820,61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690,80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779,40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820614</c:v>
                </c:pt>
                <c:pt idx="1">
                  <c:v>708090</c:v>
                </c:pt>
                <c:pt idx="2">
                  <c:v>770634</c:v>
                </c:pt>
                <c:pt idx="3">
                  <c:v>604619</c:v>
                </c:pt>
                <c:pt idx="4">
                  <c:v>676790</c:v>
                </c:pt>
                <c:pt idx="5">
                  <c:v>597698</c:v>
                </c:pt>
                <c:pt idx="6">
                  <c:v>608288</c:v>
                </c:pt>
                <c:pt idx="7">
                  <c:v>1054794</c:v>
                </c:pt>
                <c:pt idx="8">
                  <c:v>850355</c:v>
                </c:pt>
                <c:pt idx="9">
                  <c:v>868156</c:v>
                </c:pt>
                <c:pt idx="10">
                  <c:v>960803</c:v>
                </c:pt>
                <c:pt idx="11">
                  <c:v>945460</c:v>
                </c:pt>
                <c:pt idx="12">
                  <c:v>874380</c:v>
                </c:pt>
                <c:pt idx="13">
                  <c:v>690804</c:v>
                </c:pt>
                <c:pt idx="14">
                  <c:v>671674</c:v>
                </c:pt>
                <c:pt idx="15">
                  <c:v>553794</c:v>
                </c:pt>
                <c:pt idx="16">
                  <c:v>640498</c:v>
                </c:pt>
                <c:pt idx="17">
                  <c:v>524967</c:v>
                </c:pt>
                <c:pt idx="18">
                  <c:v>536562</c:v>
                </c:pt>
                <c:pt idx="19">
                  <c:v>649217</c:v>
                </c:pt>
                <c:pt idx="20">
                  <c:v>639344</c:v>
                </c:pt>
                <c:pt idx="21">
                  <c:v>719017</c:v>
                </c:pt>
                <c:pt idx="22">
                  <c:v>786461</c:v>
                </c:pt>
                <c:pt idx="23">
                  <c:v>829119</c:v>
                </c:pt>
                <c:pt idx="24">
                  <c:v>779402</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5.1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5.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5.2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5.18</c:v>
                </c:pt>
                <c:pt idx="1">
                  <c:v>5.28</c:v>
                </c:pt>
                <c:pt idx="2">
                  <c:v>5.0</c:v>
                </c:pt>
                <c:pt idx="3">
                  <c:v>5.07</c:v>
                </c:pt>
                <c:pt idx="4">
                  <c:v>5.21</c:v>
                </c:pt>
                <c:pt idx="5">
                  <c:v>5.3</c:v>
                </c:pt>
                <c:pt idx="6">
                  <c:v>5.2</c:v>
                </c:pt>
                <c:pt idx="7">
                  <c:v>5.41</c:v>
                </c:pt>
                <c:pt idx="8">
                  <c:v>5.59</c:v>
                </c:pt>
                <c:pt idx="9">
                  <c:v>5.54</c:v>
                </c:pt>
                <c:pt idx="10">
                  <c:v>5.32</c:v>
                </c:pt>
                <c:pt idx="11">
                  <c:v>5.76</c:v>
                </c:pt>
                <c:pt idx="12">
                  <c:v>5.42</c:v>
                </c:pt>
                <c:pt idx="13">
                  <c:v>5.77</c:v>
                </c:pt>
                <c:pt idx="14">
                  <c:v>5.49</c:v>
                </c:pt>
                <c:pt idx="15">
                  <c:v>5.59</c:v>
                </c:pt>
                <c:pt idx="16">
                  <c:v>5.66</c:v>
                </c:pt>
                <c:pt idx="17">
                  <c:v>5.75</c:v>
                </c:pt>
                <c:pt idx="18">
                  <c:v>5.57</c:v>
                </c:pt>
                <c:pt idx="19">
                  <c:v>5.71</c:v>
                </c:pt>
                <c:pt idx="20">
                  <c:v>5.34</c:v>
                </c:pt>
                <c:pt idx="21">
                  <c:v>5.29</c:v>
                </c:pt>
                <c:pt idx="22">
                  <c:v>5.35</c:v>
                </c:pt>
                <c:pt idx="23">
                  <c:v>5.49</c:v>
                </c:pt>
                <c:pt idx="24">
                  <c:v>5.21</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708,92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178,59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2,304,30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2708923</c:v>
                </c:pt>
                <c:pt idx="1">
                  <c:v>2320458</c:v>
                </c:pt>
                <c:pt idx="2">
                  <c:v>2506446</c:v>
                </c:pt>
                <c:pt idx="3">
                  <c:v>2603412</c:v>
                </c:pt>
                <c:pt idx="4">
                  <c:v>2967087</c:v>
                </c:pt>
                <c:pt idx="5">
                  <c:v>1981532</c:v>
                </c:pt>
                <c:pt idx="6">
                  <c:v>2069610</c:v>
                </c:pt>
                <c:pt idx="7">
                  <c:v>2475988</c:v>
                </c:pt>
                <c:pt idx="8">
                  <c:v>2407434</c:v>
                </c:pt>
                <c:pt idx="9">
                  <c:v>2641812</c:v>
                </c:pt>
                <c:pt idx="10">
                  <c:v>2706567</c:v>
                </c:pt>
                <c:pt idx="11">
                  <c:v>2729269</c:v>
                </c:pt>
                <c:pt idx="12">
                  <c:v>2559644</c:v>
                </c:pt>
                <c:pt idx="13">
                  <c:v>2178591</c:v>
                </c:pt>
                <c:pt idx="14">
                  <c:v>2259111</c:v>
                </c:pt>
                <c:pt idx="15">
                  <c:v>2257637</c:v>
                </c:pt>
                <c:pt idx="16">
                  <c:v>3052906</c:v>
                </c:pt>
                <c:pt idx="17">
                  <c:v>1756973</c:v>
                </c:pt>
                <c:pt idx="18">
                  <c:v>1956577</c:v>
                </c:pt>
                <c:pt idx="19">
                  <c:v>2256094</c:v>
                </c:pt>
                <c:pt idx="20">
                  <c:v>2136146</c:v>
                </c:pt>
                <c:pt idx="21">
                  <c:v>2299099</c:v>
                </c:pt>
                <c:pt idx="22">
                  <c:v>2469191</c:v>
                </c:pt>
                <c:pt idx="23">
                  <c:v>2482545</c:v>
                </c:pt>
                <c:pt idx="24">
                  <c:v>2304301</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4.1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4.1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97</c:v>
                </c:pt>
                <c:pt idx="1">
                  <c:v>3.97</c:v>
                </c:pt>
                <c:pt idx="2">
                  <c:v>3.87</c:v>
                </c:pt>
                <c:pt idx="3">
                  <c:v>3.77</c:v>
                </c:pt>
                <c:pt idx="4">
                  <c:v>3.7</c:v>
                </c:pt>
                <c:pt idx="5">
                  <c:v>3.81</c:v>
                </c:pt>
                <c:pt idx="6">
                  <c:v>4.04</c:v>
                </c:pt>
                <c:pt idx="7">
                  <c:v>4.17</c:v>
                </c:pt>
                <c:pt idx="8">
                  <c:v>4.24</c:v>
                </c:pt>
                <c:pt idx="9">
                  <c:v>4.32</c:v>
                </c:pt>
                <c:pt idx="10">
                  <c:v>4.27</c:v>
                </c:pt>
                <c:pt idx="11">
                  <c:v>4.27</c:v>
                </c:pt>
                <c:pt idx="12">
                  <c:v>4.19</c:v>
                </c:pt>
                <c:pt idx="13">
                  <c:v>4.18</c:v>
                </c:pt>
                <c:pt idx="14">
                  <c:v>4.08</c:v>
                </c:pt>
                <c:pt idx="15">
                  <c:v>4.01</c:v>
                </c:pt>
                <c:pt idx="16">
                  <c:v>3.58</c:v>
                </c:pt>
                <c:pt idx="17">
                  <c:v>3.69</c:v>
                </c:pt>
                <c:pt idx="18">
                  <c:v>4.1</c:v>
                </c:pt>
                <c:pt idx="19">
                  <c:v>4.09</c:v>
                </c:pt>
                <c:pt idx="20">
                  <c:v>4.09</c:v>
                </c:pt>
                <c:pt idx="21">
                  <c:v>4.11</c:v>
                </c:pt>
                <c:pt idx="22">
                  <c:v>4.12</c:v>
                </c:pt>
                <c:pt idx="23">
                  <c:v>4.13</c:v>
                </c:pt>
                <c:pt idx="24">
                  <c:v>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3,29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3,22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5,44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13298</c:v>
                </c:pt>
                <c:pt idx="1">
                  <c:v>13718</c:v>
                </c:pt>
                <c:pt idx="2">
                  <c:v>11230</c:v>
                </c:pt>
                <c:pt idx="3">
                  <c:v>8739</c:v>
                </c:pt>
                <c:pt idx="4">
                  <c:v>8852</c:v>
                </c:pt>
                <c:pt idx="5">
                  <c:v>10781</c:v>
                </c:pt>
                <c:pt idx="6">
                  <c:v>10110</c:v>
                </c:pt>
                <c:pt idx="7">
                  <c:v>12679</c:v>
                </c:pt>
                <c:pt idx="8">
                  <c:v>12659</c:v>
                </c:pt>
                <c:pt idx="9">
                  <c:v>12915</c:v>
                </c:pt>
                <c:pt idx="10">
                  <c:v>14094</c:v>
                </c:pt>
                <c:pt idx="11">
                  <c:v>16363</c:v>
                </c:pt>
                <c:pt idx="12">
                  <c:v>14577</c:v>
                </c:pt>
                <c:pt idx="13">
                  <c:v>13229</c:v>
                </c:pt>
                <c:pt idx="14">
                  <c:v>20001</c:v>
                </c:pt>
                <c:pt idx="15">
                  <c:v>12979</c:v>
                </c:pt>
                <c:pt idx="16">
                  <c:v>11640</c:v>
                </c:pt>
                <c:pt idx="17">
                  <c:v>14044</c:v>
                </c:pt>
                <c:pt idx="18">
                  <c:v>13124</c:v>
                </c:pt>
                <c:pt idx="19">
                  <c:v>13269</c:v>
                </c:pt>
                <c:pt idx="20">
                  <c:v>13514</c:v>
                </c:pt>
                <c:pt idx="21">
                  <c:v>13700</c:v>
                </c:pt>
                <c:pt idx="22">
                  <c:v>14423</c:v>
                </c:pt>
                <c:pt idx="23">
                  <c:v>14036</c:v>
                </c:pt>
                <c:pt idx="24">
                  <c:v>15444</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1.5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2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1.58</c:v>
                </c:pt>
                <c:pt idx="1">
                  <c:v>1.58</c:v>
                </c:pt>
                <c:pt idx="2">
                  <c:v>1.68</c:v>
                </c:pt>
                <c:pt idx="3">
                  <c:v>1.48</c:v>
                </c:pt>
                <c:pt idx="4">
                  <c:v>1.44</c:v>
                </c:pt>
                <c:pt idx="5">
                  <c:v>1.41</c:v>
                </c:pt>
                <c:pt idx="6">
                  <c:v>1.3</c:v>
                </c:pt>
                <c:pt idx="7">
                  <c:v>1.34</c:v>
                </c:pt>
                <c:pt idx="8">
                  <c:v>1.34</c:v>
                </c:pt>
                <c:pt idx="9">
                  <c:v>1.26</c:v>
                </c:pt>
                <c:pt idx="10">
                  <c:v>1.27</c:v>
                </c:pt>
                <c:pt idx="11">
                  <c:v>1.28</c:v>
                </c:pt>
                <c:pt idx="12">
                  <c:v>1.27</c:v>
                </c:pt>
                <c:pt idx="13">
                  <c:v>1.25</c:v>
                </c:pt>
                <c:pt idx="14">
                  <c:v>1.33</c:v>
                </c:pt>
                <c:pt idx="15">
                  <c:v>1.38</c:v>
                </c:pt>
                <c:pt idx="16">
                  <c:v>1.34</c:v>
                </c:pt>
                <c:pt idx="17">
                  <c:v>1.41</c:v>
                </c:pt>
                <c:pt idx="18">
                  <c:v>1.44</c:v>
                </c:pt>
                <c:pt idx="19">
                  <c:v>1.46</c:v>
                </c:pt>
                <c:pt idx="20">
                  <c:v>1.57</c:v>
                </c:pt>
                <c:pt idx="21">
                  <c:v>1.71</c:v>
                </c:pt>
                <c:pt idx="22">
                  <c:v>1.73</c:v>
                </c:pt>
                <c:pt idx="23">
                  <c:v>1.71</c:v>
                </c:pt>
                <c:pt idx="24">
                  <c:v>1.64</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313,25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303,16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2,473,61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2313256</c:v>
                </c:pt>
                <c:pt idx="1">
                  <c:v>2075313</c:v>
                </c:pt>
                <c:pt idx="2">
                  <c:v>2033037</c:v>
                </c:pt>
                <c:pt idx="3">
                  <c:v>2007544</c:v>
                </c:pt>
                <c:pt idx="4">
                  <c:v>2528101</c:v>
                </c:pt>
                <c:pt idx="5">
                  <c:v>2059586</c:v>
                </c:pt>
                <c:pt idx="6">
                  <c:v>1975366</c:v>
                </c:pt>
                <c:pt idx="7">
                  <c:v>2447184</c:v>
                </c:pt>
                <c:pt idx="8">
                  <c:v>2277680</c:v>
                </c:pt>
                <c:pt idx="9">
                  <c:v>2242012</c:v>
                </c:pt>
                <c:pt idx="10">
                  <c:v>2213254</c:v>
                </c:pt>
                <c:pt idx="11">
                  <c:v>2375750</c:v>
                </c:pt>
                <c:pt idx="12">
                  <c:v>2531345</c:v>
                </c:pt>
                <c:pt idx="13">
                  <c:v>2303165</c:v>
                </c:pt>
                <c:pt idx="14">
                  <c:v>2390241</c:v>
                </c:pt>
                <c:pt idx="15">
                  <c:v>2227848</c:v>
                </c:pt>
                <c:pt idx="16">
                  <c:v>2529323</c:v>
                </c:pt>
                <c:pt idx="17">
                  <c:v>2246718</c:v>
                </c:pt>
                <c:pt idx="18">
                  <c:v>2221207</c:v>
                </c:pt>
                <c:pt idx="19">
                  <c:v>2373127</c:v>
                </c:pt>
                <c:pt idx="20">
                  <c:v>2267700</c:v>
                </c:pt>
                <c:pt idx="21">
                  <c:v>2413107</c:v>
                </c:pt>
                <c:pt idx="22">
                  <c:v>2422648</c:v>
                </c:pt>
                <c:pt idx="23">
                  <c:v>2512785</c:v>
                </c:pt>
                <c:pt idx="24">
                  <c:v>2473616</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1.5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6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1.54</c:v>
                </c:pt>
                <c:pt idx="1">
                  <c:v>1.55</c:v>
                </c:pt>
                <c:pt idx="2">
                  <c:v>1.55</c:v>
                </c:pt>
                <c:pt idx="3">
                  <c:v>1.55</c:v>
                </c:pt>
                <c:pt idx="4">
                  <c:v>1.57</c:v>
                </c:pt>
                <c:pt idx="5">
                  <c:v>1.54</c:v>
                </c:pt>
                <c:pt idx="6">
                  <c:v>1.61</c:v>
                </c:pt>
                <c:pt idx="7">
                  <c:v>1.65</c:v>
                </c:pt>
                <c:pt idx="8">
                  <c:v>1.66</c:v>
                </c:pt>
                <c:pt idx="9">
                  <c:v>1.64</c:v>
                </c:pt>
                <c:pt idx="10">
                  <c:v>1.63</c:v>
                </c:pt>
                <c:pt idx="11">
                  <c:v>1.63</c:v>
                </c:pt>
                <c:pt idx="12">
                  <c:v>1.65</c:v>
                </c:pt>
                <c:pt idx="13">
                  <c:v>1.65</c:v>
                </c:pt>
                <c:pt idx="14">
                  <c:v>1.65</c:v>
                </c:pt>
                <c:pt idx="15">
                  <c:v>1.65</c:v>
                </c:pt>
                <c:pt idx="16">
                  <c:v>1.64</c:v>
                </c:pt>
                <c:pt idx="17">
                  <c:v>1.61</c:v>
                </c:pt>
                <c:pt idx="18">
                  <c:v>1.64</c:v>
                </c:pt>
                <c:pt idx="19">
                  <c:v>1.65</c:v>
                </c:pt>
                <c:pt idx="20">
                  <c:v>1.66</c:v>
                </c:pt>
                <c:pt idx="21">
                  <c:v>1.67</c:v>
                </c:pt>
                <c:pt idx="22">
                  <c:v>1.68</c:v>
                </c:pt>
                <c:pt idx="23">
                  <c:v>1.67</c:v>
                </c:pt>
                <c:pt idx="24">
                  <c:v>1.64</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331,11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324,64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489,89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331119</c:v>
                </c:pt>
                <c:pt idx="1">
                  <c:v>328796</c:v>
                </c:pt>
                <c:pt idx="2">
                  <c:v>547548</c:v>
                </c:pt>
                <c:pt idx="3">
                  <c:v>318040</c:v>
                </c:pt>
                <c:pt idx="4">
                  <c:v>320465</c:v>
                </c:pt>
                <c:pt idx="5">
                  <c:v>253531</c:v>
                </c:pt>
                <c:pt idx="6">
                  <c:v>550124</c:v>
                </c:pt>
                <c:pt idx="7">
                  <c:v>733073</c:v>
                </c:pt>
                <c:pt idx="8">
                  <c:v>546152</c:v>
                </c:pt>
                <c:pt idx="9">
                  <c:v>434655</c:v>
                </c:pt>
                <c:pt idx="10">
                  <c:v>885491</c:v>
                </c:pt>
                <c:pt idx="11">
                  <c:v>617484</c:v>
                </c:pt>
                <c:pt idx="12">
                  <c:v>416623</c:v>
                </c:pt>
                <c:pt idx="13">
                  <c:v>324644</c:v>
                </c:pt>
                <c:pt idx="14">
                  <c:v>638945</c:v>
                </c:pt>
                <c:pt idx="15">
                  <c:v>349011</c:v>
                </c:pt>
                <c:pt idx="16">
                  <c:v>438702</c:v>
                </c:pt>
                <c:pt idx="17">
                  <c:v>203340</c:v>
                </c:pt>
                <c:pt idx="18">
                  <c:v>153755</c:v>
                </c:pt>
                <c:pt idx="19">
                  <c:v>193515</c:v>
                </c:pt>
                <c:pt idx="20">
                  <c:v>250039</c:v>
                </c:pt>
                <c:pt idx="21">
                  <c:v>233554</c:v>
                </c:pt>
                <c:pt idx="22">
                  <c:v>498738</c:v>
                </c:pt>
                <c:pt idx="23">
                  <c:v>598839</c:v>
                </c:pt>
                <c:pt idx="24">
                  <c:v>489898</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2.3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8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2.36</c:v>
                </c:pt>
                <c:pt idx="1">
                  <c:v>2.06</c:v>
                </c:pt>
                <c:pt idx="2">
                  <c:v>1.96</c:v>
                </c:pt>
                <c:pt idx="3">
                  <c:v>1.99</c:v>
                </c:pt>
                <c:pt idx="4">
                  <c:v>2.13</c:v>
                </c:pt>
                <c:pt idx="5">
                  <c:v>2.21</c:v>
                </c:pt>
                <c:pt idx="6">
                  <c:v>1.95</c:v>
                </c:pt>
                <c:pt idx="7">
                  <c:v>1.94</c:v>
                </c:pt>
                <c:pt idx="8">
                  <c:v>1.92</c:v>
                </c:pt>
                <c:pt idx="9">
                  <c:v>1.96</c:v>
                </c:pt>
                <c:pt idx="10">
                  <c:v>2.07</c:v>
                </c:pt>
                <c:pt idx="11">
                  <c:v>1.98</c:v>
                </c:pt>
                <c:pt idx="12">
                  <c:v>2.08</c:v>
                </c:pt>
                <c:pt idx="13">
                  <c:v>2.15</c:v>
                </c:pt>
                <c:pt idx="14">
                  <c:v>2.11</c:v>
                </c:pt>
                <c:pt idx="15">
                  <c:v>2.06</c:v>
                </c:pt>
                <c:pt idx="16">
                  <c:v>2.16</c:v>
                </c:pt>
                <c:pt idx="17">
                  <c:v>2.36</c:v>
                </c:pt>
                <c:pt idx="18">
                  <c:v>2.24</c:v>
                </c:pt>
                <c:pt idx="19">
                  <c:v>2.13</c:v>
                </c:pt>
                <c:pt idx="20">
                  <c:v>2.16</c:v>
                </c:pt>
                <c:pt idx="21">
                  <c:v>2.12</c:v>
                </c:pt>
                <c:pt idx="22">
                  <c:v>1.92</c:v>
                </c:pt>
                <c:pt idx="23">
                  <c:v>1.92</c:v>
                </c:pt>
                <c:pt idx="24">
                  <c:v>1.84</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573,22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416,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298,57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573223</c:v>
                </c:pt>
                <c:pt idx="1">
                  <c:v>457798</c:v>
                </c:pt>
                <c:pt idx="2">
                  <c:v>728394</c:v>
                </c:pt>
                <c:pt idx="3">
                  <c:v>908423</c:v>
                </c:pt>
                <c:pt idx="4">
                  <c:v>924555</c:v>
                </c:pt>
                <c:pt idx="5">
                  <c:v>296921</c:v>
                </c:pt>
                <c:pt idx="6">
                  <c:v>266122</c:v>
                </c:pt>
                <c:pt idx="7">
                  <c:v>305515</c:v>
                </c:pt>
                <c:pt idx="8">
                  <c:v>295146</c:v>
                </c:pt>
                <c:pt idx="9">
                  <c:v>347692</c:v>
                </c:pt>
                <c:pt idx="10">
                  <c:v>410636</c:v>
                </c:pt>
                <c:pt idx="11">
                  <c:v>404783</c:v>
                </c:pt>
                <c:pt idx="12">
                  <c:v>443891</c:v>
                </c:pt>
                <c:pt idx="13">
                  <c:v>416864</c:v>
                </c:pt>
                <c:pt idx="14">
                  <c:v>628464</c:v>
                </c:pt>
                <c:pt idx="15">
                  <c:v>851731</c:v>
                </c:pt>
                <c:pt idx="16">
                  <c:v>1363521</c:v>
                </c:pt>
                <c:pt idx="17">
                  <c:v>231616</c:v>
                </c:pt>
                <c:pt idx="18">
                  <c:v>220154</c:v>
                </c:pt>
                <c:pt idx="19">
                  <c:v>258766</c:v>
                </c:pt>
                <c:pt idx="20">
                  <c:v>260559</c:v>
                </c:pt>
                <c:pt idx="21">
                  <c:v>291966</c:v>
                </c:pt>
                <c:pt idx="22">
                  <c:v>316123</c:v>
                </c:pt>
                <c:pt idx="23">
                  <c:v>330986</c:v>
                </c:pt>
                <c:pt idx="24">
                  <c:v>298573</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1.5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4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4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1.54</c:v>
                </c:pt>
                <c:pt idx="1">
                  <c:v>1.58</c:v>
                </c:pt>
                <c:pt idx="2">
                  <c:v>1.28</c:v>
                </c:pt>
                <c:pt idx="3">
                  <c:v>1.16</c:v>
                </c:pt>
                <c:pt idx="4">
                  <c:v>1.14</c:v>
                </c:pt>
                <c:pt idx="5">
                  <c:v>1.22</c:v>
                </c:pt>
                <c:pt idx="6">
                  <c:v>1.53</c:v>
                </c:pt>
                <c:pt idx="7">
                  <c:v>1.56</c:v>
                </c:pt>
                <c:pt idx="8">
                  <c:v>1.57</c:v>
                </c:pt>
                <c:pt idx="9">
                  <c:v>1.58</c:v>
                </c:pt>
                <c:pt idx="10">
                  <c:v>1.59</c:v>
                </c:pt>
                <c:pt idx="11">
                  <c:v>1.59</c:v>
                </c:pt>
                <c:pt idx="12">
                  <c:v>1.49</c:v>
                </c:pt>
                <c:pt idx="13">
                  <c:v>1.45</c:v>
                </c:pt>
                <c:pt idx="14">
                  <c:v>1.44</c:v>
                </c:pt>
                <c:pt idx="15">
                  <c:v>1.46</c:v>
                </c:pt>
                <c:pt idx="16">
                  <c:v>1.34</c:v>
                </c:pt>
                <c:pt idx="17">
                  <c:v>1.37</c:v>
                </c:pt>
                <c:pt idx="18">
                  <c:v>1.47</c:v>
                </c:pt>
                <c:pt idx="19">
                  <c:v>1.47</c:v>
                </c:pt>
                <c:pt idx="20">
                  <c:v>1.48</c:v>
                </c:pt>
                <c:pt idx="21">
                  <c:v>1.48</c:v>
                </c:pt>
                <c:pt idx="22">
                  <c:v>1.48</c:v>
                </c:pt>
                <c:pt idx="23">
                  <c:v>1.48</c:v>
                </c:pt>
                <c:pt idx="24">
                  <c:v>1.48</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8,42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343,23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19"/>
              <c:tx>
                <c:rich>
                  <a:bodyPr/>
                  <a:lstStyle/>
                  <a:p>
                    <a:r>
                      <a:t>Value Sales </a:t>
                    </a:r>
                  </a:p>
                  <a:p>
                    <a:r>
                      <a:t> 713,610</a:t>
                    </a:r>
                  </a:p>
                </c:rich>
              </c:tx>
              <c:dLblPos val="b"/>
              <c:showLegendKey val="0"/>
              <c:showVal val="1"/>
              <c:showCatName val="0"/>
              <c:showSerName val="0"/>
              <c:showPercent val="0"/>
              <c:showBubbleSize val="0"/>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1</c:f>
              <c:strCache>
                <c:ptCount val="20"/>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strCache>
            </c:strRef>
          </c:cat>
          <c:val>
            <c:numRef>
              <c:f>Sheet1!$B$2:$B$21</c:f>
              <c:numCache>
                <c:formatCode>General</c:formatCode>
                <c:ptCount val="20"/>
                <c:pt idx="0">
                  <c:v>8423</c:v>
                </c:pt>
                <c:pt idx="1">
                  <c:v>60338</c:v>
                </c:pt>
                <c:pt idx="2">
                  <c:v>118772</c:v>
                </c:pt>
                <c:pt idx="3">
                  <c:v>140512</c:v>
                </c:pt>
                <c:pt idx="4">
                  <c:v>172757</c:v>
                </c:pt>
                <c:pt idx="5">
                  <c:v>195319</c:v>
                </c:pt>
                <c:pt idx="6">
                  <c:v>232723</c:v>
                </c:pt>
                <c:pt idx="7">
                  <c:v>251652</c:v>
                </c:pt>
                <c:pt idx="8">
                  <c:v>234734</c:v>
                </c:pt>
                <c:pt idx="9">
                  <c:v>201066</c:v>
                </c:pt>
                <c:pt idx="10">
                  <c:v>204424</c:v>
                </c:pt>
                <c:pt idx="11">
                  <c:v>291617</c:v>
                </c:pt>
                <c:pt idx="12">
                  <c:v>297284</c:v>
                </c:pt>
                <c:pt idx="13">
                  <c:v>343239</c:v>
                </c:pt>
                <c:pt idx="14">
                  <c:v>450222</c:v>
                </c:pt>
                <c:pt idx="15">
                  <c:v>459964</c:v>
                </c:pt>
                <c:pt idx="16">
                  <c:v>549902</c:v>
                </c:pt>
                <c:pt idx="17">
                  <c:v>601057</c:v>
                </c:pt>
                <c:pt idx="18">
                  <c:v>752116</c:v>
                </c:pt>
                <c:pt idx="19">
                  <c:v>713610</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2.6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0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19"/>
              <c:tx>
                <c:rich>
                  <a:bodyPr/>
                  <a:lstStyle/>
                  <a:p>
                    <a:r>
                      <a:t>Av Price/KG </a:t>
                    </a:r>
                  </a:p>
                  <a:p>
                    <a:r>
                      <a:t> $ 1.31</a:t>
                    </a:r>
                  </a:p>
                </c:rich>
              </c:tx>
              <c:dLblPos val="t"/>
              <c:showLegendKey val="0"/>
              <c:showVal val="1"/>
              <c:showCatName val="0"/>
              <c:showSerName val="0"/>
              <c:showPercent val="0"/>
              <c:showBubbleSize val="0"/>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1</c:f>
              <c:strCache>
                <c:ptCount val="20"/>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strCache>
            </c:strRef>
          </c:cat>
          <c:val>
            <c:numRef>
              <c:f>Sheet1!$C$2:$C$21</c:f>
              <c:numCache>
                <c:formatCode>General</c:formatCode>
                <c:ptCount val="20"/>
                <c:pt idx="0">
                  <c:v>2.6</c:v>
                </c:pt>
                <c:pt idx="1">
                  <c:v>1.15</c:v>
                </c:pt>
                <c:pt idx="2">
                  <c:v>1.21</c:v>
                </c:pt>
                <c:pt idx="3">
                  <c:v>1.22</c:v>
                </c:pt>
                <c:pt idx="4">
                  <c:v>1.2</c:v>
                </c:pt>
                <c:pt idx="5">
                  <c:v>1.1</c:v>
                </c:pt>
                <c:pt idx="6">
                  <c:v>1.02</c:v>
                </c:pt>
                <c:pt idx="7">
                  <c:v>1.01</c:v>
                </c:pt>
                <c:pt idx="8">
                  <c:v>0.96</c:v>
                </c:pt>
                <c:pt idx="9">
                  <c:v>1.0</c:v>
                </c:pt>
                <c:pt idx="10">
                  <c:v>1.02</c:v>
                </c:pt>
                <c:pt idx="11">
                  <c:v>1.0</c:v>
                </c:pt>
                <c:pt idx="12">
                  <c:v>0.95</c:v>
                </c:pt>
                <c:pt idx="13">
                  <c:v>1.08</c:v>
                </c:pt>
                <c:pt idx="14">
                  <c:v>1.21</c:v>
                </c:pt>
                <c:pt idx="15">
                  <c:v>1.19</c:v>
                </c:pt>
                <c:pt idx="16">
                  <c:v>1.27</c:v>
                </c:pt>
                <c:pt idx="17">
                  <c:v>1.27</c:v>
                </c:pt>
                <c:pt idx="18">
                  <c:v>1.29</c:v>
                </c:pt>
                <c:pt idx="19">
                  <c:v>1.31</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401,22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1"/>
              <c:tx>
                <c:rich>
                  <a:bodyPr/>
                  <a:lstStyle/>
                  <a:p>
                    <a:r>
                      <a:t>Value Sales </a:t>
                    </a:r>
                  </a:p>
                  <a:p>
                    <a:r>
                      <a:t> 537,412</a:t>
                    </a:r>
                  </a:p>
                </c:rich>
              </c:tx>
              <c:dLblPos val="b"/>
              <c:showLegendKey val="0"/>
              <c:showVal val="1"/>
              <c:showCatName val="0"/>
              <c:showSerName val="0"/>
              <c:showPercent val="0"/>
              <c:showBubbleSize val="0"/>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Nov-22</c:v>
                </c:pt>
                <c:pt idx="1">
                  <c:v>Dec-22</c:v>
                </c:pt>
                <c:pt idx="2">
                  <c:v>Jan-23</c:v>
                </c:pt>
                <c:pt idx="3">
                  <c:v>Feb-23</c:v>
                </c:pt>
                <c:pt idx="4">
                  <c:v>Mar-23</c:v>
                </c:pt>
                <c:pt idx="5">
                  <c:v>Apr-23</c:v>
                </c:pt>
                <c:pt idx="6">
                  <c:v>May-23</c:v>
                </c:pt>
                <c:pt idx="7">
                  <c:v>Jun-23</c:v>
                </c:pt>
                <c:pt idx="8">
                  <c:v>Jul-23</c:v>
                </c:pt>
                <c:pt idx="9">
                  <c:v>Aug-23</c:v>
                </c:pt>
                <c:pt idx="10">
                  <c:v>Sep-23</c:v>
                </c:pt>
                <c:pt idx="11">
                  <c:v>Oct-23</c:v>
                </c:pt>
                <c:pt idx="12">
                  <c:v>Nov-23</c:v>
                </c:pt>
                <c:pt idx="13">
                  <c:v>Dec-23</c:v>
                </c:pt>
                <c:pt idx="14">
                  <c:v>Jan-24</c:v>
                </c:pt>
                <c:pt idx="15">
                  <c:v>Feb-24</c:v>
                </c:pt>
                <c:pt idx="16">
                  <c:v>Mar-24</c:v>
                </c:pt>
                <c:pt idx="17">
                  <c:v>Apr-24</c:v>
                </c:pt>
                <c:pt idx="18">
                  <c:v>May-24</c:v>
                </c:pt>
                <c:pt idx="19">
                  <c:v>Jun-24</c:v>
                </c:pt>
                <c:pt idx="20">
                  <c:v>Jul-24</c:v>
                </c:pt>
                <c:pt idx="21">
                  <c:v>Aug-24</c:v>
                </c:pt>
              </c:strCache>
            </c:strRef>
          </c:cat>
          <c:val>
            <c:numRef>
              <c:f>Sheet1!$B$2:$B$23</c:f>
              <c:numCache>
                <c:formatCode>General</c:formatCode>
                <c:ptCount val="22"/>
                <c:pt idx="0">
                  <c:v>5</c:v>
                </c:pt>
                <c:pt idx="1">
                  <c:v>35897</c:v>
                </c:pt>
                <c:pt idx="2">
                  <c:v>93690</c:v>
                </c:pt>
                <c:pt idx="3">
                  <c:v>129083</c:v>
                </c:pt>
                <c:pt idx="4">
                  <c:v>305767</c:v>
                </c:pt>
                <c:pt idx="5">
                  <c:v>340548</c:v>
                </c:pt>
                <c:pt idx="6">
                  <c:v>352365</c:v>
                </c:pt>
                <c:pt idx="7">
                  <c:v>400022</c:v>
                </c:pt>
                <c:pt idx="8">
                  <c:v>438610</c:v>
                </c:pt>
                <c:pt idx="9">
                  <c:v>437888</c:v>
                </c:pt>
                <c:pt idx="10">
                  <c:v>374403</c:v>
                </c:pt>
                <c:pt idx="11">
                  <c:v>349027</c:v>
                </c:pt>
                <c:pt idx="12">
                  <c:v>297360</c:v>
                </c:pt>
                <c:pt idx="13">
                  <c:v>401221</c:v>
                </c:pt>
                <c:pt idx="14">
                  <c:v>386981</c:v>
                </c:pt>
                <c:pt idx="15">
                  <c:v>403051</c:v>
                </c:pt>
                <c:pt idx="16">
                  <c:v>485404</c:v>
                </c:pt>
                <c:pt idx="17">
                  <c:v>471849</c:v>
                </c:pt>
                <c:pt idx="18">
                  <c:v>519632</c:v>
                </c:pt>
                <c:pt idx="19">
                  <c:v>558312</c:v>
                </c:pt>
                <c:pt idx="20">
                  <c:v>535089</c:v>
                </c:pt>
                <c:pt idx="21">
                  <c:v>537412</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0.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4.2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1"/>
              <c:tx>
                <c:rich>
                  <a:bodyPr/>
                  <a:lstStyle/>
                  <a:p>
                    <a:r>
                      <a:t>Av Price/KG </a:t>
                    </a:r>
                  </a:p>
                  <a:p>
                    <a:r>
                      <a:t> $ 3.69</a:t>
                    </a:r>
                  </a:p>
                </c:rich>
              </c:tx>
              <c:dLblPos val="t"/>
              <c:showLegendKey val="0"/>
              <c:showVal val="1"/>
              <c:showCatName val="0"/>
              <c:showSerName val="0"/>
              <c:showPercent val="0"/>
              <c:showBubbleSize val="0"/>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Nov-22</c:v>
                </c:pt>
                <c:pt idx="1">
                  <c:v>Dec-22</c:v>
                </c:pt>
                <c:pt idx="2">
                  <c:v>Jan-23</c:v>
                </c:pt>
                <c:pt idx="3">
                  <c:v>Feb-23</c:v>
                </c:pt>
                <c:pt idx="4">
                  <c:v>Mar-23</c:v>
                </c:pt>
                <c:pt idx="5">
                  <c:v>Apr-23</c:v>
                </c:pt>
                <c:pt idx="6">
                  <c:v>May-23</c:v>
                </c:pt>
                <c:pt idx="7">
                  <c:v>Jun-23</c:v>
                </c:pt>
                <c:pt idx="8">
                  <c:v>Jul-23</c:v>
                </c:pt>
                <c:pt idx="9">
                  <c:v>Aug-23</c:v>
                </c:pt>
                <c:pt idx="10">
                  <c:v>Sep-23</c:v>
                </c:pt>
                <c:pt idx="11">
                  <c:v>Oct-23</c:v>
                </c:pt>
                <c:pt idx="12">
                  <c:v>Nov-23</c:v>
                </c:pt>
                <c:pt idx="13">
                  <c:v>Dec-23</c:v>
                </c:pt>
                <c:pt idx="14">
                  <c:v>Jan-24</c:v>
                </c:pt>
                <c:pt idx="15">
                  <c:v>Feb-24</c:v>
                </c:pt>
                <c:pt idx="16">
                  <c:v>Mar-24</c:v>
                </c:pt>
                <c:pt idx="17">
                  <c:v>Apr-24</c:v>
                </c:pt>
                <c:pt idx="18">
                  <c:v>May-24</c:v>
                </c:pt>
                <c:pt idx="19">
                  <c:v>Jun-24</c:v>
                </c:pt>
                <c:pt idx="20">
                  <c:v>Jul-24</c:v>
                </c:pt>
                <c:pt idx="21">
                  <c:v>Aug-24</c:v>
                </c:pt>
              </c:strCache>
            </c:strRef>
          </c:cat>
          <c:val>
            <c:numRef>
              <c:f>Sheet1!$C$2:$C$23</c:f>
              <c:numCache>
                <c:formatCode>General</c:formatCode>
                <c:ptCount val="22"/>
                <c:pt idx="0">
                  <c:v>0.0</c:v>
                </c:pt>
                <c:pt idx="1">
                  <c:v>5.32</c:v>
                </c:pt>
                <c:pt idx="2">
                  <c:v>5.41</c:v>
                </c:pt>
                <c:pt idx="3">
                  <c:v>5.26</c:v>
                </c:pt>
                <c:pt idx="4">
                  <c:v>4.88</c:v>
                </c:pt>
                <c:pt idx="5">
                  <c:v>4.53</c:v>
                </c:pt>
                <c:pt idx="6">
                  <c:v>4.42</c:v>
                </c:pt>
                <c:pt idx="7">
                  <c:v>4.38</c:v>
                </c:pt>
                <c:pt idx="8">
                  <c:v>4.4</c:v>
                </c:pt>
                <c:pt idx="9">
                  <c:v>4.33</c:v>
                </c:pt>
                <c:pt idx="10">
                  <c:v>4.23</c:v>
                </c:pt>
                <c:pt idx="11">
                  <c:v>4.22</c:v>
                </c:pt>
                <c:pt idx="12">
                  <c:v>4.25</c:v>
                </c:pt>
                <c:pt idx="13">
                  <c:v>4.26</c:v>
                </c:pt>
                <c:pt idx="14">
                  <c:v>4.17</c:v>
                </c:pt>
                <c:pt idx="15">
                  <c:v>3.87</c:v>
                </c:pt>
                <c:pt idx="16">
                  <c:v>3.83</c:v>
                </c:pt>
                <c:pt idx="17">
                  <c:v>3.81</c:v>
                </c:pt>
                <c:pt idx="18">
                  <c:v>3.79</c:v>
                </c:pt>
                <c:pt idx="19">
                  <c:v>3.81</c:v>
                </c:pt>
                <c:pt idx="20">
                  <c:v>3.77</c:v>
                </c:pt>
                <c:pt idx="21">
                  <c:v>3.69</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350,63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99,1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258,49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350636</c:v>
                </c:pt>
                <c:pt idx="1">
                  <c:v>232346</c:v>
                </c:pt>
                <c:pt idx="2">
                  <c:v>223657</c:v>
                </c:pt>
                <c:pt idx="3">
                  <c:v>193207</c:v>
                </c:pt>
                <c:pt idx="4">
                  <c:v>233842</c:v>
                </c:pt>
                <c:pt idx="5">
                  <c:v>196197</c:v>
                </c:pt>
                <c:pt idx="6">
                  <c:v>172512</c:v>
                </c:pt>
                <c:pt idx="7">
                  <c:v>193264</c:v>
                </c:pt>
                <c:pt idx="8">
                  <c:v>212983</c:v>
                </c:pt>
                <c:pt idx="9">
                  <c:v>215328</c:v>
                </c:pt>
                <c:pt idx="10">
                  <c:v>237259</c:v>
                </c:pt>
                <c:pt idx="11">
                  <c:v>327606</c:v>
                </c:pt>
                <c:pt idx="12">
                  <c:v>271249</c:v>
                </c:pt>
                <c:pt idx="13">
                  <c:v>199179</c:v>
                </c:pt>
                <c:pt idx="14">
                  <c:v>182784</c:v>
                </c:pt>
                <c:pt idx="15">
                  <c:v>168212</c:v>
                </c:pt>
                <c:pt idx="16">
                  <c:v>215237</c:v>
                </c:pt>
                <c:pt idx="17">
                  <c:v>171979</c:v>
                </c:pt>
                <c:pt idx="18">
                  <c:v>173866</c:v>
                </c:pt>
                <c:pt idx="19">
                  <c:v>224062</c:v>
                </c:pt>
                <c:pt idx="20">
                  <c:v>199917</c:v>
                </c:pt>
                <c:pt idx="21">
                  <c:v>218997</c:v>
                </c:pt>
                <c:pt idx="22">
                  <c:v>245414</c:v>
                </c:pt>
                <c:pt idx="23">
                  <c:v>241550</c:v>
                </c:pt>
                <c:pt idx="24">
                  <c:v>258498</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6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3.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3.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65</c:v>
                </c:pt>
                <c:pt idx="1">
                  <c:v>3.49</c:v>
                </c:pt>
                <c:pt idx="2">
                  <c:v>3.31</c:v>
                </c:pt>
                <c:pt idx="3">
                  <c:v>3.33</c:v>
                </c:pt>
                <c:pt idx="4">
                  <c:v>3.35</c:v>
                </c:pt>
                <c:pt idx="5">
                  <c:v>3.1</c:v>
                </c:pt>
                <c:pt idx="6">
                  <c:v>3.05</c:v>
                </c:pt>
                <c:pt idx="7">
                  <c:v>3.14</c:v>
                </c:pt>
                <c:pt idx="8">
                  <c:v>3.27</c:v>
                </c:pt>
                <c:pt idx="9">
                  <c:v>3.25</c:v>
                </c:pt>
                <c:pt idx="10">
                  <c:v>3.24</c:v>
                </c:pt>
                <c:pt idx="11">
                  <c:v>3.39</c:v>
                </c:pt>
                <c:pt idx="12">
                  <c:v>3.18</c:v>
                </c:pt>
                <c:pt idx="13">
                  <c:v>3.12</c:v>
                </c:pt>
                <c:pt idx="14">
                  <c:v>3.08</c:v>
                </c:pt>
                <c:pt idx="15">
                  <c:v>3.06</c:v>
                </c:pt>
                <c:pt idx="16">
                  <c:v>3.08</c:v>
                </c:pt>
                <c:pt idx="17">
                  <c:v>3.0</c:v>
                </c:pt>
                <c:pt idx="18">
                  <c:v>3.01</c:v>
                </c:pt>
                <c:pt idx="19">
                  <c:v>3.13</c:v>
                </c:pt>
                <c:pt idx="20">
                  <c:v>3.09</c:v>
                </c:pt>
                <c:pt idx="21">
                  <c:v>3.07</c:v>
                </c:pt>
                <c:pt idx="22">
                  <c:v>3.06</c:v>
                </c:pt>
                <c:pt idx="23">
                  <c:v>3.03</c:v>
                </c:pt>
                <c:pt idx="24">
                  <c:v>3.07</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07,40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85,14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98,08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107407</c:v>
                </c:pt>
                <c:pt idx="1">
                  <c:v>94726</c:v>
                </c:pt>
                <c:pt idx="2">
                  <c:v>91964</c:v>
                </c:pt>
                <c:pt idx="3">
                  <c:v>84973</c:v>
                </c:pt>
                <c:pt idx="4">
                  <c:v>88757</c:v>
                </c:pt>
                <c:pt idx="5">
                  <c:v>86873</c:v>
                </c:pt>
                <c:pt idx="6">
                  <c:v>73678</c:v>
                </c:pt>
                <c:pt idx="7">
                  <c:v>86375</c:v>
                </c:pt>
                <c:pt idx="8">
                  <c:v>85986</c:v>
                </c:pt>
                <c:pt idx="9">
                  <c:v>91526</c:v>
                </c:pt>
                <c:pt idx="10">
                  <c:v>96067</c:v>
                </c:pt>
                <c:pt idx="11">
                  <c:v>101731</c:v>
                </c:pt>
                <c:pt idx="12">
                  <c:v>98933</c:v>
                </c:pt>
                <c:pt idx="13">
                  <c:v>85146</c:v>
                </c:pt>
                <c:pt idx="14">
                  <c:v>78320</c:v>
                </c:pt>
                <c:pt idx="15">
                  <c:v>73954</c:v>
                </c:pt>
                <c:pt idx="16">
                  <c:v>78099</c:v>
                </c:pt>
                <c:pt idx="17">
                  <c:v>81581</c:v>
                </c:pt>
                <c:pt idx="18">
                  <c:v>80364</c:v>
                </c:pt>
                <c:pt idx="19">
                  <c:v>94093</c:v>
                </c:pt>
                <c:pt idx="20">
                  <c:v>93128</c:v>
                </c:pt>
                <c:pt idx="21">
                  <c:v>101267</c:v>
                </c:pt>
                <c:pt idx="22">
                  <c:v>106486</c:v>
                </c:pt>
                <c:pt idx="23">
                  <c:v>100764</c:v>
                </c:pt>
                <c:pt idx="24">
                  <c:v>98084</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4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3.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3.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49</c:v>
                </c:pt>
                <c:pt idx="1">
                  <c:v>3.39</c:v>
                </c:pt>
                <c:pt idx="2">
                  <c:v>3.3</c:v>
                </c:pt>
                <c:pt idx="3">
                  <c:v>3.3</c:v>
                </c:pt>
                <c:pt idx="4">
                  <c:v>3.28</c:v>
                </c:pt>
                <c:pt idx="5">
                  <c:v>3.02</c:v>
                </c:pt>
                <c:pt idx="6">
                  <c:v>3.03</c:v>
                </c:pt>
                <c:pt idx="7">
                  <c:v>3.13</c:v>
                </c:pt>
                <c:pt idx="8">
                  <c:v>3.21</c:v>
                </c:pt>
                <c:pt idx="9">
                  <c:v>3.2</c:v>
                </c:pt>
                <c:pt idx="10">
                  <c:v>3.22</c:v>
                </c:pt>
                <c:pt idx="11">
                  <c:v>3.19</c:v>
                </c:pt>
                <c:pt idx="12">
                  <c:v>3.1</c:v>
                </c:pt>
                <c:pt idx="13">
                  <c:v>3.06</c:v>
                </c:pt>
                <c:pt idx="14">
                  <c:v>2.99</c:v>
                </c:pt>
                <c:pt idx="15">
                  <c:v>2.99</c:v>
                </c:pt>
                <c:pt idx="16">
                  <c:v>3.03</c:v>
                </c:pt>
                <c:pt idx="17">
                  <c:v>3.04</c:v>
                </c:pt>
                <c:pt idx="18">
                  <c:v>3.01</c:v>
                </c:pt>
                <c:pt idx="19">
                  <c:v>3.07</c:v>
                </c:pt>
                <c:pt idx="20">
                  <c:v>3.07</c:v>
                </c:pt>
                <c:pt idx="21">
                  <c:v>3.05</c:v>
                </c:pt>
                <c:pt idx="22">
                  <c:v>3.07</c:v>
                </c:pt>
                <c:pt idx="23">
                  <c:v>3.01</c:v>
                </c:pt>
                <c:pt idx="24">
                  <c:v>3.02</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531,44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857,52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2,384,85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2531444</c:v>
                </c:pt>
                <c:pt idx="1">
                  <c:v>1895670</c:v>
                </c:pt>
                <c:pt idx="2">
                  <c:v>1879155</c:v>
                </c:pt>
                <c:pt idx="3">
                  <c:v>1642070</c:v>
                </c:pt>
                <c:pt idx="4">
                  <c:v>1997000</c:v>
                </c:pt>
                <c:pt idx="5">
                  <c:v>1681313</c:v>
                </c:pt>
                <c:pt idx="6">
                  <c:v>1586052</c:v>
                </c:pt>
                <c:pt idx="7">
                  <c:v>1814883</c:v>
                </c:pt>
                <c:pt idx="8">
                  <c:v>1865062</c:v>
                </c:pt>
                <c:pt idx="9">
                  <c:v>2045067</c:v>
                </c:pt>
                <c:pt idx="10">
                  <c:v>2225960</c:v>
                </c:pt>
                <c:pt idx="11">
                  <c:v>2623640</c:v>
                </c:pt>
                <c:pt idx="12">
                  <c:v>2351351</c:v>
                </c:pt>
                <c:pt idx="13">
                  <c:v>1857524</c:v>
                </c:pt>
                <c:pt idx="14">
                  <c:v>1766300</c:v>
                </c:pt>
                <c:pt idx="15">
                  <c:v>1686891</c:v>
                </c:pt>
                <c:pt idx="16">
                  <c:v>2045547</c:v>
                </c:pt>
                <c:pt idx="17">
                  <c:v>1677699</c:v>
                </c:pt>
                <c:pt idx="18">
                  <c:v>1739540</c:v>
                </c:pt>
                <c:pt idx="19">
                  <c:v>2166030</c:v>
                </c:pt>
                <c:pt idx="20">
                  <c:v>1925197</c:v>
                </c:pt>
                <c:pt idx="21">
                  <c:v>2137102</c:v>
                </c:pt>
                <c:pt idx="22">
                  <c:v>2296371</c:v>
                </c:pt>
                <c:pt idx="23">
                  <c:v>2225089</c:v>
                </c:pt>
                <c:pt idx="24">
                  <c:v>2384857</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6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3.0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3.0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65</c:v>
                </c:pt>
                <c:pt idx="1">
                  <c:v>3.48</c:v>
                </c:pt>
                <c:pt idx="2">
                  <c:v>3.3</c:v>
                </c:pt>
                <c:pt idx="3">
                  <c:v>3.32</c:v>
                </c:pt>
                <c:pt idx="4">
                  <c:v>3.33</c:v>
                </c:pt>
                <c:pt idx="5">
                  <c:v>3.09</c:v>
                </c:pt>
                <c:pt idx="6">
                  <c:v>3.06</c:v>
                </c:pt>
                <c:pt idx="7">
                  <c:v>3.12</c:v>
                </c:pt>
                <c:pt idx="8">
                  <c:v>3.2</c:v>
                </c:pt>
                <c:pt idx="9">
                  <c:v>3.18</c:v>
                </c:pt>
                <c:pt idx="10">
                  <c:v>3.17</c:v>
                </c:pt>
                <c:pt idx="11">
                  <c:v>3.23</c:v>
                </c:pt>
                <c:pt idx="12">
                  <c:v>3.12</c:v>
                </c:pt>
                <c:pt idx="13">
                  <c:v>3.05</c:v>
                </c:pt>
                <c:pt idx="14">
                  <c:v>3.02</c:v>
                </c:pt>
                <c:pt idx="15">
                  <c:v>3.0</c:v>
                </c:pt>
                <c:pt idx="16">
                  <c:v>3.02</c:v>
                </c:pt>
                <c:pt idx="17">
                  <c:v>2.95</c:v>
                </c:pt>
                <c:pt idx="18">
                  <c:v>2.97</c:v>
                </c:pt>
                <c:pt idx="19">
                  <c:v>3.06</c:v>
                </c:pt>
                <c:pt idx="20">
                  <c:v>3.0</c:v>
                </c:pt>
                <c:pt idx="21">
                  <c:v>2.98</c:v>
                </c:pt>
                <c:pt idx="22">
                  <c:v>2.99</c:v>
                </c:pt>
                <c:pt idx="23">
                  <c:v>2.94</c:v>
                </c:pt>
                <c:pt idx="24">
                  <c:v>3.01</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68,8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1,72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4,74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68882</c:v>
                </c:pt>
                <c:pt idx="1">
                  <c:v>65437</c:v>
                </c:pt>
                <c:pt idx="2">
                  <c:v>64859</c:v>
                </c:pt>
                <c:pt idx="3">
                  <c:v>45965</c:v>
                </c:pt>
                <c:pt idx="4">
                  <c:v>56171</c:v>
                </c:pt>
                <c:pt idx="5">
                  <c:v>51374</c:v>
                </c:pt>
                <c:pt idx="6">
                  <c:v>15996</c:v>
                </c:pt>
                <c:pt idx="7">
                  <c:v>13071</c:v>
                </c:pt>
                <c:pt idx="8">
                  <c:v>10844</c:v>
                </c:pt>
                <c:pt idx="9">
                  <c:v>20162</c:v>
                </c:pt>
                <c:pt idx="10">
                  <c:v>30532</c:v>
                </c:pt>
                <c:pt idx="11">
                  <c:v>26129</c:v>
                </c:pt>
                <c:pt idx="12">
                  <c:v>12950</c:v>
                </c:pt>
                <c:pt idx="13">
                  <c:v>11722</c:v>
                </c:pt>
                <c:pt idx="14">
                  <c:v>17977</c:v>
                </c:pt>
                <c:pt idx="15">
                  <c:v>36145</c:v>
                </c:pt>
                <c:pt idx="16">
                  <c:v>20867</c:v>
                </c:pt>
                <c:pt idx="17">
                  <c:v>19778</c:v>
                </c:pt>
                <c:pt idx="18">
                  <c:v>20546</c:v>
                </c:pt>
                <c:pt idx="19">
                  <c:v>14325</c:v>
                </c:pt>
                <c:pt idx="20">
                  <c:v>20574</c:v>
                </c:pt>
                <c:pt idx="21">
                  <c:v>14268</c:v>
                </c:pt>
                <c:pt idx="22">
                  <c:v>11266</c:v>
                </c:pt>
                <c:pt idx="23">
                  <c:v>28446</c:v>
                </c:pt>
                <c:pt idx="24">
                  <c:v>14746</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5.1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6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3.3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5.16</c:v>
                </c:pt>
                <c:pt idx="1">
                  <c:v>4.65</c:v>
                </c:pt>
                <c:pt idx="2">
                  <c:v>4.26</c:v>
                </c:pt>
                <c:pt idx="3">
                  <c:v>4.26</c:v>
                </c:pt>
                <c:pt idx="4">
                  <c:v>4.55</c:v>
                </c:pt>
                <c:pt idx="5">
                  <c:v>4.23</c:v>
                </c:pt>
                <c:pt idx="6">
                  <c:v>4.07</c:v>
                </c:pt>
                <c:pt idx="7">
                  <c:v>3.02</c:v>
                </c:pt>
                <c:pt idx="8">
                  <c:v>2.7</c:v>
                </c:pt>
                <c:pt idx="9">
                  <c:v>1.71</c:v>
                </c:pt>
                <c:pt idx="10">
                  <c:v>1.69</c:v>
                </c:pt>
                <c:pt idx="11">
                  <c:v>1.52</c:v>
                </c:pt>
                <c:pt idx="12">
                  <c:v>1.45</c:v>
                </c:pt>
                <c:pt idx="13">
                  <c:v>1.67</c:v>
                </c:pt>
                <c:pt idx="14">
                  <c:v>1.96</c:v>
                </c:pt>
                <c:pt idx="15">
                  <c:v>1.84</c:v>
                </c:pt>
                <c:pt idx="16">
                  <c:v>1.72</c:v>
                </c:pt>
                <c:pt idx="17">
                  <c:v>1.98</c:v>
                </c:pt>
                <c:pt idx="18">
                  <c:v>1.93</c:v>
                </c:pt>
                <c:pt idx="19">
                  <c:v>3.04</c:v>
                </c:pt>
                <c:pt idx="20">
                  <c:v>2.61</c:v>
                </c:pt>
                <c:pt idx="21">
                  <c:v>2.75</c:v>
                </c:pt>
                <c:pt idx="22">
                  <c:v>3.12</c:v>
                </c:pt>
                <c:pt idx="23">
                  <c:v>1.87</c:v>
                </c:pt>
                <c:pt idx="24">
                  <c:v>3.34</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508,87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555,51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747,51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508870</c:v>
                </c:pt>
                <c:pt idx="1">
                  <c:v>501151</c:v>
                </c:pt>
                <c:pt idx="2">
                  <c:v>507948</c:v>
                </c:pt>
                <c:pt idx="3">
                  <c:v>489335</c:v>
                </c:pt>
                <c:pt idx="4">
                  <c:v>449384</c:v>
                </c:pt>
                <c:pt idx="5">
                  <c:v>516258</c:v>
                </c:pt>
                <c:pt idx="6">
                  <c:v>459412</c:v>
                </c:pt>
                <c:pt idx="7">
                  <c:v>541839</c:v>
                </c:pt>
                <c:pt idx="8">
                  <c:v>541011</c:v>
                </c:pt>
                <c:pt idx="9">
                  <c:v>593753</c:v>
                </c:pt>
                <c:pt idx="10">
                  <c:v>591319</c:v>
                </c:pt>
                <c:pt idx="11">
                  <c:v>711542</c:v>
                </c:pt>
                <c:pt idx="12">
                  <c:v>563492</c:v>
                </c:pt>
                <c:pt idx="13">
                  <c:v>555516</c:v>
                </c:pt>
                <c:pt idx="14">
                  <c:v>599842</c:v>
                </c:pt>
                <c:pt idx="15">
                  <c:v>641983</c:v>
                </c:pt>
                <c:pt idx="16">
                  <c:v>558714</c:v>
                </c:pt>
                <c:pt idx="17">
                  <c:v>563295</c:v>
                </c:pt>
                <c:pt idx="18">
                  <c:v>556249</c:v>
                </c:pt>
                <c:pt idx="19">
                  <c:v>620788</c:v>
                </c:pt>
                <c:pt idx="20">
                  <c:v>630889</c:v>
                </c:pt>
                <c:pt idx="21">
                  <c:v>741356</c:v>
                </c:pt>
                <c:pt idx="22">
                  <c:v>744136</c:v>
                </c:pt>
                <c:pt idx="23">
                  <c:v>868429</c:v>
                </c:pt>
                <c:pt idx="24">
                  <c:v>747510</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5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3.6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3.4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57</c:v>
                </c:pt>
                <c:pt idx="1">
                  <c:v>3.44</c:v>
                </c:pt>
                <c:pt idx="2">
                  <c:v>3.38</c:v>
                </c:pt>
                <c:pt idx="3">
                  <c:v>3.31</c:v>
                </c:pt>
                <c:pt idx="4">
                  <c:v>3.36</c:v>
                </c:pt>
                <c:pt idx="5">
                  <c:v>3.43</c:v>
                </c:pt>
                <c:pt idx="6">
                  <c:v>3.56</c:v>
                </c:pt>
                <c:pt idx="7">
                  <c:v>3.56</c:v>
                </c:pt>
                <c:pt idx="8">
                  <c:v>3.57</c:v>
                </c:pt>
                <c:pt idx="9">
                  <c:v>3.6</c:v>
                </c:pt>
                <c:pt idx="10">
                  <c:v>3.69</c:v>
                </c:pt>
                <c:pt idx="11">
                  <c:v>3.61</c:v>
                </c:pt>
                <c:pt idx="12">
                  <c:v>3.64</c:v>
                </c:pt>
                <c:pt idx="13">
                  <c:v>3.63</c:v>
                </c:pt>
                <c:pt idx="14">
                  <c:v>3.39</c:v>
                </c:pt>
                <c:pt idx="15">
                  <c:v>3.3</c:v>
                </c:pt>
                <c:pt idx="16">
                  <c:v>3.35</c:v>
                </c:pt>
                <c:pt idx="17">
                  <c:v>3.43</c:v>
                </c:pt>
                <c:pt idx="18">
                  <c:v>3.62</c:v>
                </c:pt>
                <c:pt idx="19">
                  <c:v>3.55</c:v>
                </c:pt>
                <c:pt idx="20">
                  <c:v>3.52</c:v>
                </c:pt>
                <c:pt idx="21">
                  <c:v>3.18</c:v>
                </c:pt>
                <c:pt idx="22">
                  <c:v>3.32</c:v>
                </c:pt>
                <c:pt idx="23">
                  <c:v>3.37</c:v>
                </c:pt>
                <c:pt idx="24">
                  <c:v>3.48</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745,15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635,32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706,42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745155</c:v>
                </c:pt>
                <c:pt idx="1">
                  <c:v>640861</c:v>
                </c:pt>
                <c:pt idx="2">
                  <c:v>653854</c:v>
                </c:pt>
                <c:pt idx="3">
                  <c:v>564698</c:v>
                </c:pt>
                <c:pt idx="4">
                  <c:v>734491</c:v>
                </c:pt>
                <c:pt idx="5">
                  <c:v>619308</c:v>
                </c:pt>
                <c:pt idx="6">
                  <c:v>614652</c:v>
                </c:pt>
                <c:pt idx="7">
                  <c:v>1104036</c:v>
                </c:pt>
                <c:pt idx="8">
                  <c:v>730544</c:v>
                </c:pt>
                <c:pt idx="9">
                  <c:v>754051</c:v>
                </c:pt>
                <c:pt idx="10">
                  <c:v>773789</c:v>
                </c:pt>
                <c:pt idx="11">
                  <c:v>863660</c:v>
                </c:pt>
                <c:pt idx="12">
                  <c:v>730700</c:v>
                </c:pt>
                <c:pt idx="13">
                  <c:v>635320</c:v>
                </c:pt>
                <c:pt idx="14">
                  <c:v>621221</c:v>
                </c:pt>
                <c:pt idx="15">
                  <c:v>524070</c:v>
                </c:pt>
                <c:pt idx="16">
                  <c:v>652461</c:v>
                </c:pt>
                <c:pt idx="17">
                  <c:v>580661</c:v>
                </c:pt>
                <c:pt idx="18">
                  <c:v>573562</c:v>
                </c:pt>
                <c:pt idx="19">
                  <c:v>625479</c:v>
                </c:pt>
                <c:pt idx="20">
                  <c:v>555505</c:v>
                </c:pt>
                <c:pt idx="21">
                  <c:v>611506</c:v>
                </c:pt>
                <c:pt idx="22">
                  <c:v>725017</c:v>
                </c:pt>
                <c:pt idx="23">
                  <c:v>921135</c:v>
                </c:pt>
                <c:pt idx="24">
                  <c:v>706421</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4.2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4.4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3.8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4.28</c:v>
                </c:pt>
                <c:pt idx="1">
                  <c:v>4.01</c:v>
                </c:pt>
                <c:pt idx="2">
                  <c:v>3.87</c:v>
                </c:pt>
                <c:pt idx="3">
                  <c:v>3.88</c:v>
                </c:pt>
                <c:pt idx="4">
                  <c:v>3.76</c:v>
                </c:pt>
                <c:pt idx="5">
                  <c:v>3.88</c:v>
                </c:pt>
                <c:pt idx="6">
                  <c:v>3.89</c:v>
                </c:pt>
                <c:pt idx="7">
                  <c:v>4.14</c:v>
                </c:pt>
                <c:pt idx="8">
                  <c:v>4.12</c:v>
                </c:pt>
                <c:pt idx="9">
                  <c:v>4.33</c:v>
                </c:pt>
                <c:pt idx="10">
                  <c:v>4.19</c:v>
                </c:pt>
                <c:pt idx="11">
                  <c:v>4.34</c:v>
                </c:pt>
                <c:pt idx="12">
                  <c:v>4.41</c:v>
                </c:pt>
                <c:pt idx="13">
                  <c:v>4.44</c:v>
                </c:pt>
                <c:pt idx="14">
                  <c:v>4.2</c:v>
                </c:pt>
                <c:pt idx="15">
                  <c:v>4.45</c:v>
                </c:pt>
                <c:pt idx="16">
                  <c:v>4.45</c:v>
                </c:pt>
                <c:pt idx="17">
                  <c:v>4.39</c:v>
                </c:pt>
                <c:pt idx="18">
                  <c:v>4.3</c:v>
                </c:pt>
                <c:pt idx="19">
                  <c:v>4.26</c:v>
                </c:pt>
                <c:pt idx="20">
                  <c:v>4.2</c:v>
                </c:pt>
                <c:pt idx="21">
                  <c:v>4.15</c:v>
                </c:pt>
                <c:pt idx="22">
                  <c:v>4.05</c:v>
                </c:pt>
                <c:pt idx="23">
                  <c:v>4.11</c:v>
                </c:pt>
                <c:pt idx="24">
                  <c:v>3.84</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8,498,28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8,691,98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1,515,98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8498289</c:v>
                </c:pt>
                <c:pt idx="1">
                  <c:v>7779079</c:v>
                </c:pt>
                <c:pt idx="2">
                  <c:v>7985354</c:v>
                </c:pt>
                <c:pt idx="3">
                  <c:v>7580295</c:v>
                </c:pt>
                <c:pt idx="4">
                  <c:v>8072886</c:v>
                </c:pt>
                <c:pt idx="5">
                  <c:v>8403061</c:v>
                </c:pt>
                <c:pt idx="6">
                  <c:v>8082733</c:v>
                </c:pt>
                <c:pt idx="7">
                  <c:v>8441014</c:v>
                </c:pt>
                <c:pt idx="8">
                  <c:v>8286471</c:v>
                </c:pt>
                <c:pt idx="9">
                  <c:v>9131643</c:v>
                </c:pt>
                <c:pt idx="10">
                  <c:v>9606468</c:v>
                </c:pt>
                <c:pt idx="11">
                  <c:v>11432505</c:v>
                </c:pt>
                <c:pt idx="12">
                  <c:v>9617298</c:v>
                </c:pt>
                <c:pt idx="13">
                  <c:v>8691987</c:v>
                </c:pt>
                <c:pt idx="14">
                  <c:v>8964939</c:v>
                </c:pt>
                <c:pt idx="15">
                  <c:v>8618094</c:v>
                </c:pt>
                <c:pt idx="16">
                  <c:v>8465047</c:v>
                </c:pt>
                <c:pt idx="17">
                  <c:v>8591901</c:v>
                </c:pt>
                <c:pt idx="18">
                  <c:v>8701430</c:v>
                </c:pt>
                <c:pt idx="19">
                  <c:v>10319291</c:v>
                </c:pt>
                <c:pt idx="20">
                  <c:v>10468158</c:v>
                </c:pt>
                <c:pt idx="21">
                  <c:v>11017827</c:v>
                </c:pt>
                <c:pt idx="22">
                  <c:v>11359069</c:v>
                </c:pt>
                <c:pt idx="23">
                  <c:v>13437757</c:v>
                </c:pt>
                <c:pt idx="24">
                  <c:v>1151598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2.4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3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2.3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2.4</c:v>
                </c:pt>
                <c:pt idx="1">
                  <c:v>2.34</c:v>
                </c:pt>
                <c:pt idx="2">
                  <c:v>2.24</c:v>
                </c:pt>
                <c:pt idx="3">
                  <c:v>2.22</c:v>
                </c:pt>
                <c:pt idx="4">
                  <c:v>2.41</c:v>
                </c:pt>
                <c:pt idx="5">
                  <c:v>2.48</c:v>
                </c:pt>
                <c:pt idx="6">
                  <c:v>2.24</c:v>
                </c:pt>
                <c:pt idx="7">
                  <c:v>2.41</c:v>
                </c:pt>
                <c:pt idx="8">
                  <c:v>2.42</c:v>
                </c:pt>
                <c:pt idx="9">
                  <c:v>2.28</c:v>
                </c:pt>
                <c:pt idx="10">
                  <c:v>2.36</c:v>
                </c:pt>
                <c:pt idx="11">
                  <c:v>2.22</c:v>
                </c:pt>
                <c:pt idx="12">
                  <c:v>2.37</c:v>
                </c:pt>
                <c:pt idx="13">
                  <c:v>2.33</c:v>
                </c:pt>
                <c:pt idx="14">
                  <c:v>2.25</c:v>
                </c:pt>
                <c:pt idx="15">
                  <c:v>2.2</c:v>
                </c:pt>
                <c:pt idx="16">
                  <c:v>2.26</c:v>
                </c:pt>
                <c:pt idx="17">
                  <c:v>2.2</c:v>
                </c:pt>
                <c:pt idx="18">
                  <c:v>2.24</c:v>
                </c:pt>
                <c:pt idx="19">
                  <c:v>2.22</c:v>
                </c:pt>
                <c:pt idx="20">
                  <c:v>2.3</c:v>
                </c:pt>
                <c:pt idx="21">
                  <c:v>2.31</c:v>
                </c:pt>
                <c:pt idx="22">
                  <c:v>2.31</c:v>
                </c:pt>
                <c:pt idx="23">
                  <c:v>2.2</c:v>
                </c:pt>
                <c:pt idx="24">
                  <c:v>2.31</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6,328,94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3,278,52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5,623,02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16328948</c:v>
                </c:pt>
                <c:pt idx="1">
                  <c:v>13903942</c:v>
                </c:pt>
                <c:pt idx="2">
                  <c:v>13786870</c:v>
                </c:pt>
                <c:pt idx="3">
                  <c:v>12967761</c:v>
                </c:pt>
                <c:pt idx="4">
                  <c:v>14830612</c:v>
                </c:pt>
                <c:pt idx="5">
                  <c:v>11934438</c:v>
                </c:pt>
                <c:pt idx="6">
                  <c:v>11683988</c:v>
                </c:pt>
                <c:pt idx="7">
                  <c:v>13594828</c:v>
                </c:pt>
                <c:pt idx="8">
                  <c:v>13648220</c:v>
                </c:pt>
                <c:pt idx="9">
                  <c:v>15361788</c:v>
                </c:pt>
                <c:pt idx="10">
                  <c:v>16423620</c:v>
                </c:pt>
                <c:pt idx="11">
                  <c:v>16731661</c:v>
                </c:pt>
                <c:pt idx="12">
                  <c:v>15745765</c:v>
                </c:pt>
                <c:pt idx="13">
                  <c:v>13278527</c:v>
                </c:pt>
                <c:pt idx="14">
                  <c:v>13147419</c:v>
                </c:pt>
                <c:pt idx="15">
                  <c:v>12640339</c:v>
                </c:pt>
                <c:pt idx="16">
                  <c:v>15952610</c:v>
                </c:pt>
                <c:pt idx="17">
                  <c:v>11775781</c:v>
                </c:pt>
                <c:pt idx="18">
                  <c:v>12006458</c:v>
                </c:pt>
                <c:pt idx="19">
                  <c:v>13656793</c:v>
                </c:pt>
                <c:pt idx="20">
                  <c:v>13476069</c:v>
                </c:pt>
                <c:pt idx="21">
                  <c:v>15031920</c:v>
                </c:pt>
                <c:pt idx="22">
                  <c:v>16469975</c:v>
                </c:pt>
                <c:pt idx="23">
                  <c:v>16499725</c:v>
                </c:pt>
                <c:pt idx="24">
                  <c:v>1562302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1.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0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1.02</c:v>
                </c:pt>
                <c:pt idx="1">
                  <c:v>1.01</c:v>
                </c:pt>
                <c:pt idx="2">
                  <c:v>1.0</c:v>
                </c:pt>
                <c:pt idx="3">
                  <c:v>0.99</c:v>
                </c:pt>
                <c:pt idx="4">
                  <c:v>0.99</c:v>
                </c:pt>
                <c:pt idx="5">
                  <c:v>0.97</c:v>
                </c:pt>
                <c:pt idx="6">
                  <c:v>1.01</c:v>
                </c:pt>
                <c:pt idx="7">
                  <c:v>1.03</c:v>
                </c:pt>
                <c:pt idx="8">
                  <c:v>1.06</c:v>
                </c:pt>
                <c:pt idx="9">
                  <c:v>1.08</c:v>
                </c:pt>
                <c:pt idx="10">
                  <c:v>1.09</c:v>
                </c:pt>
                <c:pt idx="11">
                  <c:v>1.09</c:v>
                </c:pt>
                <c:pt idx="12">
                  <c:v>1.07</c:v>
                </c:pt>
                <c:pt idx="13">
                  <c:v>1.06</c:v>
                </c:pt>
                <c:pt idx="14">
                  <c:v>1.05</c:v>
                </c:pt>
                <c:pt idx="15">
                  <c:v>1.06</c:v>
                </c:pt>
                <c:pt idx="16">
                  <c:v>1.11</c:v>
                </c:pt>
                <c:pt idx="17">
                  <c:v>1.01</c:v>
                </c:pt>
                <c:pt idx="18">
                  <c:v>1.0</c:v>
                </c:pt>
                <c:pt idx="19">
                  <c:v>1.02</c:v>
                </c:pt>
                <c:pt idx="20">
                  <c:v>1.03</c:v>
                </c:pt>
                <c:pt idx="21">
                  <c:v>1.05</c:v>
                </c:pt>
                <c:pt idx="22">
                  <c:v>1.07</c:v>
                </c:pt>
                <c:pt idx="23">
                  <c:v>1.06</c:v>
                </c:pt>
                <c:pt idx="24">
                  <c:v>1.04</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353,36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340,94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256,07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353369</c:v>
                </c:pt>
                <c:pt idx="1">
                  <c:v>286173</c:v>
                </c:pt>
                <c:pt idx="2">
                  <c:v>302209</c:v>
                </c:pt>
                <c:pt idx="3">
                  <c:v>337091</c:v>
                </c:pt>
                <c:pt idx="4">
                  <c:v>510559</c:v>
                </c:pt>
                <c:pt idx="5">
                  <c:v>304327</c:v>
                </c:pt>
                <c:pt idx="6">
                  <c:v>311393</c:v>
                </c:pt>
                <c:pt idx="7">
                  <c:v>375352</c:v>
                </c:pt>
                <c:pt idx="8">
                  <c:v>366704</c:v>
                </c:pt>
                <c:pt idx="9">
                  <c:v>380409</c:v>
                </c:pt>
                <c:pt idx="10">
                  <c:v>406449</c:v>
                </c:pt>
                <c:pt idx="11">
                  <c:v>423154</c:v>
                </c:pt>
                <c:pt idx="12">
                  <c:v>401942</c:v>
                </c:pt>
                <c:pt idx="13">
                  <c:v>340945</c:v>
                </c:pt>
                <c:pt idx="14">
                  <c:v>349987</c:v>
                </c:pt>
                <c:pt idx="15">
                  <c:v>350084</c:v>
                </c:pt>
                <c:pt idx="16">
                  <c:v>479019</c:v>
                </c:pt>
                <c:pt idx="17">
                  <c:v>272592</c:v>
                </c:pt>
                <c:pt idx="18">
                  <c:v>241567</c:v>
                </c:pt>
                <c:pt idx="19">
                  <c:v>270375</c:v>
                </c:pt>
                <c:pt idx="20">
                  <c:v>245839</c:v>
                </c:pt>
                <c:pt idx="21">
                  <c:v>263788</c:v>
                </c:pt>
                <c:pt idx="22">
                  <c:v>280362</c:v>
                </c:pt>
                <c:pt idx="23">
                  <c:v>283150</c:v>
                </c:pt>
                <c:pt idx="24">
                  <c:v>256073</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7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3.3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3.3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78</c:v>
                </c:pt>
                <c:pt idx="1">
                  <c:v>3.77</c:v>
                </c:pt>
                <c:pt idx="2">
                  <c:v>3.52</c:v>
                </c:pt>
                <c:pt idx="3">
                  <c:v>3.1</c:v>
                </c:pt>
                <c:pt idx="4">
                  <c:v>2.48</c:v>
                </c:pt>
                <c:pt idx="5">
                  <c:v>3.14</c:v>
                </c:pt>
                <c:pt idx="6">
                  <c:v>3.38</c:v>
                </c:pt>
                <c:pt idx="7">
                  <c:v>3.28</c:v>
                </c:pt>
                <c:pt idx="8">
                  <c:v>3.34</c:v>
                </c:pt>
                <c:pt idx="9">
                  <c:v>3.43</c:v>
                </c:pt>
                <c:pt idx="10">
                  <c:v>3.48</c:v>
                </c:pt>
                <c:pt idx="11">
                  <c:v>3.44</c:v>
                </c:pt>
                <c:pt idx="12">
                  <c:v>3.37</c:v>
                </c:pt>
                <c:pt idx="13">
                  <c:v>3.39</c:v>
                </c:pt>
                <c:pt idx="14">
                  <c:v>3.33</c:v>
                </c:pt>
                <c:pt idx="15">
                  <c:v>3.31</c:v>
                </c:pt>
                <c:pt idx="16">
                  <c:v>3.17</c:v>
                </c:pt>
                <c:pt idx="17">
                  <c:v>3.08</c:v>
                </c:pt>
                <c:pt idx="18">
                  <c:v>3.43</c:v>
                </c:pt>
                <c:pt idx="19">
                  <c:v>3.45</c:v>
                </c:pt>
                <c:pt idx="20">
                  <c:v>3.39</c:v>
                </c:pt>
                <c:pt idx="21">
                  <c:v>3.32</c:v>
                </c:pt>
                <c:pt idx="22">
                  <c:v>3.29</c:v>
                </c:pt>
                <c:pt idx="23">
                  <c:v>3.31</c:v>
                </c:pt>
                <c:pt idx="24">
                  <c:v>3.37</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33,99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25,9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10,75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133995</c:v>
                </c:pt>
                <c:pt idx="1">
                  <c:v>123412</c:v>
                </c:pt>
                <c:pt idx="2">
                  <c:v>125653</c:v>
                </c:pt>
                <c:pt idx="3">
                  <c:v>122934</c:v>
                </c:pt>
                <c:pt idx="4">
                  <c:v>163609</c:v>
                </c:pt>
                <c:pt idx="5">
                  <c:v>128215</c:v>
                </c:pt>
                <c:pt idx="6">
                  <c:v>119225</c:v>
                </c:pt>
                <c:pt idx="7">
                  <c:v>149926</c:v>
                </c:pt>
                <c:pt idx="8">
                  <c:v>144384</c:v>
                </c:pt>
                <c:pt idx="9">
                  <c:v>144701</c:v>
                </c:pt>
                <c:pt idx="10">
                  <c:v>147166</c:v>
                </c:pt>
                <c:pt idx="11">
                  <c:v>147989</c:v>
                </c:pt>
                <c:pt idx="12">
                  <c:v>139790</c:v>
                </c:pt>
                <c:pt idx="13">
                  <c:v>125979</c:v>
                </c:pt>
                <c:pt idx="14">
                  <c:v>126843</c:v>
                </c:pt>
                <c:pt idx="15">
                  <c:v>122157</c:v>
                </c:pt>
                <c:pt idx="16">
                  <c:v>150469</c:v>
                </c:pt>
                <c:pt idx="17">
                  <c:v>119762</c:v>
                </c:pt>
                <c:pt idx="18">
                  <c:v>115150</c:v>
                </c:pt>
                <c:pt idx="19">
                  <c:v>128279</c:v>
                </c:pt>
                <c:pt idx="20">
                  <c:v>118963</c:v>
                </c:pt>
                <c:pt idx="21">
                  <c:v>125502</c:v>
                </c:pt>
                <c:pt idx="22">
                  <c:v>125790</c:v>
                </c:pt>
                <c:pt idx="23">
                  <c:v>121725</c:v>
                </c:pt>
                <c:pt idx="24">
                  <c:v>110751</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8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3.4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3.0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87</c:v>
                </c:pt>
                <c:pt idx="1">
                  <c:v>3.83</c:v>
                </c:pt>
                <c:pt idx="2">
                  <c:v>3.68</c:v>
                </c:pt>
                <c:pt idx="3">
                  <c:v>3.32</c:v>
                </c:pt>
                <c:pt idx="4">
                  <c:v>2.31</c:v>
                </c:pt>
                <c:pt idx="5">
                  <c:v>3.41</c:v>
                </c:pt>
                <c:pt idx="6">
                  <c:v>3.66</c:v>
                </c:pt>
                <c:pt idx="7">
                  <c:v>3.48</c:v>
                </c:pt>
                <c:pt idx="8">
                  <c:v>3.5</c:v>
                </c:pt>
                <c:pt idx="9">
                  <c:v>3.6</c:v>
                </c:pt>
                <c:pt idx="10">
                  <c:v>3.6</c:v>
                </c:pt>
                <c:pt idx="11">
                  <c:v>3.53</c:v>
                </c:pt>
                <c:pt idx="12">
                  <c:v>3.47</c:v>
                </c:pt>
                <c:pt idx="13">
                  <c:v>3.41</c:v>
                </c:pt>
                <c:pt idx="14">
                  <c:v>3.39</c:v>
                </c:pt>
                <c:pt idx="15">
                  <c:v>3.38</c:v>
                </c:pt>
                <c:pt idx="16">
                  <c:v>3.03</c:v>
                </c:pt>
                <c:pt idx="17">
                  <c:v>3.34</c:v>
                </c:pt>
                <c:pt idx="18">
                  <c:v>3.38</c:v>
                </c:pt>
                <c:pt idx="19">
                  <c:v>3.39</c:v>
                </c:pt>
                <c:pt idx="20">
                  <c:v>3.28</c:v>
                </c:pt>
                <c:pt idx="21">
                  <c:v>3.24</c:v>
                </c:pt>
                <c:pt idx="22">
                  <c:v>3.25</c:v>
                </c:pt>
                <c:pt idx="23">
                  <c:v>3.12</c:v>
                </c:pt>
                <c:pt idx="24">
                  <c:v>3.04</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168,01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150,21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818,97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2168015</c:v>
                </c:pt>
                <c:pt idx="1">
                  <c:v>1827401</c:v>
                </c:pt>
                <c:pt idx="2">
                  <c:v>1930692</c:v>
                </c:pt>
                <c:pt idx="3">
                  <c:v>2138395</c:v>
                </c:pt>
                <c:pt idx="4">
                  <c:v>3342063</c:v>
                </c:pt>
                <c:pt idx="5">
                  <c:v>1959150</c:v>
                </c:pt>
                <c:pt idx="6">
                  <c:v>2047171</c:v>
                </c:pt>
                <c:pt idx="7">
                  <c:v>2514049</c:v>
                </c:pt>
                <c:pt idx="8">
                  <c:v>2356533</c:v>
                </c:pt>
                <c:pt idx="9">
                  <c:v>2458140</c:v>
                </c:pt>
                <c:pt idx="10">
                  <c:v>2570563</c:v>
                </c:pt>
                <c:pt idx="11">
                  <c:v>2639068</c:v>
                </c:pt>
                <c:pt idx="12">
                  <c:v>2492570</c:v>
                </c:pt>
                <c:pt idx="13">
                  <c:v>2150211</c:v>
                </c:pt>
                <c:pt idx="14">
                  <c:v>2217573</c:v>
                </c:pt>
                <c:pt idx="15">
                  <c:v>2248842</c:v>
                </c:pt>
                <c:pt idx="16">
                  <c:v>3096789</c:v>
                </c:pt>
                <c:pt idx="17">
                  <c:v>1760673</c:v>
                </c:pt>
                <c:pt idx="18">
                  <c:v>1645885</c:v>
                </c:pt>
                <c:pt idx="19">
                  <c:v>1948113</c:v>
                </c:pt>
                <c:pt idx="20">
                  <c:v>1723736</c:v>
                </c:pt>
                <c:pt idx="21">
                  <c:v>1899087</c:v>
                </c:pt>
                <c:pt idx="22">
                  <c:v>1979098</c:v>
                </c:pt>
                <c:pt idx="23">
                  <c:v>1960469</c:v>
                </c:pt>
                <c:pt idx="24">
                  <c:v>1818973</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7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3.2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3.2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72</c:v>
                </c:pt>
                <c:pt idx="1">
                  <c:v>3.67</c:v>
                </c:pt>
                <c:pt idx="2">
                  <c:v>3.45</c:v>
                </c:pt>
                <c:pt idx="3">
                  <c:v>3.06</c:v>
                </c:pt>
                <c:pt idx="4">
                  <c:v>2.44</c:v>
                </c:pt>
                <c:pt idx="5">
                  <c:v>3.08</c:v>
                </c:pt>
                <c:pt idx="6">
                  <c:v>3.3</c:v>
                </c:pt>
                <c:pt idx="7">
                  <c:v>3.24</c:v>
                </c:pt>
                <c:pt idx="8">
                  <c:v>3.28</c:v>
                </c:pt>
                <c:pt idx="9">
                  <c:v>3.37</c:v>
                </c:pt>
                <c:pt idx="10">
                  <c:v>3.41</c:v>
                </c:pt>
                <c:pt idx="11">
                  <c:v>3.37</c:v>
                </c:pt>
                <c:pt idx="12">
                  <c:v>3.29</c:v>
                </c:pt>
                <c:pt idx="13">
                  <c:v>3.29</c:v>
                </c:pt>
                <c:pt idx="14">
                  <c:v>3.24</c:v>
                </c:pt>
                <c:pt idx="15">
                  <c:v>3.23</c:v>
                </c:pt>
                <c:pt idx="16">
                  <c:v>3.07</c:v>
                </c:pt>
                <c:pt idx="17">
                  <c:v>3.08</c:v>
                </c:pt>
                <c:pt idx="18">
                  <c:v>3.38</c:v>
                </c:pt>
                <c:pt idx="19">
                  <c:v>3.39</c:v>
                </c:pt>
                <c:pt idx="20">
                  <c:v>3.3</c:v>
                </c:pt>
                <c:pt idx="21">
                  <c:v>3.24</c:v>
                </c:pt>
                <c:pt idx="22">
                  <c:v>3.2</c:v>
                </c:pt>
                <c:pt idx="23">
                  <c:v>3.2</c:v>
                </c:pt>
                <c:pt idx="24">
                  <c:v>3.25</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73,67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52,74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43,58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73674</c:v>
                </c:pt>
                <c:pt idx="1">
                  <c:v>57500</c:v>
                </c:pt>
                <c:pt idx="2">
                  <c:v>52948</c:v>
                </c:pt>
                <c:pt idx="3">
                  <c:v>60779</c:v>
                </c:pt>
                <c:pt idx="4">
                  <c:v>64733</c:v>
                </c:pt>
                <c:pt idx="5">
                  <c:v>64312</c:v>
                </c:pt>
                <c:pt idx="6">
                  <c:v>47122</c:v>
                </c:pt>
                <c:pt idx="7">
                  <c:v>31360</c:v>
                </c:pt>
                <c:pt idx="8">
                  <c:v>34650</c:v>
                </c:pt>
                <c:pt idx="9">
                  <c:v>44920</c:v>
                </c:pt>
                <c:pt idx="10">
                  <c:v>41020</c:v>
                </c:pt>
                <c:pt idx="11">
                  <c:v>33317</c:v>
                </c:pt>
                <c:pt idx="12">
                  <c:v>61192</c:v>
                </c:pt>
                <c:pt idx="13">
                  <c:v>52741</c:v>
                </c:pt>
                <c:pt idx="14">
                  <c:v>41683</c:v>
                </c:pt>
                <c:pt idx="15">
                  <c:v>48499</c:v>
                </c:pt>
                <c:pt idx="16">
                  <c:v>35761</c:v>
                </c:pt>
                <c:pt idx="17">
                  <c:v>62906</c:v>
                </c:pt>
                <c:pt idx="18">
                  <c:v>53013</c:v>
                </c:pt>
                <c:pt idx="19">
                  <c:v>61581</c:v>
                </c:pt>
                <c:pt idx="20">
                  <c:v>55745</c:v>
                </c:pt>
                <c:pt idx="21">
                  <c:v>50536</c:v>
                </c:pt>
                <c:pt idx="22">
                  <c:v>43338</c:v>
                </c:pt>
                <c:pt idx="23">
                  <c:v>57181</c:v>
                </c:pt>
                <c:pt idx="24">
                  <c:v>4358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4.0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3.2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3.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4.05</c:v>
                </c:pt>
                <c:pt idx="1">
                  <c:v>3.54</c:v>
                </c:pt>
                <c:pt idx="2">
                  <c:v>2.76</c:v>
                </c:pt>
                <c:pt idx="3">
                  <c:v>3.58</c:v>
                </c:pt>
                <c:pt idx="4">
                  <c:v>3.77</c:v>
                </c:pt>
                <c:pt idx="5">
                  <c:v>3.14</c:v>
                </c:pt>
                <c:pt idx="6">
                  <c:v>3.76</c:v>
                </c:pt>
                <c:pt idx="7">
                  <c:v>3.16</c:v>
                </c:pt>
                <c:pt idx="8">
                  <c:v>3.57</c:v>
                </c:pt>
                <c:pt idx="9">
                  <c:v>4.01</c:v>
                </c:pt>
                <c:pt idx="10">
                  <c:v>3.71</c:v>
                </c:pt>
                <c:pt idx="11">
                  <c:v>3.29</c:v>
                </c:pt>
                <c:pt idx="12">
                  <c:v>3.72</c:v>
                </c:pt>
                <c:pt idx="13">
                  <c:v>3.28</c:v>
                </c:pt>
                <c:pt idx="14">
                  <c:v>3.37</c:v>
                </c:pt>
                <c:pt idx="15">
                  <c:v>3.1</c:v>
                </c:pt>
                <c:pt idx="16">
                  <c:v>2.95</c:v>
                </c:pt>
                <c:pt idx="17">
                  <c:v>3.43</c:v>
                </c:pt>
                <c:pt idx="18">
                  <c:v>3.39</c:v>
                </c:pt>
                <c:pt idx="19">
                  <c:v>3.59</c:v>
                </c:pt>
                <c:pt idx="20">
                  <c:v>3.17</c:v>
                </c:pt>
                <c:pt idx="21">
                  <c:v>3.06</c:v>
                </c:pt>
                <c:pt idx="22">
                  <c:v>3.28</c:v>
                </c:pt>
                <c:pt idx="23">
                  <c:v>3.08</c:v>
                </c:pt>
                <c:pt idx="24">
                  <c:v>3.15</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558,65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468,60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648,60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558658</c:v>
                </c:pt>
                <c:pt idx="1">
                  <c:v>526739</c:v>
                </c:pt>
                <c:pt idx="2">
                  <c:v>529590</c:v>
                </c:pt>
                <c:pt idx="3">
                  <c:v>436975</c:v>
                </c:pt>
                <c:pt idx="4">
                  <c:v>472074</c:v>
                </c:pt>
                <c:pt idx="5">
                  <c:v>466296</c:v>
                </c:pt>
                <c:pt idx="6">
                  <c:v>390141</c:v>
                </c:pt>
                <c:pt idx="7">
                  <c:v>439647</c:v>
                </c:pt>
                <c:pt idx="8">
                  <c:v>462406</c:v>
                </c:pt>
                <c:pt idx="9">
                  <c:v>493785</c:v>
                </c:pt>
                <c:pt idx="10">
                  <c:v>490968</c:v>
                </c:pt>
                <c:pt idx="11">
                  <c:v>461996</c:v>
                </c:pt>
                <c:pt idx="12">
                  <c:v>434401</c:v>
                </c:pt>
                <c:pt idx="13">
                  <c:v>468604</c:v>
                </c:pt>
                <c:pt idx="14">
                  <c:v>488481</c:v>
                </c:pt>
                <c:pt idx="15">
                  <c:v>429775</c:v>
                </c:pt>
                <c:pt idx="16">
                  <c:v>314252</c:v>
                </c:pt>
                <c:pt idx="17">
                  <c:v>273184</c:v>
                </c:pt>
                <c:pt idx="18">
                  <c:v>266156</c:v>
                </c:pt>
                <c:pt idx="19">
                  <c:v>356983</c:v>
                </c:pt>
                <c:pt idx="20">
                  <c:v>458142</c:v>
                </c:pt>
                <c:pt idx="21">
                  <c:v>476165</c:v>
                </c:pt>
                <c:pt idx="22">
                  <c:v>539965</c:v>
                </c:pt>
                <c:pt idx="23">
                  <c:v>892977</c:v>
                </c:pt>
                <c:pt idx="24">
                  <c:v>648605</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3.3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3.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51</c:v>
                </c:pt>
                <c:pt idx="1">
                  <c:v>3.56</c:v>
                </c:pt>
                <c:pt idx="2">
                  <c:v>3.52</c:v>
                </c:pt>
                <c:pt idx="3">
                  <c:v>3.51</c:v>
                </c:pt>
                <c:pt idx="4">
                  <c:v>3.84</c:v>
                </c:pt>
                <c:pt idx="5">
                  <c:v>3.77</c:v>
                </c:pt>
                <c:pt idx="6">
                  <c:v>3.85</c:v>
                </c:pt>
                <c:pt idx="7">
                  <c:v>3.8</c:v>
                </c:pt>
                <c:pt idx="8">
                  <c:v>3.85</c:v>
                </c:pt>
                <c:pt idx="9">
                  <c:v>3.94</c:v>
                </c:pt>
                <c:pt idx="10">
                  <c:v>3.98</c:v>
                </c:pt>
                <c:pt idx="11">
                  <c:v>3.84</c:v>
                </c:pt>
                <c:pt idx="12">
                  <c:v>3.48</c:v>
                </c:pt>
                <c:pt idx="13">
                  <c:v>3.34</c:v>
                </c:pt>
                <c:pt idx="14">
                  <c:v>2.83</c:v>
                </c:pt>
                <c:pt idx="15">
                  <c:v>3.03</c:v>
                </c:pt>
                <c:pt idx="16">
                  <c:v>3.63</c:v>
                </c:pt>
                <c:pt idx="17">
                  <c:v>3.64</c:v>
                </c:pt>
                <c:pt idx="18">
                  <c:v>3.57</c:v>
                </c:pt>
                <c:pt idx="19">
                  <c:v>3.51</c:v>
                </c:pt>
                <c:pt idx="20">
                  <c:v>3.25</c:v>
                </c:pt>
                <c:pt idx="21">
                  <c:v>3.12</c:v>
                </c:pt>
                <c:pt idx="22">
                  <c:v>3.36</c:v>
                </c:pt>
                <c:pt idx="23">
                  <c:v>3.27</c:v>
                </c:pt>
                <c:pt idx="24">
                  <c:v>3.51</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820,61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690,80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779,40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820614</c:v>
                </c:pt>
                <c:pt idx="1">
                  <c:v>708090</c:v>
                </c:pt>
                <c:pt idx="2">
                  <c:v>770634</c:v>
                </c:pt>
                <c:pt idx="3">
                  <c:v>604619</c:v>
                </c:pt>
                <c:pt idx="4">
                  <c:v>676790</c:v>
                </c:pt>
                <c:pt idx="5">
                  <c:v>597698</c:v>
                </c:pt>
                <c:pt idx="6">
                  <c:v>608288</c:v>
                </c:pt>
                <c:pt idx="7">
                  <c:v>1054794</c:v>
                </c:pt>
                <c:pt idx="8">
                  <c:v>850355</c:v>
                </c:pt>
                <c:pt idx="9">
                  <c:v>868156</c:v>
                </c:pt>
                <c:pt idx="10">
                  <c:v>960803</c:v>
                </c:pt>
                <c:pt idx="11">
                  <c:v>945460</c:v>
                </c:pt>
                <c:pt idx="12">
                  <c:v>874380</c:v>
                </c:pt>
                <c:pt idx="13">
                  <c:v>690804</c:v>
                </c:pt>
                <c:pt idx="14">
                  <c:v>671674</c:v>
                </c:pt>
                <c:pt idx="15">
                  <c:v>553794</c:v>
                </c:pt>
                <c:pt idx="16">
                  <c:v>640498</c:v>
                </c:pt>
                <c:pt idx="17">
                  <c:v>524967</c:v>
                </c:pt>
                <c:pt idx="18">
                  <c:v>536562</c:v>
                </c:pt>
                <c:pt idx="19">
                  <c:v>649217</c:v>
                </c:pt>
                <c:pt idx="20">
                  <c:v>639344</c:v>
                </c:pt>
                <c:pt idx="21">
                  <c:v>719017</c:v>
                </c:pt>
                <c:pt idx="22">
                  <c:v>786461</c:v>
                </c:pt>
                <c:pt idx="23">
                  <c:v>829119</c:v>
                </c:pt>
                <c:pt idx="24">
                  <c:v>779402</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5.1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5.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5.2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5.18</c:v>
                </c:pt>
                <c:pt idx="1">
                  <c:v>5.28</c:v>
                </c:pt>
                <c:pt idx="2">
                  <c:v>5.0</c:v>
                </c:pt>
                <c:pt idx="3">
                  <c:v>5.07</c:v>
                </c:pt>
                <c:pt idx="4">
                  <c:v>5.21</c:v>
                </c:pt>
                <c:pt idx="5">
                  <c:v>5.3</c:v>
                </c:pt>
                <c:pt idx="6">
                  <c:v>5.2</c:v>
                </c:pt>
                <c:pt idx="7">
                  <c:v>5.41</c:v>
                </c:pt>
                <c:pt idx="8">
                  <c:v>5.59</c:v>
                </c:pt>
                <c:pt idx="9">
                  <c:v>5.54</c:v>
                </c:pt>
                <c:pt idx="10">
                  <c:v>5.32</c:v>
                </c:pt>
                <c:pt idx="11">
                  <c:v>5.76</c:v>
                </c:pt>
                <c:pt idx="12">
                  <c:v>5.42</c:v>
                </c:pt>
                <c:pt idx="13">
                  <c:v>5.77</c:v>
                </c:pt>
                <c:pt idx="14">
                  <c:v>5.49</c:v>
                </c:pt>
                <c:pt idx="15">
                  <c:v>5.59</c:v>
                </c:pt>
                <c:pt idx="16">
                  <c:v>5.66</c:v>
                </c:pt>
                <c:pt idx="17">
                  <c:v>5.75</c:v>
                </c:pt>
                <c:pt idx="18">
                  <c:v>5.57</c:v>
                </c:pt>
                <c:pt idx="19">
                  <c:v>5.71</c:v>
                </c:pt>
                <c:pt idx="20">
                  <c:v>5.34</c:v>
                </c:pt>
                <c:pt idx="21">
                  <c:v>5.29</c:v>
                </c:pt>
                <c:pt idx="22">
                  <c:v>5.35</c:v>
                </c:pt>
                <c:pt idx="23">
                  <c:v>5.49</c:v>
                </c:pt>
                <c:pt idx="24">
                  <c:v>5.21</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350,4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65,7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280,27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350482</c:v>
                </c:pt>
                <c:pt idx="1">
                  <c:v>282074</c:v>
                </c:pt>
                <c:pt idx="2">
                  <c:v>309939</c:v>
                </c:pt>
                <c:pt idx="3">
                  <c:v>333866</c:v>
                </c:pt>
                <c:pt idx="4">
                  <c:v>374731</c:v>
                </c:pt>
                <c:pt idx="5">
                  <c:v>245047</c:v>
                </c:pt>
                <c:pt idx="6">
                  <c:v>238892</c:v>
                </c:pt>
                <c:pt idx="7">
                  <c:v>279510</c:v>
                </c:pt>
                <c:pt idx="8">
                  <c:v>287729</c:v>
                </c:pt>
                <c:pt idx="9">
                  <c:v>312361</c:v>
                </c:pt>
                <c:pt idx="10">
                  <c:v>322916</c:v>
                </c:pt>
                <c:pt idx="11">
                  <c:v>340569</c:v>
                </c:pt>
                <c:pt idx="12">
                  <c:v>317825</c:v>
                </c:pt>
                <c:pt idx="13">
                  <c:v>265779</c:v>
                </c:pt>
                <c:pt idx="14">
                  <c:v>274472</c:v>
                </c:pt>
                <c:pt idx="15">
                  <c:v>283625</c:v>
                </c:pt>
                <c:pt idx="16">
                  <c:v>369108</c:v>
                </c:pt>
                <c:pt idx="17">
                  <c:v>212789</c:v>
                </c:pt>
                <c:pt idx="18">
                  <c:v>231046</c:v>
                </c:pt>
                <c:pt idx="19">
                  <c:v>266561</c:v>
                </c:pt>
                <c:pt idx="20">
                  <c:v>252780</c:v>
                </c:pt>
                <c:pt idx="21">
                  <c:v>271823</c:v>
                </c:pt>
                <c:pt idx="22">
                  <c:v>297379</c:v>
                </c:pt>
                <c:pt idx="23">
                  <c:v>305948</c:v>
                </c:pt>
                <c:pt idx="24">
                  <c:v>280278</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4.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4.1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92</c:v>
                </c:pt>
                <c:pt idx="1">
                  <c:v>3.93</c:v>
                </c:pt>
                <c:pt idx="2">
                  <c:v>3.82</c:v>
                </c:pt>
                <c:pt idx="3">
                  <c:v>3.74</c:v>
                </c:pt>
                <c:pt idx="4">
                  <c:v>3.67</c:v>
                </c:pt>
                <c:pt idx="5">
                  <c:v>3.72</c:v>
                </c:pt>
                <c:pt idx="6">
                  <c:v>4.01</c:v>
                </c:pt>
                <c:pt idx="7">
                  <c:v>4.13</c:v>
                </c:pt>
                <c:pt idx="8">
                  <c:v>4.25</c:v>
                </c:pt>
                <c:pt idx="9">
                  <c:v>4.33</c:v>
                </c:pt>
                <c:pt idx="10">
                  <c:v>4.26</c:v>
                </c:pt>
                <c:pt idx="11">
                  <c:v>4.27</c:v>
                </c:pt>
                <c:pt idx="12">
                  <c:v>4.2</c:v>
                </c:pt>
                <c:pt idx="13">
                  <c:v>4.19</c:v>
                </c:pt>
                <c:pt idx="14">
                  <c:v>4.08</c:v>
                </c:pt>
                <c:pt idx="15">
                  <c:v>3.99</c:v>
                </c:pt>
                <c:pt idx="16">
                  <c:v>3.63</c:v>
                </c:pt>
                <c:pt idx="17">
                  <c:v>3.7</c:v>
                </c:pt>
                <c:pt idx="18">
                  <c:v>4.07</c:v>
                </c:pt>
                <c:pt idx="19">
                  <c:v>4.05</c:v>
                </c:pt>
                <c:pt idx="20">
                  <c:v>4.04</c:v>
                </c:pt>
                <c:pt idx="21">
                  <c:v>4.07</c:v>
                </c:pt>
                <c:pt idx="22">
                  <c:v>4.09</c:v>
                </c:pt>
                <c:pt idx="23">
                  <c:v>4.1</c:v>
                </c:pt>
                <c:pt idx="24">
                  <c:v>4.1</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05,75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85,01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83,94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105751</c:v>
                </c:pt>
                <c:pt idx="1">
                  <c:v>99492</c:v>
                </c:pt>
                <c:pt idx="2">
                  <c:v>108838</c:v>
                </c:pt>
                <c:pt idx="3">
                  <c:v>111281</c:v>
                </c:pt>
                <c:pt idx="4">
                  <c:v>122355</c:v>
                </c:pt>
                <c:pt idx="5">
                  <c:v>96233</c:v>
                </c:pt>
                <c:pt idx="6">
                  <c:v>84056</c:v>
                </c:pt>
                <c:pt idx="7">
                  <c:v>98562</c:v>
                </c:pt>
                <c:pt idx="8">
                  <c:v>95400</c:v>
                </c:pt>
                <c:pt idx="9">
                  <c:v>103424</c:v>
                </c:pt>
                <c:pt idx="10">
                  <c:v>99653</c:v>
                </c:pt>
                <c:pt idx="11">
                  <c:v>101078</c:v>
                </c:pt>
                <c:pt idx="12">
                  <c:v>93106</c:v>
                </c:pt>
                <c:pt idx="13">
                  <c:v>85011</c:v>
                </c:pt>
                <c:pt idx="14">
                  <c:v>83814</c:v>
                </c:pt>
                <c:pt idx="15">
                  <c:v>78933</c:v>
                </c:pt>
                <c:pt idx="16">
                  <c:v>105010</c:v>
                </c:pt>
                <c:pt idx="17">
                  <c:v>72867</c:v>
                </c:pt>
                <c:pt idx="18">
                  <c:v>75890</c:v>
                </c:pt>
                <c:pt idx="19">
                  <c:v>89108</c:v>
                </c:pt>
                <c:pt idx="20">
                  <c:v>84950</c:v>
                </c:pt>
                <c:pt idx="21">
                  <c:v>87197</c:v>
                </c:pt>
                <c:pt idx="22">
                  <c:v>90695</c:v>
                </c:pt>
                <c:pt idx="23">
                  <c:v>89172</c:v>
                </c:pt>
                <c:pt idx="24">
                  <c:v>83940</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8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4.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3.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81</c:v>
                </c:pt>
                <c:pt idx="1">
                  <c:v>3.81</c:v>
                </c:pt>
                <c:pt idx="2">
                  <c:v>3.74</c:v>
                </c:pt>
                <c:pt idx="3">
                  <c:v>3.67</c:v>
                </c:pt>
                <c:pt idx="4">
                  <c:v>3.44</c:v>
                </c:pt>
                <c:pt idx="5">
                  <c:v>3.07</c:v>
                </c:pt>
                <c:pt idx="6">
                  <c:v>3.59</c:v>
                </c:pt>
                <c:pt idx="7">
                  <c:v>3.93</c:v>
                </c:pt>
                <c:pt idx="8">
                  <c:v>3.99</c:v>
                </c:pt>
                <c:pt idx="9">
                  <c:v>4.11</c:v>
                </c:pt>
                <c:pt idx="10">
                  <c:v>4.05</c:v>
                </c:pt>
                <c:pt idx="11">
                  <c:v>4.05</c:v>
                </c:pt>
                <c:pt idx="12">
                  <c:v>4.01</c:v>
                </c:pt>
                <c:pt idx="13">
                  <c:v>4.06</c:v>
                </c:pt>
                <c:pt idx="14">
                  <c:v>4.04</c:v>
                </c:pt>
                <c:pt idx="15">
                  <c:v>3.98</c:v>
                </c:pt>
                <c:pt idx="16">
                  <c:v>3.29</c:v>
                </c:pt>
                <c:pt idx="17">
                  <c:v>3.6</c:v>
                </c:pt>
                <c:pt idx="18">
                  <c:v>3.97</c:v>
                </c:pt>
                <c:pt idx="19">
                  <c:v>3.92</c:v>
                </c:pt>
                <c:pt idx="20">
                  <c:v>3.89</c:v>
                </c:pt>
                <c:pt idx="21">
                  <c:v>3.96</c:v>
                </c:pt>
                <c:pt idx="22">
                  <c:v>3.97</c:v>
                </c:pt>
                <c:pt idx="23">
                  <c:v>3.98</c:v>
                </c:pt>
                <c:pt idx="24">
                  <c:v>3.98</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252,69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827,80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940,08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2252690</c:v>
                </c:pt>
                <c:pt idx="1">
                  <c:v>1938892</c:v>
                </c:pt>
                <c:pt idx="2">
                  <c:v>2087669</c:v>
                </c:pt>
                <c:pt idx="3">
                  <c:v>2158265</c:v>
                </c:pt>
                <c:pt idx="4">
                  <c:v>2470001</c:v>
                </c:pt>
                <c:pt idx="5">
                  <c:v>1640252</c:v>
                </c:pt>
                <c:pt idx="6">
                  <c:v>1746662</c:v>
                </c:pt>
                <c:pt idx="7">
                  <c:v>2097916</c:v>
                </c:pt>
                <c:pt idx="8">
                  <c:v>2024305</c:v>
                </c:pt>
                <c:pt idx="9">
                  <c:v>2226027</c:v>
                </c:pt>
                <c:pt idx="10">
                  <c:v>2283998</c:v>
                </c:pt>
                <c:pt idx="11">
                  <c:v>2287622</c:v>
                </c:pt>
                <c:pt idx="12">
                  <c:v>2148713</c:v>
                </c:pt>
                <c:pt idx="13">
                  <c:v>1827801</c:v>
                </c:pt>
                <c:pt idx="14">
                  <c:v>1900825</c:v>
                </c:pt>
                <c:pt idx="15">
                  <c:v>1895079</c:v>
                </c:pt>
                <c:pt idx="16">
                  <c:v>2578788</c:v>
                </c:pt>
                <c:pt idx="17">
                  <c:v>1471317</c:v>
                </c:pt>
                <c:pt idx="18">
                  <c:v>1649641</c:v>
                </c:pt>
                <c:pt idx="19">
                  <c:v>1900425</c:v>
                </c:pt>
                <c:pt idx="20">
                  <c:v>1798416</c:v>
                </c:pt>
                <c:pt idx="21">
                  <c:v>1940079</c:v>
                </c:pt>
                <c:pt idx="22">
                  <c:v>2081117</c:v>
                </c:pt>
                <c:pt idx="23">
                  <c:v>2087425</c:v>
                </c:pt>
                <c:pt idx="24">
                  <c:v>1940083</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4.1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4.1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98</c:v>
                </c:pt>
                <c:pt idx="1">
                  <c:v>3.99</c:v>
                </c:pt>
                <c:pt idx="2">
                  <c:v>3.88</c:v>
                </c:pt>
                <c:pt idx="3">
                  <c:v>3.78</c:v>
                </c:pt>
                <c:pt idx="4">
                  <c:v>3.72</c:v>
                </c:pt>
                <c:pt idx="5">
                  <c:v>3.88</c:v>
                </c:pt>
                <c:pt idx="6">
                  <c:v>4.07</c:v>
                </c:pt>
                <c:pt idx="7">
                  <c:v>4.18</c:v>
                </c:pt>
                <c:pt idx="8">
                  <c:v>4.25</c:v>
                </c:pt>
                <c:pt idx="9">
                  <c:v>4.33</c:v>
                </c:pt>
                <c:pt idx="10">
                  <c:v>4.29</c:v>
                </c:pt>
                <c:pt idx="11">
                  <c:v>4.29</c:v>
                </c:pt>
                <c:pt idx="12">
                  <c:v>4.2</c:v>
                </c:pt>
                <c:pt idx="13">
                  <c:v>4.18</c:v>
                </c:pt>
                <c:pt idx="14">
                  <c:v>4.08</c:v>
                </c:pt>
                <c:pt idx="15">
                  <c:v>4.01</c:v>
                </c:pt>
                <c:pt idx="16">
                  <c:v>3.59</c:v>
                </c:pt>
                <c:pt idx="17">
                  <c:v>3.7</c:v>
                </c:pt>
                <c:pt idx="18">
                  <c:v>4.11</c:v>
                </c:pt>
                <c:pt idx="19">
                  <c:v>4.1</c:v>
                </c:pt>
                <c:pt idx="20">
                  <c:v>4.1</c:v>
                </c:pt>
                <c:pt idx="21">
                  <c:v>4.12</c:v>
                </c:pt>
                <c:pt idx="22">
                  <c:v>4.13</c:v>
                </c:pt>
                <c:pt idx="23">
                  <c:v>4.14</c:v>
                </c:pt>
                <c:pt idx="24">
                  <c:v>4.14</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679,59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742,12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745,49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679595</c:v>
                </c:pt>
                <c:pt idx="1">
                  <c:v>594747</c:v>
                </c:pt>
                <c:pt idx="2">
                  <c:v>644753</c:v>
                </c:pt>
                <c:pt idx="3">
                  <c:v>633624</c:v>
                </c:pt>
                <c:pt idx="4">
                  <c:v>652202</c:v>
                </c:pt>
                <c:pt idx="5">
                  <c:v>692796</c:v>
                </c:pt>
                <c:pt idx="6">
                  <c:v>660064</c:v>
                </c:pt>
                <c:pt idx="7">
                  <c:v>715178</c:v>
                </c:pt>
                <c:pt idx="8">
                  <c:v>692622</c:v>
                </c:pt>
                <c:pt idx="9">
                  <c:v>786270</c:v>
                </c:pt>
                <c:pt idx="10">
                  <c:v>853539</c:v>
                </c:pt>
                <c:pt idx="11">
                  <c:v>1005514</c:v>
                </c:pt>
                <c:pt idx="12">
                  <c:v>902044</c:v>
                </c:pt>
                <c:pt idx="13">
                  <c:v>742121</c:v>
                </c:pt>
                <c:pt idx="14">
                  <c:v>701983</c:v>
                </c:pt>
                <c:pt idx="15">
                  <c:v>763162</c:v>
                </c:pt>
                <c:pt idx="16">
                  <c:v>805803</c:v>
                </c:pt>
                <c:pt idx="17">
                  <c:v>795313</c:v>
                </c:pt>
                <c:pt idx="18">
                  <c:v>798431</c:v>
                </c:pt>
                <c:pt idx="19">
                  <c:v>822470</c:v>
                </c:pt>
                <c:pt idx="20">
                  <c:v>745015</c:v>
                </c:pt>
                <c:pt idx="21">
                  <c:v>770348</c:v>
                </c:pt>
                <c:pt idx="22">
                  <c:v>777173</c:v>
                </c:pt>
                <c:pt idx="23">
                  <c:v>661198</c:v>
                </c:pt>
                <c:pt idx="24">
                  <c:v>745491</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2.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7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3.1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2.91</c:v>
                </c:pt>
                <c:pt idx="1">
                  <c:v>3.04</c:v>
                </c:pt>
                <c:pt idx="2">
                  <c:v>3.09</c:v>
                </c:pt>
                <c:pt idx="3">
                  <c:v>3.16</c:v>
                </c:pt>
                <c:pt idx="4">
                  <c:v>3.15</c:v>
                </c:pt>
                <c:pt idx="5">
                  <c:v>3.24</c:v>
                </c:pt>
                <c:pt idx="6">
                  <c:v>3.12</c:v>
                </c:pt>
                <c:pt idx="7">
                  <c:v>2.92</c:v>
                </c:pt>
                <c:pt idx="8">
                  <c:v>2.88</c:v>
                </c:pt>
                <c:pt idx="9">
                  <c:v>2.79</c:v>
                </c:pt>
                <c:pt idx="10">
                  <c:v>2.85</c:v>
                </c:pt>
                <c:pt idx="11">
                  <c:v>2.88</c:v>
                </c:pt>
                <c:pt idx="12">
                  <c:v>2.88</c:v>
                </c:pt>
                <c:pt idx="13">
                  <c:v>2.7</c:v>
                </c:pt>
                <c:pt idx="14">
                  <c:v>2.56</c:v>
                </c:pt>
                <c:pt idx="15">
                  <c:v>2.56</c:v>
                </c:pt>
                <c:pt idx="16">
                  <c:v>2.54</c:v>
                </c:pt>
                <c:pt idx="17">
                  <c:v>2.58</c:v>
                </c:pt>
                <c:pt idx="18">
                  <c:v>2.57</c:v>
                </c:pt>
                <c:pt idx="19">
                  <c:v>2.73</c:v>
                </c:pt>
                <c:pt idx="20">
                  <c:v>2.74</c:v>
                </c:pt>
                <c:pt idx="21">
                  <c:v>2.67</c:v>
                </c:pt>
                <c:pt idx="22">
                  <c:v>2.9</c:v>
                </c:pt>
                <c:pt idx="23">
                  <c:v>3.14</c:v>
                </c:pt>
                <c:pt idx="24">
                  <c:v>3.16</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7,115,45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3,825,73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6,686,72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17115458</c:v>
                </c:pt>
                <c:pt idx="1">
                  <c:v>14099013</c:v>
                </c:pt>
                <c:pt idx="2">
                  <c:v>14262124</c:v>
                </c:pt>
                <c:pt idx="3">
                  <c:v>13658160</c:v>
                </c:pt>
                <c:pt idx="4">
                  <c:v>16603109</c:v>
                </c:pt>
                <c:pt idx="5">
                  <c:v>12638772</c:v>
                </c:pt>
                <c:pt idx="6">
                  <c:v>12445663</c:v>
                </c:pt>
                <c:pt idx="7">
                  <c:v>14523636</c:v>
                </c:pt>
                <c:pt idx="8">
                  <c:v>14291351</c:v>
                </c:pt>
                <c:pt idx="9">
                  <c:v>15833449</c:v>
                </c:pt>
                <c:pt idx="10">
                  <c:v>16455500</c:v>
                </c:pt>
                <c:pt idx="11">
                  <c:v>17436862</c:v>
                </c:pt>
                <c:pt idx="12">
                  <c:v>16979949</c:v>
                </c:pt>
                <c:pt idx="13">
                  <c:v>13825736</c:v>
                </c:pt>
                <c:pt idx="14">
                  <c:v>13840085</c:v>
                </c:pt>
                <c:pt idx="15">
                  <c:v>13797124</c:v>
                </c:pt>
                <c:pt idx="16">
                  <c:v>19001872</c:v>
                </c:pt>
                <c:pt idx="17">
                  <c:v>12381734</c:v>
                </c:pt>
                <c:pt idx="18">
                  <c:v>13196930</c:v>
                </c:pt>
                <c:pt idx="19">
                  <c:v>15115975</c:v>
                </c:pt>
                <c:pt idx="20">
                  <c:v>14162521</c:v>
                </c:pt>
                <c:pt idx="21">
                  <c:v>15527794</c:v>
                </c:pt>
                <c:pt idx="22">
                  <c:v>16726613</c:v>
                </c:pt>
                <c:pt idx="23">
                  <c:v>17142091</c:v>
                </c:pt>
                <c:pt idx="24">
                  <c:v>16686727</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7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3.6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3.6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78</c:v>
                </c:pt>
                <c:pt idx="1">
                  <c:v>3.75</c:v>
                </c:pt>
                <c:pt idx="2">
                  <c:v>3.4</c:v>
                </c:pt>
                <c:pt idx="3">
                  <c:v>3.3</c:v>
                </c:pt>
                <c:pt idx="4">
                  <c:v>3.13</c:v>
                </c:pt>
                <c:pt idx="5">
                  <c:v>3.53</c:v>
                </c:pt>
                <c:pt idx="6">
                  <c:v>3.66</c:v>
                </c:pt>
                <c:pt idx="7">
                  <c:v>3.69</c:v>
                </c:pt>
                <c:pt idx="8">
                  <c:v>3.7</c:v>
                </c:pt>
                <c:pt idx="9">
                  <c:v>3.75</c:v>
                </c:pt>
                <c:pt idx="10">
                  <c:v>3.74</c:v>
                </c:pt>
                <c:pt idx="11">
                  <c:v>3.7</c:v>
                </c:pt>
                <c:pt idx="12">
                  <c:v>3.65</c:v>
                </c:pt>
                <c:pt idx="13">
                  <c:v>3.66</c:v>
                </c:pt>
                <c:pt idx="14">
                  <c:v>3.38</c:v>
                </c:pt>
                <c:pt idx="15">
                  <c:v>3.32</c:v>
                </c:pt>
                <c:pt idx="16">
                  <c:v>3.27</c:v>
                </c:pt>
                <c:pt idx="17">
                  <c:v>3.49</c:v>
                </c:pt>
                <c:pt idx="18">
                  <c:v>3.64</c:v>
                </c:pt>
                <c:pt idx="19">
                  <c:v>3.68</c:v>
                </c:pt>
                <c:pt idx="20">
                  <c:v>3.62</c:v>
                </c:pt>
                <c:pt idx="21">
                  <c:v>3.64</c:v>
                </c:pt>
                <c:pt idx="22">
                  <c:v>3.69</c:v>
                </c:pt>
                <c:pt idx="23">
                  <c:v>3.69</c:v>
                </c:pt>
                <c:pt idx="24">
                  <c:v>3.67</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7,21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7,23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5,68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7213</c:v>
                </c:pt>
                <c:pt idx="1">
                  <c:v>7861</c:v>
                </c:pt>
                <c:pt idx="2">
                  <c:v>4636</c:v>
                </c:pt>
                <c:pt idx="3">
                  <c:v>4877</c:v>
                </c:pt>
                <c:pt idx="4">
                  <c:v>2897</c:v>
                </c:pt>
                <c:pt idx="5">
                  <c:v>6097</c:v>
                </c:pt>
                <c:pt idx="6">
                  <c:v>5844</c:v>
                </c:pt>
                <c:pt idx="7">
                  <c:v>6380</c:v>
                </c:pt>
                <c:pt idx="8">
                  <c:v>8008</c:v>
                </c:pt>
                <c:pt idx="9">
                  <c:v>6662</c:v>
                </c:pt>
                <c:pt idx="10">
                  <c:v>7821</c:v>
                </c:pt>
                <c:pt idx="11">
                  <c:v>8328</c:v>
                </c:pt>
                <c:pt idx="12">
                  <c:v>8044</c:v>
                </c:pt>
                <c:pt idx="13">
                  <c:v>7234</c:v>
                </c:pt>
                <c:pt idx="14">
                  <c:v>9694</c:v>
                </c:pt>
                <c:pt idx="15">
                  <c:v>5354</c:v>
                </c:pt>
                <c:pt idx="16">
                  <c:v>3474</c:v>
                </c:pt>
                <c:pt idx="17">
                  <c:v>3636</c:v>
                </c:pt>
                <c:pt idx="18">
                  <c:v>2916</c:v>
                </c:pt>
                <c:pt idx="19">
                  <c:v>3525</c:v>
                </c:pt>
                <c:pt idx="20">
                  <c:v>2926</c:v>
                </c:pt>
                <c:pt idx="21">
                  <c:v>2798</c:v>
                </c:pt>
                <c:pt idx="22">
                  <c:v>2769</c:v>
                </c:pt>
                <c:pt idx="23">
                  <c:v>2499</c:v>
                </c:pt>
                <c:pt idx="24">
                  <c:v>5687</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1.3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2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3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1.33</c:v>
                </c:pt>
                <c:pt idx="1">
                  <c:v>1.36</c:v>
                </c:pt>
                <c:pt idx="2">
                  <c:v>1.33</c:v>
                </c:pt>
                <c:pt idx="3">
                  <c:v>1.28</c:v>
                </c:pt>
                <c:pt idx="4">
                  <c:v>1.22</c:v>
                </c:pt>
                <c:pt idx="5">
                  <c:v>1.21</c:v>
                </c:pt>
                <c:pt idx="6">
                  <c:v>1.19</c:v>
                </c:pt>
                <c:pt idx="7">
                  <c:v>1.2</c:v>
                </c:pt>
                <c:pt idx="8">
                  <c:v>1.2</c:v>
                </c:pt>
                <c:pt idx="9">
                  <c:v>1.19</c:v>
                </c:pt>
                <c:pt idx="10">
                  <c:v>1.19</c:v>
                </c:pt>
                <c:pt idx="11">
                  <c:v>1.22</c:v>
                </c:pt>
                <c:pt idx="12">
                  <c:v>1.23</c:v>
                </c:pt>
                <c:pt idx="13">
                  <c:v>1.23</c:v>
                </c:pt>
                <c:pt idx="14">
                  <c:v>1.29</c:v>
                </c:pt>
                <c:pt idx="15">
                  <c:v>1.38</c:v>
                </c:pt>
                <c:pt idx="16">
                  <c:v>1.57</c:v>
                </c:pt>
                <c:pt idx="17">
                  <c:v>1.56</c:v>
                </c:pt>
                <c:pt idx="18">
                  <c:v>1.44</c:v>
                </c:pt>
                <c:pt idx="19">
                  <c:v>1.43</c:v>
                </c:pt>
                <c:pt idx="20">
                  <c:v>1.5</c:v>
                </c:pt>
                <c:pt idx="21">
                  <c:v>1.74</c:v>
                </c:pt>
                <c:pt idx="22">
                  <c:v>1.56</c:v>
                </c:pt>
                <c:pt idx="23">
                  <c:v>1.53</c:v>
                </c:pt>
                <c:pt idx="24">
                  <c:v>1.32</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331,11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324,64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489,89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331119</c:v>
                </c:pt>
                <c:pt idx="1">
                  <c:v>328796</c:v>
                </c:pt>
                <c:pt idx="2">
                  <c:v>547548</c:v>
                </c:pt>
                <c:pt idx="3">
                  <c:v>318040</c:v>
                </c:pt>
                <c:pt idx="4">
                  <c:v>320465</c:v>
                </c:pt>
                <c:pt idx="5">
                  <c:v>253531</c:v>
                </c:pt>
                <c:pt idx="6">
                  <c:v>550124</c:v>
                </c:pt>
                <c:pt idx="7">
                  <c:v>733073</c:v>
                </c:pt>
                <c:pt idx="8">
                  <c:v>546152</c:v>
                </c:pt>
                <c:pt idx="9">
                  <c:v>434655</c:v>
                </c:pt>
                <c:pt idx="10">
                  <c:v>885491</c:v>
                </c:pt>
                <c:pt idx="11">
                  <c:v>617484</c:v>
                </c:pt>
                <c:pt idx="12">
                  <c:v>416623</c:v>
                </c:pt>
                <c:pt idx="13">
                  <c:v>324644</c:v>
                </c:pt>
                <c:pt idx="14">
                  <c:v>638945</c:v>
                </c:pt>
                <c:pt idx="15">
                  <c:v>349011</c:v>
                </c:pt>
                <c:pt idx="16">
                  <c:v>438702</c:v>
                </c:pt>
                <c:pt idx="17">
                  <c:v>203340</c:v>
                </c:pt>
                <c:pt idx="18">
                  <c:v>153755</c:v>
                </c:pt>
                <c:pt idx="19">
                  <c:v>193515</c:v>
                </c:pt>
                <c:pt idx="20">
                  <c:v>250039</c:v>
                </c:pt>
                <c:pt idx="21">
                  <c:v>233554</c:v>
                </c:pt>
                <c:pt idx="22">
                  <c:v>498738</c:v>
                </c:pt>
                <c:pt idx="23">
                  <c:v>598839</c:v>
                </c:pt>
                <c:pt idx="24">
                  <c:v>489898</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2.3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8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2.36</c:v>
                </c:pt>
                <c:pt idx="1">
                  <c:v>2.06</c:v>
                </c:pt>
                <c:pt idx="2">
                  <c:v>1.96</c:v>
                </c:pt>
                <c:pt idx="3">
                  <c:v>1.99</c:v>
                </c:pt>
                <c:pt idx="4">
                  <c:v>2.13</c:v>
                </c:pt>
                <c:pt idx="5">
                  <c:v>2.21</c:v>
                </c:pt>
                <c:pt idx="6">
                  <c:v>1.95</c:v>
                </c:pt>
                <c:pt idx="7">
                  <c:v>1.94</c:v>
                </c:pt>
                <c:pt idx="8">
                  <c:v>1.92</c:v>
                </c:pt>
                <c:pt idx="9">
                  <c:v>1.96</c:v>
                </c:pt>
                <c:pt idx="10">
                  <c:v>2.07</c:v>
                </c:pt>
                <c:pt idx="11">
                  <c:v>1.98</c:v>
                </c:pt>
                <c:pt idx="12">
                  <c:v>2.08</c:v>
                </c:pt>
                <c:pt idx="13">
                  <c:v>2.15</c:v>
                </c:pt>
                <c:pt idx="14">
                  <c:v>2.11</c:v>
                </c:pt>
                <c:pt idx="15">
                  <c:v>2.06</c:v>
                </c:pt>
                <c:pt idx="16">
                  <c:v>2.16</c:v>
                </c:pt>
                <c:pt idx="17">
                  <c:v>2.36</c:v>
                </c:pt>
                <c:pt idx="18">
                  <c:v>2.24</c:v>
                </c:pt>
                <c:pt idx="19">
                  <c:v>2.13</c:v>
                </c:pt>
                <c:pt idx="20">
                  <c:v>2.16</c:v>
                </c:pt>
                <c:pt idx="21">
                  <c:v>2.12</c:v>
                </c:pt>
                <c:pt idx="22">
                  <c:v>1.92</c:v>
                </c:pt>
                <c:pt idx="23">
                  <c:v>1.92</c:v>
                </c:pt>
                <c:pt idx="24">
                  <c:v>1.84</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83,29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59,66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43,39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83295</c:v>
                </c:pt>
                <c:pt idx="1">
                  <c:v>64350</c:v>
                </c:pt>
                <c:pt idx="2">
                  <c:v>111369</c:v>
                </c:pt>
                <c:pt idx="3">
                  <c:v>128044</c:v>
                </c:pt>
                <c:pt idx="4">
                  <c:v>129662</c:v>
                </c:pt>
                <c:pt idx="5">
                  <c:v>46159</c:v>
                </c:pt>
                <c:pt idx="6">
                  <c:v>37172</c:v>
                </c:pt>
                <c:pt idx="7">
                  <c:v>44435</c:v>
                </c:pt>
                <c:pt idx="8">
                  <c:v>43157</c:v>
                </c:pt>
                <c:pt idx="9">
                  <c:v>50042</c:v>
                </c:pt>
                <c:pt idx="10">
                  <c:v>60064</c:v>
                </c:pt>
                <c:pt idx="11">
                  <c:v>61596</c:v>
                </c:pt>
                <c:pt idx="12">
                  <c:v>63991</c:v>
                </c:pt>
                <c:pt idx="13">
                  <c:v>59663</c:v>
                </c:pt>
                <c:pt idx="14">
                  <c:v>87589</c:v>
                </c:pt>
                <c:pt idx="15">
                  <c:v>117221</c:v>
                </c:pt>
                <c:pt idx="16">
                  <c:v>175622</c:v>
                </c:pt>
                <c:pt idx="17">
                  <c:v>35580</c:v>
                </c:pt>
                <c:pt idx="18">
                  <c:v>32222</c:v>
                </c:pt>
                <c:pt idx="19">
                  <c:v>36437</c:v>
                </c:pt>
                <c:pt idx="20">
                  <c:v>37090</c:v>
                </c:pt>
                <c:pt idx="21">
                  <c:v>40626</c:v>
                </c:pt>
                <c:pt idx="22">
                  <c:v>45751</c:v>
                </c:pt>
                <c:pt idx="23">
                  <c:v>47903</c:v>
                </c:pt>
                <c:pt idx="24">
                  <c:v>43394</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1.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4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4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1.51</c:v>
                </c:pt>
                <c:pt idx="1">
                  <c:v>1.53</c:v>
                </c:pt>
                <c:pt idx="2">
                  <c:v>1.25</c:v>
                </c:pt>
                <c:pt idx="3">
                  <c:v>1.16</c:v>
                </c:pt>
                <c:pt idx="4">
                  <c:v>1.14</c:v>
                </c:pt>
                <c:pt idx="5">
                  <c:v>1.22</c:v>
                </c:pt>
                <c:pt idx="6">
                  <c:v>1.48</c:v>
                </c:pt>
                <c:pt idx="7">
                  <c:v>1.52</c:v>
                </c:pt>
                <c:pt idx="8">
                  <c:v>1.53</c:v>
                </c:pt>
                <c:pt idx="9">
                  <c:v>1.55</c:v>
                </c:pt>
                <c:pt idx="10">
                  <c:v>1.55</c:v>
                </c:pt>
                <c:pt idx="11">
                  <c:v>1.57</c:v>
                </c:pt>
                <c:pt idx="12">
                  <c:v>1.48</c:v>
                </c:pt>
                <c:pt idx="13">
                  <c:v>1.45</c:v>
                </c:pt>
                <c:pt idx="14">
                  <c:v>1.45</c:v>
                </c:pt>
                <c:pt idx="15">
                  <c:v>1.46</c:v>
                </c:pt>
                <c:pt idx="16">
                  <c:v>1.35</c:v>
                </c:pt>
                <c:pt idx="17">
                  <c:v>1.36</c:v>
                </c:pt>
                <c:pt idx="18">
                  <c:v>1.45</c:v>
                </c:pt>
                <c:pt idx="19">
                  <c:v>1.42</c:v>
                </c:pt>
                <c:pt idx="20">
                  <c:v>1.46</c:v>
                </c:pt>
                <c:pt idx="21">
                  <c:v>1.46</c:v>
                </c:pt>
                <c:pt idx="22">
                  <c:v>1.45</c:v>
                </c:pt>
                <c:pt idx="23">
                  <c:v>1.45</c:v>
                </c:pt>
                <c:pt idx="24">
                  <c:v>1.46</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6,15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32,11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8,74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26152</c:v>
                </c:pt>
                <c:pt idx="1">
                  <c:v>22818</c:v>
                </c:pt>
                <c:pt idx="2">
                  <c:v>28659</c:v>
                </c:pt>
                <c:pt idx="3">
                  <c:v>33793</c:v>
                </c:pt>
                <c:pt idx="4">
                  <c:v>34081</c:v>
                </c:pt>
                <c:pt idx="5">
                  <c:v>23877</c:v>
                </c:pt>
                <c:pt idx="6">
                  <c:v>16071</c:v>
                </c:pt>
                <c:pt idx="7">
                  <c:v>17426</c:v>
                </c:pt>
                <c:pt idx="8">
                  <c:v>17539</c:v>
                </c:pt>
                <c:pt idx="9">
                  <c:v>21115</c:v>
                </c:pt>
                <c:pt idx="10">
                  <c:v>24989</c:v>
                </c:pt>
                <c:pt idx="11">
                  <c:v>25209</c:v>
                </c:pt>
                <c:pt idx="12">
                  <c:v>31673</c:v>
                </c:pt>
                <c:pt idx="13">
                  <c:v>32116</c:v>
                </c:pt>
                <c:pt idx="14">
                  <c:v>35457</c:v>
                </c:pt>
                <c:pt idx="15">
                  <c:v>32166</c:v>
                </c:pt>
                <c:pt idx="16">
                  <c:v>59104</c:v>
                </c:pt>
                <c:pt idx="17">
                  <c:v>18337</c:v>
                </c:pt>
                <c:pt idx="18">
                  <c:v>15827</c:v>
                </c:pt>
                <c:pt idx="19">
                  <c:v>18900</c:v>
                </c:pt>
                <c:pt idx="20">
                  <c:v>18992</c:v>
                </c:pt>
                <c:pt idx="21">
                  <c:v>19909</c:v>
                </c:pt>
                <c:pt idx="22">
                  <c:v>20336</c:v>
                </c:pt>
                <c:pt idx="23">
                  <c:v>20709</c:v>
                </c:pt>
                <c:pt idx="24">
                  <c:v>18745</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1.5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4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5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1.56</c:v>
                </c:pt>
                <c:pt idx="1">
                  <c:v>1.61</c:v>
                </c:pt>
                <c:pt idx="2">
                  <c:v>1.41</c:v>
                </c:pt>
                <c:pt idx="3">
                  <c:v>1.23</c:v>
                </c:pt>
                <c:pt idx="4">
                  <c:v>1.19</c:v>
                </c:pt>
                <c:pt idx="5">
                  <c:v>1.04</c:v>
                </c:pt>
                <c:pt idx="6">
                  <c:v>1.51</c:v>
                </c:pt>
                <c:pt idx="7">
                  <c:v>1.59</c:v>
                </c:pt>
                <c:pt idx="8">
                  <c:v>1.61</c:v>
                </c:pt>
                <c:pt idx="9">
                  <c:v>1.62</c:v>
                </c:pt>
                <c:pt idx="10">
                  <c:v>1.62</c:v>
                </c:pt>
                <c:pt idx="11">
                  <c:v>1.62</c:v>
                </c:pt>
                <c:pt idx="12">
                  <c:v>1.49</c:v>
                </c:pt>
                <c:pt idx="13">
                  <c:v>1.45</c:v>
                </c:pt>
                <c:pt idx="14">
                  <c:v>1.46</c:v>
                </c:pt>
                <c:pt idx="15">
                  <c:v>1.51</c:v>
                </c:pt>
                <c:pt idx="16">
                  <c:v>1.22</c:v>
                </c:pt>
                <c:pt idx="17">
                  <c:v>1.34</c:v>
                </c:pt>
                <c:pt idx="18">
                  <c:v>1.49</c:v>
                </c:pt>
                <c:pt idx="19">
                  <c:v>1.49</c:v>
                </c:pt>
                <c:pt idx="20">
                  <c:v>1.49</c:v>
                </c:pt>
                <c:pt idx="21">
                  <c:v>1.5</c:v>
                </c:pt>
                <c:pt idx="22">
                  <c:v>1.5</c:v>
                </c:pt>
                <c:pt idx="23">
                  <c:v>1.5</c:v>
                </c:pt>
                <c:pt idx="24">
                  <c:v>1.5</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463,77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325,08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236,43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463776</c:v>
                </c:pt>
                <c:pt idx="1">
                  <c:v>370630</c:v>
                </c:pt>
                <c:pt idx="2">
                  <c:v>588366</c:v>
                </c:pt>
                <c:pt idx="3">
                  <c:v>746586</c:v>
                </c:pt>
                <c:pt idx="4">
                  <c:v>760812</c:v>
                </c:pt>
                <c:pt idx="5">
                  <c:v>226885</c:v>
                </c:pt>
                <c:pt idx="6">
                  <c:v>212879</c:v>
                </c:pt>
                <c:pt idx="7">
                  <c:v>243654</c:v>
                </c:pt>
                <c:pt idx="8">
                  <c:v>234450</c:v>
                </c:pt>
                <c:pt idx="9">
                  <c:v>276535</c:v>
                </c:pt>
                <c:pt idx="10">
                  <c:v>325583</c:v>
                </c:pt>
                <c:pt idx="11">
                  <c:v>317978</c:v>
                </c:pt>
                <c:pt idx="12">
                  <c:v>348227</c:v>
                </c:pt>
                <c:pt idx="13">
                  <c:v>325085</c:v>
                </c:pt>
                <c:pt idx="14">
                  <c:v>505418</c:v>
                </c:pt>
                <c:pt idx="15">
                  <c:v>702344</c:v>
                </c:pt>
                <c:pt idx="16">
                  <c:v>1128795</c:v>
                </c:pt>
                <c:pt idx="17">
                  <c:v>177699</c:v>
                </c:pt>
                <c:pt idx="18">
                  <c:v>172105</c:v>
                </c:pt>
                <c:pt idx="19">
                  <c:v>203429</c:v>
                </c:pt>
                <c:pt idx="20">
                  <c:v>204477</c:v>
                </c:pt>
                <c:pt idx="21">
                  <c:v>231431</c:v>
                </c:pt>
                <c:pt idx="22">
                  <c:v>250036</c:v>
                </c:pt>
                <c:pt idx="23">
                  <c:v>262374</c:v>
                </c:pt>
                <c:pt idx="24">
                  <c:v>236434</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1.5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4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4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1.54</c:v>
                </c:pt>
                <c:pt idx="1">
                  <c:v>1.59</c:v>
                </c:pt>
                <c:pt idx="2">
                  <c:v>1.28</c:v>
                </c:pt>
                <c:pt idx="3">
                  <c:v>1.16</c:v>
                </c:pt>
                <c:pt idx="4">
                  <c:v>1.14</c:v>
                </c:pt>
                <c:pt idx="5">
                  <c:v>1.24</c:v>
                </c:pt>
                <c:pt idx="6">
                  <c:v>1.54</c:v>
                </c:pt>
                <c:pt idx="7">
                  <c:v>1.57</c:v>
                </c:pt>
                <c:pt idx="8">
                  <c:v>1.58</c:v>
                </c:pt>
                <c:pt idx="9">
                  <c:v>1.59</c:v>
                </c:pt>
                <c:pt idx="10">
                  <c:v>1.6</c:v>
                </c:pt>
                <c:pt idx="11">
                  <c:v>1.59</c:v>
                </c:pt>
                <c:pt idx="12">
                  <c:v>1.49</c:v>
                </c:pt>
                <c:pt idx="13">
                  <c:v>1.45</c:v>
                </c:pt>
                <c:pt idx="14">
                  <c:v>1.44</c:v>
                </c:pt>
                <c:pt idx="15">
                  <c:v>1.46</c:v>
                </c:pt>
                <c:pt idx="16">
                  <c:v>1.34</c:v>
                </c:pt>
                <c:pt idx="17">
                  <c:v>1.38</c:v>
                </c:pt>
                <c:pt idx="18">
                  <c:v>1.47</c:v>
                </c:pt>
                <c:pt idx="19">
                  <c:v>1.47</c:v>
                </c:pt>
                <c:pt idx="20">
                  <c:v>1.48</c:v>
                </c:pt>
                <c:pt idx="21">
                  <c:v>1.48</c:v>
                </c:pt>
                <c:pt idx="22">
                  <c:v>1.48</c:v>
                </c:pt>
                <c:pt idx="23">
                  <c:v>1.48</c:v>
                </c:pt>
                <c:pt idx="24">
                  <c:v>1.48</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6,08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5,99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9,75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6085</c:v>
                </c:pt>
                <c:pt idx="1">
                  <c:v>5857</c:v>
                </c:pt>
                <c:pt idx="2">
                  <c:v>6594</c:v>
                </c:pt>
                <c:pt idx="3">
                  <c:v>3862</c:v>
                </c:pt>
                <c:pt idx="4">
                  <c:v>5955</c:v>
                </c:pt>
                <c:pt idx="5">
                  <c:v>4684</c:v>
                </c:pt>
                <c:pt idx="6">
                  <c:v>4266</c:v>
                </c:pt>
                <c:pt idx="7">
                  <c:v>6299</c:v>
                </c:pt>
                <c:pt idx="8">
                  <c:v>4651</c:v>
                </c:pt>
                <c:pt idx="9">
                  <c:v>6253</c:v>
                </c:pt>
                <c:pt idx="10">
                  <c:v>6273</c:v>
                </c:pt>
                <c:pt idx="11">
                  <c:v>8035</c:v>
                </c:pt>
                <c:pt idx="12">
                  <c:v>6533</c:v>
                </c:pt>
                <c:pt idx="13">
                  <c:v>5995</c:v>
                </c:pt>
                <c:pt idx="14">
                  <c:v>10307</c:v>
                </c:pt>
                <c:pt idx="15">
                  <c:v>7625</c:v>
                </c:pt>
                <c:pt idx="16">
                  <c:v>8166</c:v>
                </c:pt>
                <c:pt idx="17">
                  <c:v>10408</c:v>
                </c:pt>
                <c:pt idx="18">
                  <c:v>10208</c:v>
                </c:pt>
                <c:pt idx="19">
                  <c:v>9744</c:v>
                </c:pt>
                <c:pt idx="20">
                  <c:v>10588</c:v>
                </c:pt>
                <c:pt idx="21">
                  <c:v>10902</c:v>
                </c:pt>
                <c:pt idx="22">
                  <c:v>11654</c:v>
                </c:pt>
                <c:pt idx="23">
                  <c:v>11537</c:v>
                </c:pt>
                <c:pt idx="24">
                  <c:v>9757</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2.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2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2.02</c:v>
                </c:pt>
                <c:pt idx="1">
                  <c:v>2.01</c:v>
                </c:pt>
                <c:pt idx="2">
                  <c:v>2.06</c:v>
                </c:pt>
                <c:pt idx="3">
                  <c:v>1.83</c:v>
                </c:pt>
                <c:pt idx="4">
                  <c:v>1.57</c:v>
                </c:pt>
                <c:pt idx="5">
                  <c:v>1.78</c:v>
                </c:pt>
                <c:pt idx="6">
                  <c:v>1.51</c:v>
                </c:pt>
                <c:pt idx="7">
                  <c:v>1.52</c:v>
                </c:pt>
                <c:pt idx="8">
                  <c:v>1.68</c:v>
                </c:pt>
                <c:pt idx="9">
                  <c:v>1.34</c:v>
                </c:pt>
                <c:pt idx="10">
                  <c:v>1.38</c:v>
                </c:pt>
                <c:pt idx="11">
                  <c:v>1.34</c:v>
                </c:pt>
                <c:pt idx="12">
                  <c:v>1.32</c:v>
                </c:pt>
                <c:pt idx="13">
                  <c:v>1.27</c:v>
                </c:pt>
                <c:pt idx="14">
                  <c:v>1.36</c:v>
                </c:pt>
                <c:pt idx="15">
                  <c:v>1.38</c:v>
                </c:pt>
                <c:pt idx="16">
                  <c:v>1.27</c:v>
                </c:pt>
                <c:pt idx="17">
                  <c:v>1.36</c:v>
                </c:pt>
                <c:pt idx="18">
                  <c:v>1.44</c:v>
                </c:pt>
                <c:pt idx="19">
                  <c:v>1.47</c:v>
                </c:pt>
                <c:pt idx="20">
                  <c:v>1.59</c:v>
                </c:pt>
                <c:pt idx="21">
                  <c:v>1.7</c:v>
                </c:pt>
                <c:pt idx="22">
                  <c:v>1.78</c:v>
                </c:pt>
                <c:pt idx="23">
                  <c:v>1.75</c:v>
                </c:pt>
                <c:pt idx="24">
                  <c:v>1.91</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0</c:v>
                </c:pt>
                <c:pt idx="2">
                  <c:v>94</c:v>
                </c:pt>
                <c:pt idx="3">
                  <c:v>85</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2</c:v>
                </c:pt>
                <c:pt idx="2">
                  <c:v>101</c:v>
                </c:pt>
                <c:pt idx="3">
                  <c:v>106</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8</c:v>
                </c:pt>
                <c:pt idx="2">
                  <c:v>99</c:v>
                </c:pt>
                <c:pt idx="3">
                  <c:v>82</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9</c:v>
                </c:pt>
                <c:pt idx="2">
                  <c:v>93</c:v>
                </c:pt>
                <c:pt idx="3">
                  <c:v>81</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Pbg Pl</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8</c:v>
                </c:pt>
                <c:pt idx="2">
                  <c:v>99</c:v>
                </c:pt>
                <c:pt idx="3">
                  <c:v>102</c:v>
                </c:pt>
              </c:numCache>
            </c:numRef>
          </c:val>
          <c:smooth val="0"/>
          <c:extLst>
            <c:ext xmlns:c16="http://schemas.microsoft.com/office/drawing/2014/chart" uri="{C3380CC4-5D6E-409C-BE32-E72D297353CC}">
              <c16:uniqueId val="{00000007-0907-1A4C-A11F-73C2425749BA}"/>
            </c:ext>
          </c:extLst>
        </c:ser>
        <c:ser>
          <c:idx val="9"/>
          <c:order val="6"/>
          <c:tx>
            <c:strRef>
              <c:f>Sheet1!$H$1</c:f>
              <c:strCache>
                <c:ptCount val="1"/>
                <c:pt idx="0">
                  <c:v>Skintimate</c:v>
                </c:pt>
              </c:strCache>
            </c:strRef>
          </c:tx>
          <c:spPr>
            <a:ln w="19050" cap="rnd">
              <a:solidFill>
                <a:srgbClr val="E5F4F3"/>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61</c:v>
                </c:pt>
                <c:pt idx="2">
                  <c:v>47</c:v>
                </c:pt>
                <c:pt idx="3">
                  <c:v>36</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27.19999999999999"/>
          <c:min val="28.8"/>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8</c:v>
                </c:pt>
                <c:pt idx="2">
                  <c:v>114</c:v>
                </c:pt>
                <c:pt idx="3">
                  <c:v>114</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9</c:v>
                </c:pt>
                <c:pt idx="2">
                  <c:v>117</c:v>
                </c:pt>
                <c:pt idx="3">
                  <c:v>118</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2</c:v>
                </c:pt>
                <c:pt idx="2">
                  <c:v>104</c:v>
                </c:pt>
                <c:pt idx="3">
                  <c:v>103</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2</c:v>
                </c:pt>
                <c:pt idx="2">
                  <c:v>102</c:v>
                </c:pt>
                <c:pt idx="3">
                  <c:v>10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10</c:v>
                </c:pt>
                <c:pt idx="2">
                  <c:v>114</c:v>
                </c:pt>
                <c:pt idx="3">
                  <c:v>112</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Pbg Pl</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5</c:v>
                </c:pt>
                <c:pt idx="2">
                  <c:v>117</c:v>
                </c:pt>
                <c:pt idx="3">
                  <c:v>124</c:v>
                </c:pt>
              </c:numCache>
            </c:numRef>
          </c:val>
          <c:smooth val="0"/>
          <c:extLst>
            <c:ext xmlns:c16="http://schemas.microsoft.com/office/drawing/2014/chart" uri="{C3380CC4-5D6E-409C-BE32-E72D297353CC}">
              <c16:uniqueId val="{00000003-F160-FB4E-B9E2-3D36233077E3}"/>
            </c:ext>
          </c:extLst>
        </c:ser>
        <c:ser>
          <c:idx val="9"/>
          <c:order val="6"/>
          <c:tx>
            <c:strRef>
              <c:f>Sheet1!$H$1</c:f>
              <c:strCache>
                <c:ptCount val="1"/>
                <c:pt idx="0">
                  <c:v>Skintimate</c:v>
                </c:pt>
              </c:strCache>
            </c:strRef>
          </c:tx>
          <c:spPr>
            <a:ln w="19050" cap="rnd">
              <a:solidFill>
                <a:srgbClr val="E5F4F3"/>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103</c:v>
                </c:pt>
                <c:pt idx="2">
                  <c:v>112</c:v>
                </c:pt>
                <c:pt idx="3">
                  <c:v>11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8.79999999999998"/>
          <c:min val="8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Amazon</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63</c:v>
                </c:pt>
                <c:pt idx="2">
                  <c:v>196</c:v>
                </c:pt>
                <c:pt idx="3">
                  <c:v>173</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Bic Solei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22</c:v>
                </c:pt>
                <c:pt idx="2">
                  <c:v>116</c:v>
                </c:pt>
                <c:pt idx="3">
                  <c:v>103</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6</c:v>
                </c:pt>
                <c:pt idx="2">
                  <c:v>93</c:v>
                </c:pt>
                <c:pt idx="3">
                  <c:v>93</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Hydro Silk</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12</c:v>
                </c:pt>
                <c:pt idx="2">
                  <c:v>114</c:v>
                </c:pt>
                <c:pt idx="3">
                  <c:v>114</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Intuition</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2</c:v>
                </c:pt>
                <c:pt idx="2">
                  <c:v>83</c:v>
                </c:pt>
                <c:pt idx="3">
                  <c:v>71</c:v>
                </c:pt>
              </c:numCache>
            </c:numRef>
          </c:val>
          <c:smooth val="0"/>
          <c:extLst>
            <c:ext xmlns:c16="http://schemas.microsoft.com/office/drawing/2014/chart" uri="{C3380CC4-5D6E-409C-BE32-E72D297353CC}">
              <c16:uniqueId val="{00000007-0907-1A4C-A11F-73C2425749BA}"/>
            </c:ext>
          </c:extLst>
        </c:ser>
        <c:ser>
          <c:idx val="9"/>
          <c:order val="6"/>
          <c:tx>
            <c:strRef>
              <c:f>Sheet1!$H$1</c:f>
              <c:strCache>
                <c:ptCount val="1"/>
                <c:pt idx="0">
                  <c:v>Skintimate</c:v>
                </c:pt>
              </c:strCache>
            </c:strRef>
          </c:tx>
          <c:spPr>
            <a:ln w="19050" cap="rnd">
              <a:solidFill>
                <a:srgbClr val="E5F4F3"/>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158</c:v>
                </c:pt>
                <c:pt idx="2">
                  <c:v>174</c:v>
                </c:pt>
                <c:pt idx="3">
                  <c:v>151</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235.2"/>
          <c:min val="56.800000000000004"/>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1</c:v>
                </c:pt>
                <c:pt idx="2">
                  <c:v>102</c:v>
                </c:pt>
                <c:pt idx="3">
                  <c:v>100</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Amazon</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8</c:v>
                </c:pt>
                <c:pt idx="2">
                  <c:v>105</c:v>
                </c:pt>
                <c:pt idx="3">
                  <c:v>103</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Bic Solei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2</c:v>
                </c:pt>
                <c:pt idx="2">
                  <c:v>109</c:v>
                </c:pt>
                <c:pt idx="3">
                  <c:v>115</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6</c:v>
                </c:pt>
                <c:pt idx="2">
                  <c:v>109</c:v>
                </c:pt>
                <c:pt idx="3">
                  <c:v>106</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Hydro Silk</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11</c:v>
                </c:pt>
                <c:pt idx="2">
                  <c:v>115</c:v>
                </c:pt>
                <c:pt idx="3">
                  <c:v>111</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Intuition</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5</c:v>
                </c:pt>
                <c:pt idx="2">
                  <c:v>97</c:v>
                </c:pt>
                <c:pt idx="3">
                  <c:v>95</c:v>
                </c:pt>
              </c:numCache>
            </c:numRef>
          </c:val>
          <c:smooth val="0"/>
          <c:extLst>
            <c:ext xmlns:c16="http://schemas.microsoft.com/office/drawing/2014/chart" uri="{C3380CC4-5D6E-409C-BE32-E72D297353CC}">
              <c16:uniqueId val="{00000003-F160-FB4E-B9E2-3D36233077E3}"/>
            </c:ext>
          </c:extLst>
        </c:ser>
        <c:ser>
          <c:idx val="9"/>
          <c:order val="6"/>
          <c:tx>
            <c:strRef>
              <c:f>Sheet1!$H$1</c:f>
              <c:strCache>
                <c:ptCount val="1"/>
                <c:pt idx="0">
                  <c:v>Skintimate</c:v>
                </c:pt>
              </c:strCache>
            </c:strRef>
          </c:tx>
          <c:spPr>
            <a:ln w="19050" cap="rnd">
              <a:solidFill>
                <a:srgbClr val="E5F4F3"/>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88</c:v>
                </c:pt>
                <c:pt idx="2">
                  <c:v>77</c:v>
                </c:pt>
                <c:pt idx="3">
                  <c:v>93</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8.0"/>
          <c:min val="61.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312,92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245,74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784,06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1312924</c:v>
                </c:pt>
                <c:pt idx="1">
                  <c:v>1183297</c:v>
                </c:pt>
                <c:pt idx="2">
                  <c:v>1190678</c:v>
                </c:pt>
                <c:pt idx="3">
                  <c:v>1130916</c:v>
                </c:pt>
                <c:pt idx="4">
                  <c:v>1195124</c:v>
                </c:pt>
                <c:pt idx="5">
                  <c:v>1145863</c:v>
                </c:pt>
                <c:pt idx="6">
                  <c:v>1277539</c:v>
                </c:pt>
                <c:pt idx="7">
                  <c:v>1229642</c:v>
                </c:pt>
                <c:pt idx="8">
                  <c:v>1191030</c:v>
                </c:pt>
                <c:pt idx="9">
                  <c:v>1377941</c:v>
                </c:pt>
                <c:pt idx="10">
                  <c:v>1464105</c:v>
                </c:pt>
                <c:pt idx="11">
                  <c:v>1714752</c:v>
                </c:pt>
                <c:pt idx="12">
                  <c:v>1358314</c:v>
                </c:pt>
                <c:pt idx="13">
                  <c:v>1245740</c:v>
                </c:pt>
                <c:pt idx="14">
                  <c:v>1347298</c:v>
                </c:pt>
                <c:pt idx="15">
                  <c:v>1259311</c:v>
                </c:pt>
                <c:pt idx="16">
                  <c:v>1325090</c:v>
                </c:pt>
                <c:pt idx="17">
                  <c:v>1245489</c:v>
                </c:pt>
                <c:pt idx="18">
                  <c:v>1292818</c:v>
                </c:pt>
                <c:pt idx="19">
                  <c:v>1632783</c:v>
                </c:pt>
                <c:pt idx="20">
                  <c:v>1639565</c:v>
                </c:pt>
                <c:pt idx="21">
                  <c:v>1646544</c:v>
                </c:pt>
                <c:pt idx="22">
                  <c:v>1825679</c:v>
                </c:pt>
                <c:pt idx="23">
                  <c:v>2198762</c:v>
                </c:pt>
                <c:pt idx="24">
                  <c:v>1784063</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1.0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1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1.03</c:v>
                </c:pt>
                <c:pt idx="1">
                  <c:v>1.02</c:v>
                </c:pt>
                <c:pt idx="2">
                  <c:v>0.9</c:v>
                </c:pt>
                <c:pt idx="3">
                  <c:v>0.87</c:v>
                </c:pt>
                <c:pt idx="4">
                  <c:v>0.99</c:v>
                </c:pt>
                <c:pt idx="5">
                  <c:v>1.01</c:v>
                </c:pt>
                <c:pt idx="6">
                  <c:v>0.88</c:v>
                </c:pt>
                <c:pt idx="7">
                  <c:v>1.06</c:v>
                </c:pt>
                <c:pt idx="8">
                  <c:v>1.08</c:v>
                </c:pt>
                <c:pt idx="9">
                  <c:v>0.99</c:v>
                </c:pt>
                <c:pt idx="10">
                  <c:v>1.1</c:v>
                </c:pt>
                <c:pt idx="11">
                  <c:v>1.01</c:v>
                </c:pt>
                <c:pt idx="12">
                  <c:v>1.13</c:v>
                </c:pt>
                <c:pt idx="13">
                  <c:v>1.11</c:v>
                </c:pt>
                <c:pt idx="14">
                  <c:v>1.09</c:v>
                </c:pt>
                <c:pt idx="15">
                  <c:v>1.0</c:v>
                </c:pt>
                <c:pt idx="16">
                  <c:v>1.11</c:v>
                </c:pt>
                <c:pt idx="17">
                  <c:v>1.06</c:v>
                </c:pt>
                <c:pt idx="18">
                  <c:v>1.08</c:v>
                </c:pt>
                <c:pt idx="19">
                  <c:v>1.06</c:v>
                </c:pt>
                <c:pt idx="20">
                  <c:v>1.18</c:v>
                </c:pt>
                <c:pt idx="21">
                  <c:v>1.16</c:v>
                </c:pt>
                <c:pt idx="22">
                  <c:v>1.13</c:v>
                </c:pt>
                <c:pt idx="23">
                  <c:v>1.06</c:v>
                </c:pt>
                <c:pt idx="24">
                  <c:v>1.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Flamingo</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8</c:v>
                </c:pt>
                <c:pt idx="2">
                  <c:v>113</c:v>
                </c:pt>
                <c:pt idx="3">
                  <c:v>147</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8</c:v>
                </c:pt>
                <c:pt idx="2">
                  <c:v>109</c:v>
                </c:pt>
                <c:pt idx="3">
                  <c:v>114</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15</c:v>
                </c:pt>
                <c:pt idx="2">
                  <c:v>114</c:v>
                </c:pt>
                <c:pt idx="3">
                  <c:v>104</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2</c:v>
                </c:pt>
                <c:pt idx="2">
                  <c:v>95</c:v>
                </c:pt>
                <c:pt idx="3">
                  <c:v>83</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69</c:v>
                </c:pt>
                <c:pt idx="2">
                  <c:v>59</c:v>
                </c:pt>
                <c:pt idx="3">
                  <c:v>3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76.4"/>
          <c:min val="29.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10</c:v>
                </c:pt>
                <c:pt idx="2">
                  <c:v>113</c:v>
                </c:pt>
                <c:pt idx="3">
                  <c:v>108</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Flamingo</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3</c:v>
                </c:pt>
                <c:pt idx="2">
                  <c:v>100</c:v>
                </c:pt>
                <c:pt idx="3">
                  <c:v>94</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3</c:v>
                </c:pt>
                <c:pt idx="2">
                  <c:v>103</c:v>
                </c:pt>
                <c:pt idx="3">
                  <c:v>93</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6</c:v>
                </c:pt>
                <c:pt idx="2">
                  <c:v>100</c:v>
                </c:pt>
                <c:pt idx="3">
                  <c:v>98</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0</c:v>
                </c:pt>
                <c:pt idx="2">
                  <c:v>109</c:v>
                </c:pt>
                <c:pt idx="3">
                  <c:v>108</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15</c:v>
                </c:pt>
                <c:pt idx="2">
                  <c:v>114</c:v>
                </c:pt>
                <c:pt idx="3">
                  <c:v>112</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8.0"/>
          <c:min val="74.4"/>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2</c:v>
                </c:pt>
                <c:pt idx="2">
                  <c:v>98</c:v>
                </c:pt>
                <c:pt idx="3">
                  <c:v>84</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8</c:v>
                </c:pt>
                <c:pt idx="2">
                  <c:v>100</c:v>
                </c:pt>
                <c:pt idx="3">
                  <c:v>109</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1</c:v>
                </c:pt>
                <c:pt idx="2">
                  <c:v>101</c:v>
                </c:pt>
                <c:pt idx="3">
                  <c:v>77</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7</c:v>
                </c:pt>
                <c:pt idx="2">
                  <c:v>92</c:v>
                </c:pt>
                <c:pt idx="3">
                  <c:v>83</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Pbg Pl</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6</c:v>
                </c:pt>
                <c:pt idx="2">
                  <c:v>99</c:v>
                </c:pt>
                <c:pt idx="3">
                  <c:v>109</c:v>
                </c:pt>
              </c:numCache>
            </c:numRef>
          </c:val>
          <c:smooth val="0"/>
          <c:extLst>
            <c:ext xmlns:c16="http://schemas.microsoft.com/office/drawing/2014/chart" uri="{C3380CC4-5D6E-409C-BE32-E72D297353CC}">
              <c16:uniqueId val="{00000007-0907-1A4C-A11F-73C2425749BA}"/>
            </c:ext>
          </c:extLst>
        </c:ser>
        <c:ser>
          <c:idx val="9"/>
          <c:order val="6"/>
          <c:tx>
            <c:strRef>
              <c:f>Sheet1!$H$1</c:f>
              <c:strCache>
                <c:ptCount val="1"/>
                <c:pt idx="0">
                  <c:v>Skintimate</c:v>
                </c:pt>
              </c:strCache>
            </c:strRef>
          </c:tx>
          <c:spPr>
            <a:ln w="19050" cap="rnd">
              <a:solidFill>
                <a:srgbClr val="E5F4F3"/>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40</c:v>
                </c:pt>
                <c:pt idx="2">
                  <c:v>28</c:v>
                </c:pt>
                <c:pt idx="3">
                  <c:v>15</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30.79999999999998"/>
          <c:min val="12.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9</c:v>
                </c:pt>
                <c:pt idx="2">
                  <c:v>113</c:v>
                </c:pt>
                <c:pt idx="3">
                  <c:v>112</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7</c:v>
                </c:pt>
                <c:pt idx="2">
                  <c:v>119</c:v>
                </c:pt>
                <c:pt idx="3">
                  <c:v>121</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6</c:v>
                </c:pt>
                <c:pt idx="2">
                  <c:v>96</c:v>
                </c:pt>
                <c:pt idx="3">
                  <c:v>98</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2</c:v>
                </c:pt>
                <c:pt idx="2">
                  <c:v>89</c:v>
                </c:pt>
                <c:pt idx="3">
                  <c:v>88</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12</c:v>
                </c:pt>
                <c:pt idx="2">
                  <c:v>120</c:v>
                </c:pt>
                <c:pt idx="3">
                  <c:v>12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Pbg Pl</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5</c:v>
                </c:pt>
                <c:pt idx="2">
                  <c:v>119</c:v>
                </c:pt>
                <c:pt idx="3">
                  <c:v>129</c:v>
                </c:pt>
              </c:numCache>
            </c:numRef>
          </c:val>
          <c:smooth val="0"/>
          <c:extLst>
            <c:ext xmlns:c16="http://schemas.microsoft.com/office/drawing/2014/chart" uri="{C3380CC4-5D6E-409C-BE32-E72D297353CC}">
              <c16:uniqueId val="{00000003-F160-FB4E-B9E2-3D36233077E3}"/>
            </c:ext>
          </c:extLst>
        </c:ser>
        <c:ser>
          <c:idx val="9"/>
          <c:order val="6"/>
          <c:tx>
            <c:strRef>
              <c:f>Sheet1!$H$1</c:f>
              <c:strCache>
                <c:ptCount val="1"/>
                <c:pt idx="0">
                  <c:v>Skintimate</c:v>
                </c:pt>
              </c:strCache>
            </c:strRef>
          </c:tx>
          <c:spPr>
            <a:ln w="19050" cap="rnd">
              <a:solidFill>
                <a:srgbClr val="E5F4F3"/>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92</c:v>
                </c:pt>
                <c:pt idx="2">
                  <c:v>99</c:v>
                </c:pt>
                <c:pt idx="3">
                  <c:v>10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4.79999999999998"/>
          <c:min val="70.4"/>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Amazon</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65</c:v>
                </c:pt>
                <c:pt idx="2">
                  <c:v>194</c:v>
                </c:pt>
                <c:pt idx="3">
                  <c:v>174</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Bic Solei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24</c:v>
                </c:pt>
                <c:pt idx="2">
                  <c:v>110</c:v>
                </c:pt>
                <c:pt idx="3">
                  <c:v>94</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3</c:v>
                </c:pt>
                <c:pt idx="2">
                  <c:v>91</c:v>
                </c:pt>
                <c:pt idx="3">
                  <c:v>9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Hydro Silk</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19</c:v>
                </c:pt>
                <c:pt idx="2">
                  <c:v>125</c:v>
                </c:pt>
                <c:pt idx="3">
                  <c:v>125</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Intuition</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84</c:v>
                </c:pt>
                <c:pt idx="2">
                  <c:v>61</c:v>
                </c:pt>
                <c:pt idx="3">
                  <c:v>56</c:v>
                </c:pt>
              </c:numCache>
            </c:numRef>
          </c:val>
          <c:smooth val="0"/>
          <c:extLst>
            <c:ext xmlns:c16="http://schemas.microsoft.com/office/drawing/2014/chart" uri="{C3380CC4-5D6E-409C-BE32-E72D297353CC}">
              <c16:uniqueId val="{00000007-0907-1A4C-A11F-73C2425749BA}"/>
            </c:ext>
          </c:extLst>
        </c:ser>
        <c:ser>
          <c:idx val="9"/>
          <c:order val="6"/>
          <c:tx>
            <c:strRef>
              <c:f>Sheet1!$H$1</c:f>
              <c:strCache>
                <c:ptCount val="1"/>
                <c:pt idx="0">
                  <c:v>Skintimate</c:v>
                </c:pt>
              </c:strCache>
            </c:strRef>
          </c:tx>
          <c:spPr>
            <a:ln w="19050" cap="rnd">
              <a:solidFill>
                <a:srgbClr val="E5F4F3"/>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148</c:v>
                </c:pt>
                <c:pt idx="2">
                  <c:v>136</c:v>
                </c:pt>
                <c:pt idx="3">
                  <c:v>55</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232.79999999999998"/>
          <c:min val="44.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99</c:v>
                </c:pt>
                <c:pt idx="2">
                  <c:v>102</c:v>
                </c:pt>
                <c:pt idx="3">
                  <c:v>100</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Amazon</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8</c:v>
                </c:pt>
                <c:pt idx="2">
                  <c:v>106</c:v>
                </c:pt>
                <c:pt idx="3">
                  <c:v>103</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Bic Solei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0</c:v>
                </c:pt>
                <c:pt idx="2">
                  <c:v>110</c:v>
                </c:pt>
                <c:pt idx="3">
                  <c:v>116</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4</c:v>
                </c:pt>
                <c:pt idx="2">
                  <c:v>107</c:v>
                </c:pt>
                <c:pt idx="3">
                  <c:v>105</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Hydro Silk</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10</c:v>
                </c:pt>
                <c:pt idx="2">
                  <c:v>116</c:v>
                </c:pt>
                <c:pt idx="3">
                  <c:v>112</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Intuition</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9</c:v>
                </c:pt>
                <c:pt idx="2">
                  <c:v>108</c:v>
                </c:pt>
                <c:pt idx="3">
                  <c:v>102</c:v>
                </c:pt>
              </c:numCache>
            </c:numRef>
          </c:val>
          <c:smooth val="0"/>
          <c:extLst>
            <c:ext xmlns:c16="http://schemas.microsoft.com/office/drawing/2014/chart" uri="{C3380CC4-5D6E-409C-BE32-E72D297353CC}">
              <c16:uniqueId val="{00000003-F160-FB4E-B9E2-3D36233077E3}"/>
            </c:ext>
          </c:extLst>
        </c:ser>
        <c:ser>
          <c:idx val="9"/>
          <c:order val="6"/>
          <c:tx>
            <c:strRef>
              <c:f>Sheet1!$H$1</c:f>
              <c:strCache>
                <c:ptCount val="1"/>
                <c:pt idx="0">
                  <c:v>Skintimate</c:v>
                </c:pt>
              </c:strCache>
            </c:strRef>
          </c:tx>
          <c:spPr>
            <a:ln w="19050" cap="rnd">
              <a:solidFill>
                <a:srgbClr val="E5F4F3"/>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81</c:v>
                </c:pt>
                <c:pt idx="2">
                  <c:v>78</c:v>
                </c:pt>
                <c:pt idx="3">
                  <c:v>93</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9.2"/>
          <c:min val="62.40000000000000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Flamingo</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8</c:v>
                </c:pt>
                <c:pt idx="2">
                  <c:v>113</c:v>
                </c:pt>
                <c:pt idx="3">
                  <c:v>147</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8</c:v>
                </c:pt>
                <c:pt idx="2">
                  <c:v>109</c:v>
                </c:pt>
                <c:pt idx="3">
                  <c:v>114</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15</c:v>
                </c:pt>
                <c:pt idx="2">
                  <c:v>114</c:v>
                </c:pt>
                <c:pt idx="3">
                  <c:v>104</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2</c:v>
                </c:pt>
                <c:pt idx="2">
                  <c:v>95</c:v>
                </c:pt>
                <c:pt idx="3">
                  <c:v>83</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69</c:v>
                </c:pt>
                <c:pt idx="2">
                  <c:v>59</c:v>
                </c:pt>
                <c:pt idx="3">
                  <c:v>3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76.4"/>
          <c:min val="29.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10</c:v>
                </c:pt>
                <c:pt idx="2">
                  <c:v>113</c:v>
                </c:pt>
                <c:pt idx="3">
                  <c:v>108</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Flamingo</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3</c:v>
                </c:pt>
                <c:pt idx="2">
                  <c:v>100</c:v>
                </c:pt>
                <c:pt idx="3">
                  <c:v>94</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3</c:v>
                </c:pt>
                <c:pt idx="2">
                  <c:v>103</c:v>
                </c:pt>
                <c:pt idx="3">
                  <c:v>93</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6</c:v>
                </c:pt>
                <c:pt idx="2">
                  <c:v>100</c:v>
                </c:pt>
                <c:pt idx="3">
                  <c:v>98</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0</c:v>
                </c:pt>
                <c:pt idx="2">
                  <c:v>109</c:v>
                </c:pt>
                <c:pt idx="3">
                  <c:v>108</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15</c:v>
                </c:pt>
                <c:pt idx="2">
                  <c:v>114</c:v>
                </c:pt>
                <c:pt idx="3">
                  <c:v>112</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8.0"/>
          <c:min val="74.4"/>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4</c:v>
                </c:pt>
                <c:pt idx="2">
                  <c:v>101</c:v>
                </c:pt>
                <c:pt idx="3">
                  <c:v>85</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1</c:v>
                </c:pt>
                <c:pt idx="2">
                  <c:v>103</c:v>
                </c:pt>
                <c:pt idx="3">
                  <c:v>113</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89</c:v>
                </c:pt>
                <c:pt idx="2">
                  <c:v>102</c:v>
                </c:pt>
                <c:pt idx="3">
                  <c:v>73</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2</c:v>
                </c:pt>
                <c:pt idx="2">
                  <c:v>87</c:v>
                </c:pt>
                <c:pt idx="3">
                  <c:v>8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Pbg Pl</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2</c:v>
                </c:pt>
                <c:pt idx="2">
                  <c:v>108</c:v>
                </c:pt>
                <c:pt idx="3">
                  <c:v>120</c:v>
                </c:pt>
              </c:numCache>
            </c:numRef>
          </c:val>
          <c:smooth val="0"/>
          <c:extLst>
            <c:ext xmlns:c16="http://schemas.microsoft.com/office/drawing/2014/chart" uri="{C3380CC4-5D6E-409C-BE32-E72D297353CC}">
              <c16:uniqueId val="{00000007-0907-1A4C-A11F-73C2425749BA}"/>
            </c:ext>
          </c:extLst>
        </c:ser>
        <c:ser>
          <c:idx val="9"/>
          <c:order val="6"/>
          <c:tx>
            <c:strRef>
              <c:f>Sheet1!$H$1</c:f>
              <c:strCache>
                <c:ptCount val="1"/>
                <c:pt idx="0">
                  <c:v>Skintimate</c:v>
                </c:pt>
              </c:strCache>
            </c:strRef>
          </c:tx>
          <c:spPr>
            <a:ln w="19050" cap="rnd">
              <a:solidFill>
                <a:srgbClr val="E5F4F3"/>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39</c:v>
                </c:pt>
                <c:pt idx="2">
                  <c:v>29</c:v>
                </c:pt>
                <c:pt idx="3">
                  <c:v>1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44.0"/>
          <c:min val="13.60000000000000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8</c:v>
                </c:pt>
                <c:pt idx="2">
                  <c:v>112</c:v>
                </c:pt>
                <c:pt idx="3">
                  <c:v>10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7</c:v>
                </c:pt>
                <c:pt idx="2">
                  <c:v>118</c:v>
                </c:pt>
                <c:pt idx="3">
                  <c:v>12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3</c:v>
                </c:pt>
                <c:pt idx="2">
                  <c:v>93</c:v>
                </c:pt>
                <c:pt idx="3">
                  <c:v>94</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4</c:v>
                </c:pt>
                <c:pt idx="2">
                  <c:v>90</c:v>
                </c:pt>
                <c:pt idx="3">
                  <c:v>9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11</c:v>
                </c:pt>
                <c:pt idx="2">
                  <c:v>120</c:v>
                </c:pt>
                <c:pt idx="3">
                  <c:v>119</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Pbg Pl</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8</c:v>
                </c:pt>
                <c:pt idx="2">
                  <c:v>122</c:v>
                </c:pt>
                <c:pt idx="3">
                  <c:v>133</c:v>
                </c:pt>
              </c:numCache>
            </c:numRef>
          </c:val>
          <c:smooth val="0"/>
          <c:extLst>
            <c:ext xmlns:c16="http://schemas.microsoft.com/office/drawing/2014/chart" uri="{C3380CC4-5D6E-409C-BE32-E72D297353CC}">
              <c16:uniqueId val="{00000003-F160-FB4E-B9E2-3D36233077E3}"/>
            </c:ext>
          </c:extLst>
        </c:ser>
        <c:ser>
          <c:idx val="9"/>
          <c:order val="6"/>
          <c:tx>
            <c:strRef>
              <c:f>Sheet1!$H$1</c:f>
              <c:strCache>
                <c:ptCount val="1"/>
                <c:pt idx="0">
                  <c:v>Skintimate</c:v>
                </c:pt>
              </c:strCache>
            </c:strRef>
          </c:tx>
          <c:spPr>
            <a:ln w="19050" cap="rnd">
              <a:solidFill>
                <a:srgbClr val="E5F4F3"/>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96</c:v>
                </c:pt>
                <c:pt idx="2">
                  <c:v>105</c:v>
                </c:pt>
                <c:pt idx="3">
                  <c:v>105</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9.6"/>
          <c:min val="72.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4,960,21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5,205,32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7,187,01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4960212</c:v>
                </c:pt>
                <c:pt idx="1">
                  <c:v>4675681</c:v>
                </c:pt>
                <c:pt idx="2">
                  <c:v>4886119</c:v>
                </c:pt>
                <c:pt idx="3">
                  <c:v>4540242</c:v>
                </c:pt>
                <c:pt idx="4">
                  <c:v>4881251</c:v>
                </c:pt>
                <c:pt idx="5">
                  <c:v>5138433</c:v>
                </c:pt>
                <c:pt idx="6">
                  <c:v>4827799</c:v>
                </c:pt>
                <c:pt idx="7">
                  <c:v>5111764</c:v>
                </c:pt>
                <c:pt idx="8">
                  <c:v>5099776</c:v>
                </c:pt>
                <c:pt idx="9">
                  <c:v>5508871</c:v>
                </c:pt>
                <c:pt idx="10">
                  <c:v>5699533</c:v>
                </c:pt>
                <c:pt idx="11">
                  <c:v>6896880</c:v>
                </c:pt>
                <c:pt idx="12">
                  <c:v>5663670</c:v>
                </c:pt>
                <c:pt idx="13">
                  <c:v>5205322</c:v>
                </c:pt>
                <c:pt idx="14">
                  <c:v>5318930</c:v>
                </c:pt>
                <c:pt idx="15">
                  <c:v>5156409</c:v>
                </c:pt>
                <c:pt idx="16">
                  <c:v>4919230</c:v>
                </c:pt>
                <c:pt idx="17">
                  <c:v>5118520</c:v>
                </c:pt>
                <c:pt idx="18">
                  <c:v>5047365</c:v>
                </c:pt>
                <c:pt idx="19">
                  <c:v>5801345</c:v>
                </c:pt>
                <c:pt idx="20">
                  <c:v>5992577</c:v>
                </c:pt>
                <c:pt idx="21">
                  <c:v>6571120</c:v>
                </c:pt>
                <c:pt idx="22">
                  <c:v>6763778</c:v>
                </c:pt>
                <c:pt idx="23">
                  <c:v>8370339</c:v>
                </c:pt>
                <c:pt idx="24">
                  <c:v>7187013</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2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3.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2.9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28</c:v>
                </c:pt>
                <c:pt idx="1">
                  <c:v>3.14</c:v>
                </c:pt>
                <c:pt idx="2">
                  <c:v>3.12</c:v>
                </c:pt>
                <c:pt idx="3">
                  <c:v>3.19</c:v>
                </c:pt>
                <c:pt idx="4">
                  <c:v>3.39</c:v>
                </c:pt>
                <c:pt idx="5">
                  <c:v>3.39</c:v>
                </c:pt>
                <c:pt idx="6">
                  <c:v>3.27</c:v>
                </c:pt>
                <c:pt idx="7">
                  <c:v>3.21</c:v>
                </c:pt>
                <c:pt idx="8">
                  <c:v>3.19</c:v>
                </c:pt>
                <c:pt idx="9">
                  <c:v>3.11</c:v>
                </c:pt>
                <c:pt idx="10">
                  <c:v>3.16</c:v>
                </c:pt>
                <c:pt idx="11">
                  <c:v>2.88</c:v>
                </c:pt>
                <c:pt idx="12">
                  <c:v>2.98</c:v>
                </c:pt>
                <c:pt idx="13">
                  <c:v>3.0</c:v>
                </c:pt>
                <c:pt idx="14">
                  <c:v>2.96</c:v>
                </c:pt>
                <c:pt idx="15">
                  <c:v>2.97</c:v>
                </c:pt>
                <c:pt idx="16">
                  <c:v>2.97</c:v>
                </c:pt>
                <c:pt idx="17">
                  <c:v>2.78</c:v>
                </c:pt>
                <c:pt idx="18">
                  <c:v>2.88</c:v>
                </c:pt>
                <c:pt idx="19">
                  <c:v>2.94</c:v>
                </c:pt>
                <c:pt idx="20">
                  <c:v>2.94</c:v>
                </c:pt>
                <c:pt idx="21">
                  <c:v>2.9</c:v>
                </c:pt>
                <c:pt idx="22">
                  <c:v>2.97</c:v>
                </c:pt>
                <c:pt idx="23">
                  <c:v>2.82</c:v>
                </c:pt>
                <c:pt idx="24">
                  <c:v>2.9</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4</c:v>
                </c:pt>
                <c:pt idx="2">
                  <c:v>98</c:v>
                </c:pt>
                <c:pt idx="3">
                  <c:v>96</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3</c:v>
                </c:pt>
                <c:pt idx="2">
                  <c:v>94</c:v>
                </c:pt>
                <c:pt idx="3">
                  <c:v>10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9</c:v>
                </c:pt>
                <c:pt idx="2">
                  <c:v>98</c:v>
                </c:pt>
                <c:pt idx="3">
                  <c:v>84</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8</c:v>
                </c:pt>
                <c:pt idx="2">
                  <c:v>83</c:v>
                </c:pt>
                <c:pt idx="3">
                  <c:v>73</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Pbg Pl</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1</c:v>
                </c:pt>
                <c:pt idx="2">
                  <c:v>123</c:v>
                </c:pt>
                <c:pt idx="3">
                  <c:v>128</c:v>
                </c:pt>
              </c:numCache>
            </c:numRef>
          </c:val>
          <c:smooth val="0"/>
          <c:extLst>
            <c:ext xmlns:c16="http://schemas.microsoft.com/office/drawing/2014/chart" uri="{C3380CC4-5D6E-409C-BE32-E72D297353CC}">
              <c16:uniqueId val="{00000007-0907-1A4C-A11F-73C2425749BA}"/>
            </c:ext>
          </c:extLst>
        </c:ser>
        <c:ser>
          <c:idx val="9"/>
          <c:order val="6"/>
          <c:tx>
            <c:strRef>
              <c:f>Sheet1!$H$1</c:f>
              <c:strCache>
                <c:ptCount val="1"/>
                <c:pt idx="0">
                  <c:v>Skintimate</c:v>
                </c:pt>
              </c:strCache>
            </c:strRef>
          </c:tx>
          <c:spPr>
            <a:ln w="19050" cap="rnd">
              <a:solidFill>
                <a:srgbClr val="E5F4F3"/>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64</c:v>
                </c:pt>
                <c:pt idx="2">
                  <c:v>56</c:v>
                </c:pt>
                <c:pt idx="3">
                  <c:v>3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53.6"/>
          <c:min val="29.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8</c:v>
                </c:pt>
                <c:pt idx="2">
                  <c:v>111</c:v>
                </c:pt>
                <c:pt idx="3">
                  <c:v>111</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8</c:v>
                </c:pt>
                <c:pt idx="2">
                  <c:v>106</c:v>
                </c:pt>
                <c:pt idx="3">
                  <c:v>108</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4</c:v>
                </c:pt>
                <c:pt idx="2">
                  <c:v>94</c:v>
                </c:pt>
                <c:pt idx="3">
                  <c:v>97</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0</c:v>
                </c:pt>
                <c:pt idx="2">
                  <c:v>87</c:v>
                </c:pt>
                <c:pt idx="3">
                  <c:v>82</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6</c:v>
                </c:pt>
                <c:pt idx="2">
                  <c:v>112</c:v>
                </c:pt>
                <c:pt idx="3">
                  <c:v>114</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Pbg Pl</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17</c:v>
                </c:pt>
                <c:pt idx="2">
                  <c:v>148</c:v>
                </c:pt>
                <c:pt idx="3">
                  <c:v>161</c:v>
                </c:pt>
              </c:numCache>
            </c:numRef>
          </c:val>
          <c:smooth val="0"/>
          <c:extLst>
            <c:ext xmlns:c16="http://schemas.microsoft.com/office/drawing/2014/chart" uri="{C3380CC4-5D6E-409C-BE32-E72D297353CC}">
              <c16:uniqueId val="{00000003-F160-FB4E-B9E2-3D36233077E3}"/>
            </c:ext>
          </c:extLst>
        </c:ser>
        <c:ser>
          <c:idx val="9"/>
          <c:order val="6"/>
          <c:tx>
            <c:strRef>
              <c:f>Sheet1!$H$1</c:f>
              <c:strCache>
                <c:ptCount val="1"/>
                <c:pt idx="0">
                  <c:v>Skintimate</c:v>
                </c:pt>
              </c:strCache>
            </c:strRef>
          </c:tx>
          <c:spPr>
            <a:ln w="19050" cap="rnd">
              <a:solidFill>
                <a:srgbClr val="E5F4F3"/>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87</c:v>
                </c:pt>
                <c:pt idx="2">
                  <c:v>90</c:v>
                </c:pt>
                <c:pt idx="3">
                  <c:v>93</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93.2"/>
          <c:min val="65.6000000000000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1</c:v>
                </c:pt>
                <c:pt idx="2">
                  <c:v>98</c:v>
                </c:pt>
                <c:pt idx="3">
                  <c:v>83</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7</c:v>
                </c:pt>
                <c:pt idx="2">
                  <c:v>100</c:v>
                </c:pt>
                <c:pt idx="3">
                  <c:v>109</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0</c:v>
                </c:pt>
                <c:pt idx="2">
                  <c:v>101</c:v>
                </c:pt>
                <c:pt idx="3">
                  <c:v>77</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8</c:v>
                </c:pt>
                <c:pt idx="2">
                  <c:v>94</c:v>
                </c:pt>
                <c:pt idx="3">
                  <c:v>84</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Pbg Pl</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5</c:v>
                </c:pt>
                <c:pt idx="2">
                  <c:v>96</c:v>
                </c:pt>
                <c:pt idx="3">
                  <c:v>106</c:v>
                </c:pt>
              </c:numCache>
            </c:numRef>
          </c:val>
          <c:smooth val="0"/>
          <c:extLst>
            <c:ext xmlns:c16="http://schemas.microsoft.com/office/drawing/2014/chart" uri="{C3380CC4-5D6E-409C-BE32-E72D297353CC}">
              <c16:uniqueId val="{00000007-0907-1A4C-A11F-73C2425749BA}"/>
            </c:ext>
          </c:extLst>
        </c:ser>
        <c:ser>
          <c:idx val="9"/>
          <c:order val="6"/>
          <c:tx>
            <c:strRef>
              <c:f>Sheet1!$H$1</c:f>
              <c:strCache>
                <c:ptCount val="1"/>
                <c:pt idx="0">
                  <c:v>Skintimate</c:v>
                </c:pt>
              </c:strCache>
            </c:strRef>
          </c:tx>
          <c:spPr>
            <a:ln w="19050" cap="rnd">
              <a:solidFill>
                <a:srgbClr val="E5F4F3"/>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39</c:v>
                </c:pt>
                <c:pt idx="2">
                  <c:v>27</c:v>
                </c:pt>
                <c:pt idx="3">
                  <c:v>14</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30.79999999999998"/>
          <c:min val="11.20000000000000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9</c:v>
                </c:pt>
                <c:pt idx="2">
                  <c:v>114</c:v>
                </c:pt>
                <c:pt idx="3">
                  <c:v>113</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8</c:v>
                </c:pt>
                <c:pt idx="2">
                  <c:v>120</c:v>
                </c:pt>
                <c:pt idx="3">
                  <c:v>121</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6</c:v>
                </c:pt>
                <c:pt idx="2">
                  <c:v>97</c:v>
                </c:pt>
                <c:pt idx="3">
                  <c:v>99</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2</c:v>
                </c:pt>
                <c:pt idx="2">
                  <c:v>88</c:v>
                </c:pt>
                <c:pt idx="3">
                  <c:v>88</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13</c:v>
                </c:pt>
                <c:pt idx="2">
                  <c:v>121</c:v>
                </c:pt>
                <c:pt idx="3">
                  <c:v>12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Pbg Pl</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4</c:v>
                </c:pt>
                <c:pt idx="2">
                  <c:v>117</c:v>
                </c:pt>
                <c:pt idx="3">
                  <c:v>127</c:v>
                </c:pt>
              </c:numCache>
            </c:numRef>
          </c:val>
          <c:smooth val="0"/>
          <c:extLst>
            <c:ext xmlns:c16="http://schemas.microsoft.com/office/drawing/2014/chart" uri="{C3380CC4-5D6E-409C-BE32-E72D297353CC}">
              <c16:uniqueId val="{00000003-F160-FB4E-B9E2-3D36233077E3}"/>
            </c:ext>
          </c:extLst>
        </c:ser>
        <c:ser>
          <c:idx val="9"/>
          <c:order val="6"/>
          <c:tx>
            <c:strRef>
              <c:f>Sheet1!$H$1</c:f>
              <c:strCache>
                <c:ptCount val="1"/>
                <c:pt idx="0">
                  <c:v>Skintimate</c:v>
                </c:pt>
              </c:strCache>
            </c:strRef>
          </c:tx>
          <c:spPr>
            <a:ln w="19050" cap="rnd">
              <a:solidFill>
                <a:srgbClr val="E5F4F3"/>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91</c:v>
                </c:pt>
                <c:pt idx="2">
                  <c:v>99</c:v>
                </c:pt>
                <c:pt idx="3">
                  <c:v>10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2.4"/>
          <c:min val="70.4"/>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18</c:v>
                </c:pt>
                <c:pt idx="2">
                  <c:v>127</c:v>
                </c:pt>
                <c:pt idx="3">
                  <c:v>12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Flamingo</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24</c:v>
                </c:pt>
                <c:pt idx="2">
                  <c:v>182</c:v>
                </c:pt>
                <c:pt idx="3">
                  <c:v>323</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25</c:v>
                </c:pt>
                <c:pt idx="2">
                  <c:v>120</c:v>
                </c:pt>
                <c:pt idx="3">
                  <c:v>122</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Hydro Silk</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81</c:v>
                </c:pt>
                <c:pt idx="2">
                  <c:v>54</c:v>
                </c:pt>
                <c:pt idx="3">
                  <c:v>55</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Intuition</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5</c:v>
                </c:pt>
                <c:pt idx="2">
                  <c:v>100</c:v>
                </c:pt>
                <c:pt idx="3">
                  <c:v>84</c:v>
                </c:pt>
              </c:numCache>
            </c:numRef>
          </c:val>
          <c:smooth val="0"/>
          <c:extLst>
            <c:ext xmlns:c16="http://schemas.microsoft.com/office/drawing/2014/chart" uri="{C3380CC4-5D6E-409C-BE32-E72D297353CC}">
              <c16:uniqueId val="{00000007-0907-1A4C-A11F-73C2425749BA}"/>
            </c:ext>
          </c:extLst>
        </c:ser>
        <c:ser>
          <c:idx val="9"/>
          <c:order val="6"/>
          <c:tx>
            <c:strRef>
              <c:f>Sheet1!$H$1</c:f>
              <c:strCache>
                <c:ptCount val="1"/>
                <c:pt idx="0">
                  <c:v>Joy</c:v>
                </c:pt>
              </c:strCache>
            </c:strRef>
          </c:tx>
          <c:spPr>
            <a:ln w="19050" cap="rnd">
              <a:solidFill>
                <a:srgbClr val="FFFF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62</c:v>
                </c:pt>
                <c:pt idx="2">
                  <c:v>40</c:v>
                </c:pt>
                <c:pt idx="3">
                  <c:v>47</c:v>
                </c:pt>
              </c:numCache>
            </c:numRef>
          </c:val>
          <c:smooth val="0"/>
          <c:extLst>
            <c:ext xmlns:c16="http://schemas.microsoft.com/office/drawing/2014/chart" uri="{C3380CC4-5D6E-409C-BE32-E72D297353CC}">
              <c16:uniqueId val="{00000007-0907-1A4C-A11F-73C2425749BA}"/>
            </c:ext>
          </c:extLst>
        </c:ser>
        <c:ser>
          <c:idx val="10"/>
          <c:order val="7"/>
          <c:tx>
            <c:strRef>
              <c:f>Sheet1!$I$1</c:f>
              <c:strCache>
                <c:ptCount val="1"/>
                <c:pt idx="0">
                  <c:v>Skintimate</c:v>
                </c:pt>
              </c:strCache>
            </c:strRef>
          </c:tx>
          <c:spPr>
            <a:ln w="19050" cap="rnd">
              <a:solidFill>
                <a:srgbClr val="306181"/>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I$2:$I$5</c:f>
              <c:numCache>
                <c:formatCode>General</c:formatCode>
                <c:ptCount val="4"/>
                <c:pt idx="0">
                  <c:v>100</c:v>
                </c:pt>
                <c:pt idx="1">
                  <c:v>173</c:v>
                </c:pt>
                <c:pt idx="2">
                  <c:v>243</c:v>
                </c:pt>
                <c:pt idx="3">
                  <c:v>334</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400.8"/>
          <c:min val="32.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8</c:v>
                </c:pt>
                <c:pt idx="2">
                  <c:v>102</c:v>
                </c:pt>
                <c:pt idx="3">
                  <c:v>101</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7</c:v>
                </c:pt>
                <c:pt idx="2">
                  <c:v>106</c:v>
                </c:pt>
                <c:pt idx="3">
                  <c:v>108</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Flamingo</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89</c:v>
                </c:pt>
                <c:pt idx="2">
                  <c:v>78</c:v>
                </c:pt>
                <c:pt idx="3">
                  <c:v>68</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15</c:v>
                </c:pt>
                <c:pt idx="2">
                  <c:v>115</c:v>
                </c:pt>
                <c:pt idx="3">
                  <c:v>106</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Hydro Silk</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12</c:v>
                </c:pt>
                <c:pt idx="2">
                  <c:v>108</c:v>
                </c:pt>
                <c:pt idx="3">
                  <c:v>104</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Intuition</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3</c:v>
                </c:pt>
                <c:pt idx="2">
                  <c:v>94</c:v>
                </c:pt>
                <c:pt idx="3">
                  <c:v>93</c:v>
                </c:pt>
              </c:numCache>
            </c:numRef>
          </c:val>
          <c:smooth val="0"/>
          <c:extLst>
            <c:ext xmlns:c16="http://schemas.microsoft.com/office/drawing/2014/chart" uri="{C3380CC4-5D6E-409C-BE32-E72D297353CC}">
              <c16:uniqueId val="{00000003-F160-FB4E-B9E2-3D36233077E3}"/>
            </c:ext>
          </c:extLst>
        </c:ser>
        <c:ser>
          <c:idx val="9"/>
          <c:order val="6"/>
          <c:tx>
            <c:strRef>
              <c:f>Sheet1!$H$1</c:f>
              <c:strCache>
                <c:ptCount val="1"/>
                <c:pt idx="0">
                  <c:v>Joy</c:v>
                </c:pt>
              </c:strCache>
            </c:strRef>
          </c:tx>
          <c:spPr>
            <a:ln w="19050" cap="rnd">
              <a:solidFill>
                <a:srgbClr val="FFFF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100</c:v>
                </c:pt>
                <c:pt idx="2">
                  <c:v>102</c:v>
                </c:pt>
                <c:pt idx="3">
                  <c:v>97</c:v>
                </c:pt>
              </c:numCache>
            </c:numRef>
          </c:val>
          <c:smooth val="0"/>
          <c:extLst>
            <c:ext xmlns:c16="http://schemas.microsoft.com/office/drawing/2014/chart" uri="{C3380CC4-5D6E-409C-BE32-E72D297353CC}">
              <c16:uniqueId val="{00000003-F160-FB4E-B9E2-3D36233077E3}"/>
            </c:ext>
          </c:extLst>
        </c:ser>
        <c:ser>
          <c:idx val="10"/>
          <c:order val="7"/>
          <c:tx>
            <c:strRef>
              <c:f>Sheet1!$I$1</c:f>
              <c:strCache>
                <c:ptCount val="1"/>
                <c:pt idx="0">
                  <c:v>Skintimate</c:v>
                </c:pt>
              </c:strCache>
            </c:strRef>
          </c:tx>
          <c:spPr>
            <a:ln w="19050" cap="rnd">
              <a:solidFill>
                <a:srgbClr val="306181"/>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I$2:$I$5</c:f>
              <c:numCache>
                <c:formatCode>General</c:formatCode>
                <c:ptCount val="4"/>
                <c:pt idx="0">
                  <c:v>100</c:v>
                </c:pt>
                <c:pt idx="1">
                  <c:v>100</c:v>
                </c:pt>
                <c:pt idx="2">
                  <c:v>72</c:v>
                </c:pt>
                <c:pt idx="3">
                  <c:v>8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8.0"/>
          <c:min val="54.40000000000000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Hydro Silk</c:v>
                </c:pt>
              </c:strCache>
            </c:strRef>
          </c:tx>
          <c:spPr>
            <a:ln w="19050" cap="rnd">
              <a:solidFill>
                <a:srgbClr val="FFBFB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201</c:v>
                </c:pt>
                <c:pt idx="2">
                  <c:v>251</c:v>
                </c:pt>
                <c:pt idx="3">
                  <c:v>215</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Japonesqu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0</c:v>
                </c:pt>
                <c:pt idx="2">
                  <c:v>107</c:v>
                </c:pt>
                <c:pt idx="3">
                  <c:v>107</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Rem P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85</c:v>
                </c:pt>
                <c:pt idx="2">
                  <c:v>67</c:v>
                </c:pt>
                <c:pt idx="3">
                  <c:v>63</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Revlon</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7</c:v>
                </c:pt>
                <c:pt idx="2">
                  <c:v>111</c:v>
                </c:pt>
                <c:pt idx="3">
                  <c:v>108</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Universal Razor</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28</c:v>
                </c:pt>
                <c:pt idx="2">
                  <c:v>122</c:v>
                </c:pt>
                <c:pt idx="3">
                  <c:v>108</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301.2"/>
          <c:min val="50.40000000000000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10</c:v>
                </c:pt>
                <c:pt idx="2">
                  <c:v>118</c:v>
                </c:pt>
                <c:pt idx="3">
                  <c:v>122</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Hydro Silk</c:v>
                </c:pt>
              </c:strCache>
            </c:strRef>
          </c:tx>
          <c:spPr>
            <a:ln w="19050" cap="rnd">
              <a:solidFill>
                <a:srgbClr val="FFBFB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14</c:v>
                </c:pt>
                <c:pt idx="2">
                  <c:v>114</c:v>
                </c:pt>
                <c:pt idx="3">
                  <c:v>115</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Japonesqu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6</c:v>
                </c:pt>
                <c:pt idx="2">
                  <c:v>105</c:v>
                </c:pt>
                <c:pt idx="3">
                  <c:v>104</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Rem P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4</c:v>
                </c:pt>
                <c:pt idx="2">
                  <c:v>101</c:v>
                </c:pt>
                <c:pt idx="3">
                  <c:v>104</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Revlon</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4</c:v>
                </c:pt>
                <c:pt idx="2">
                  <c:v>109</c:v>
                </c:pt>
                <c:pt idx="3">
                  <c:v>109</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Universal Razor</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2</c:v>
                </c:pt>
                <c:pt idx="2">
                  <c:v>103</c:v>
                </c:pt>
                <c:pt idx="3">
                  <c:v>102</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6.4"/>
          <c:min val="8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ilky Touch</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0</c:v>
                </c:pt>
                <c:pt idx="2">
                  <c:v>87</c:v>
                </c:pt>
                <c:pt idx="3">
                  <c:v>88</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Bic Solei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6</c:v>
                </c:pt>
                <c:pt idx="2">
                  <c:v>105</c:v>
                </c:pt>
                <c:pt idx="3">
                  <c:v>10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5</c:v>
                </c:pt>
                <c:pt idx="2">
                  <c:v>105</c:v>
                </c:pt>
                <c:pt idx="3">
                  <c:v>113</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Hydro Silk</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1</c:v>
                </c:pt>
                <c:pt idx="2">
                  <c:v>97</c:v>
                </c:pt>
                <c:pt idx="3">
                  <c:v>76</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Intuition</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6</c:v>
                </c:pt>
                <c:pt idx="2">
                  <c:v>5198</c:v>
                </c:pt>
                <c:pt idx="3">
                  <c:v>5064</c:v>
                </c:pt>
              </c:numCache>
            </c:numRef>
          </c:val>
          <c:smooth val="0"/>
          <c:extLst>
            <c:ext xmlns:c16="http://schemas.microsoft.com/office/drawing/2014/chart" uri="{C3380CC4-5D6E-409C-BE32-E72D297353CC}">
              <c16:uniqueId val="{00000007-0907-1A4C-A11F-73C2425749BA}"/>
            </c:ext>
          </c:extLst>
        </c:ser>
        <c:ser>
          <c:idx val="9"/>
          <c:order val="6"/>
          <c:tx>
            <c:strRef>
              <c:f>Sheet1!$H$1</c:f>
              <c:strCache>
                <c:ptCount val="1"/>
                <c:pt idx="0">
                  <c:v>Pbg Pl</c:v>
                </c:pt>
              </c:strCache>
            </c:strRef>
          </c:tx>
          <c:spPr>
            <a:ln w="19050" cap="rnd">
              <a:solidFill>
                <a:srgbClr val="FFFF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104</c:v>
                </c:pt>
                <c:pt idx="2">
                  <c:v>111</c:v>
                </c:pt>
                <c:pt idx="3">
                  <c:v>117</c:v>
                </c:pt>
              </c:numCache>
            </c:numRef>
          </c:val>
          <c:smooth val="0"/>
          <c:extLst>
            <c:ext xmlns:c16="http://schemas.microsoft.com/office/drawing/2014/chart" uri="{C3380CC4-5D6E-409C-BE32-E72D297353CC}">
              <c16:uniqueId val="{00000007-0907-1A4C-A11F-73C2425749BA}"/>
            </c:ext>
          </c:extLst>
        </c:ser>
        <c:ser>
          <c:idx val="10"/>
          <c:order val="7"/>
          <c:tx>
            <c:strRef>
              <c:f>Sheet1!$I$1</c:f>
              <c:strCache>
                <c:ptCount val="1"/>
                <c:pt idx="0">
                  <c:v>Skintimate</c:v>
                </c:pt>
              </c:strCache>
            </c:strRef>
          </c:tx>
          <c:spPr>
            <a:ln w="19050" cap="rnd">
              <a:solidFill>
                <a:srgbClr val="306181"/>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I$2:$I$5</c:f>
              <c:numCache>
                <c:formatCode>General</c:formatCode>
                <c:ptCount val="4"/>
                <c:pt idx="0">
                  <c:v>100</c:v>
                </c:pt>
                <c:pt idx="1">
                  <c:v>73</c:v>
                </c:pt>
                <c:pt idx="2">
                  <c:v>65</c:v>
                </c:pt>
                <c:pt idx="3">
                  <c:v>52</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6237.599999999999"/>
          <c:min val="41.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5</c:v>
                </c:pt>
                <c:pt idx="2">
                  <c:v>111</c:v>
                </c:pt>
                <c:pt idx="3">
                  <c:v>111</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ilky Touch</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9</c:v>
                </c:pt>
                <c:pt idx="2">
                  <c:v>98</c:v>
                </c:pt>
                <c:pt idx="3">
                  <c:v>95</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Bic Solei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5</c:v>
                </c:pt>
                <c:pt idx="2">
                  <c:v>114</c:v>
                </c:pt>
                <c:pt idx="3">
                  <c:v>113</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8</c:v>
                </c:pt>
                <c:pt idx="2">
                  <c:v>98</c:v>
                </c:pt>
                <c:pt idx="3">
                  <c:v>97</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Hydro Silk</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6</c:v>
                </c:pt>
                <c:pt idx="2">
                  <c:v>107</c:v>
                </c:pt>
                <c:pt idx="3">
                  <c:v>102</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Intuition</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82</c:v>
                </c:pt>
                <c:pt idx="2">
                  <c:v>110</c:v>
                </c:pt>
                <c:pt idx="3">
                  <c:v>99</c:v>
                </c:pt>
              </c:numCache>
            </c:numRef>
          </c:val>
          <c:smooth val="0"/>
          <c:extLst>
            <c:ext xmlns:c16="http://schemas.microsoft.com/office/drawing/2014/chart" uri="{C3380CC4-5D6E-409C-BE32-E72D297353CC}">
              <c16:uniqueId val="{00000003-F160-FB4E-B9E2-3D36233077E3}"/>
            </c:ext>
          </c:extLst>
        </c:ser>
        <c:ser>
          <c:idx val="9"/>
          <c:order val="6"/>
          <c:tx>
            <c:strRef>
              <c:f>Sheet1!$H$1</c:f>
              <c:strCache>
                <c:ptCount val="1"/>
                <c:pt idx="0">
                  <c:v>Pbg Pl</c:v>
                </c:pt>
              </c:strCache>
            </c:strRef>
          </c:tx>
          <c:spPr>
            <a:ln w="19050" cap="rnd">
              <a:solidFill>
                <a:srgbClr val="FFFF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108</c:v>
                </c:pt>
                <c:pt idx="2">
                  <c:v>122</c:v>
                </c:pt>
                <c:pt idx="3">
                  <c:v>131</c:v>
                </c:pt>
              </c:numCache>
            </c:numRef>
          </c:val>
          <c:smooth val="0"/>
          <c:extLst>
            <c:ext xmlns:c16="http://schemas.microsoft.com/office/drawing/2014/chart" uri="{C3380CC4-5D6E-409C-BE32-E72D297353CC}">
              <c16:uniqueId val="{00000003-F160-FB4E-B9E2-3D36233077E3}"/>
            </c:ext>
          </c:extLst>
        </c:ser>
        <c:ser>
          <c:idx val="10"/>
          <c:order val="7"/>
          <c:tx>
            <c:strRef>
              <c:f>Sheet1!$I$1</c:f>
              <c:strCache>
                <c:ptCount val="1"/>
                <c:pt idx="0">
                  <c:v>Skintimate</c:v>
                </c:pt>
              </c:strCache>
            </c:strRef>
          </c:tx>
          <c:spPr>
            <a:ln w="19050" cap="rnd">
              <a:solidFill>
                <a:srgbClr val="306181"/>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I$2:$I$5</c:f>
              <c:numCache>
                <c:formatCode>General</c:formatCode>
                <c:ptCount val="4"/>
                <c:pt idx="0">
                  <c:v>100</c:v>
                </c:pt>
                <c:pt idx="1">
                  <c:v>114</c:v>
                </c:pt>
                <c:pt idx="2">
                  <c:v>126</c:v>
                </c:pt>
                <c:pt idx="3">
                  <c:v>125</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7.2"/>
          <c:min val="65.6000000000000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503,56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435,51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549,92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503563</c:v>
                </c:pt>
                <c:pt idx="1">
                  <c:v>483616</c:v>
                </c:pt>
                <c:pt idx="2">
                  <c:v>479453</c:v>
                </c:pt>
                <c:pt idx="3">
                  <c:v>441226</c:v>
                </c:pt>
                <c:pt idx="4">
                  <c:v>569960</c:v>
                </c:pt>
                <c:pt idx="5">
                  <c:v>504070</c:v>
                </c:pt>
                <c:pt idx="6">
                  <c:v>442229</c:v>
                </c:pt>
                <c:pt idx="7">
                  <c:v>544377</c:v>
                </c:pt>
                <c:pt idx="8">
                  <c:v>463737</c:v>
                </c:pt>
                <c:pt idx="9">
                  <c:v>412118</c:v>
                </c:pt>
                <c:pt idx="10">
                  <c:v>441688</c:v>
                </c:pt>
                <c:pt idx="11">
                  <c:v>477047</c:v>
                </c:pt>
                <c:pt idx="12">
                  <c:v>428909</c:v>
                </c:pt>
                <c:pt idx="13">
                  <c:v>435519</c:v>
                </c:pt>
                <c:pt idx="14">
                  <c:v>437287</c:v>
                </c:pt>
                <c:pt idx="15">
                  <c:v>365822</c:v>
                </c:pt>
                <c:pt idx="16">
                  <c:v>412027</c:v>
                </c:pt>
                <c:pt idx="17">
                  <c:v>375545</c:v>
                </c:pt>
                <c:pt idx="18">
                  <c:v>411722</c:v>
                </c:pt>
                <c:pt idx="19">
                  <c:v>469890</c:v>
                </c:pt>
                <c:pt idx="20">
                  <c:v>480731</c:v>
                </c:pt>
                <c:pt idx="21">
                  <c:v>482534</c:v>
                </c:pt>
                <c:pt idx="22">
                  <c:v>504813</c:v>
                </c:pt>
                <c:pt idx="23">
                  <c:v>554490</c:v>
                </c:pt>
                <c:pt idx="24">
                  <c:v>549926</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2.5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5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2.5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2.55</c:v>
                </c:pt>
                <c:pt idx="1">
                  <c:v>2.58</c:v>
                </c:pt>
                <c:pt idx="2">
                  <c:v>2.53</c:v>
                </c:pt>
                <c:pt idx="3">
                  <c:v>2.42</c:v>
                </c:pt>
                <c:pt idx="4">
                  <c:v>2.51</c:v>
                </c:pt>
                <c:pt idx="5">
                  <c:v>2.44</c:v>
                </c:pt>
                <c:pt idx="6">
                  <c:v>2.39</c:v>
                </c:pt>
                <c:pt idx="7">
                  <c:v>2.53</c:v>
                </c:pt>
                <c:pt idx="8">
                  <c:v>2.37</c:v>
                </c:pt>
                <c:pt idx="9">
                  <c:v>2.43</c:v>
                </c:pt>
                <c:pt idx="10">
                  <c:v>2.51</c:v>
                </c:pt>
                <c:pt idx="11">
                  <c:v>2.49</c:v>
                </c:pt>
                <c:pt idx="12">
                  <c:v>2.45</c:v>
                </c:pt>
                <c:pt idx="13">
                  <c:v>2.5</c:v>
                </c:pt>
                <c:pt idx="14">
                  <c:v>2.44</c:v>
                </c:pt>
                <c:pt idx="15">
                  <c:v>2.41</c:v>
                </c:pt>
                <c:pt idx="16">
                  <c:v>2.35</c:v>
                </c:pt>
                <c:pt idx="17">
                  <c:v>2.39</c:v>
                </c:pt>
                <c:pt idx="18">
                  <c:v>2.53</c:v>
                </c:pt>
                <c:pt idx="19">
                  <c:v>2.58</c:v>
                </c:pt>
                <c:pt idx="20">
                  <c:v>2.59</c:v>
                </c:pt>
                <c:pt idx="21">
                  <c:v>2.58</c:v>
                </c:pt>
                <c:pt idx="22">
                  <c:v>2.65</c:v>
                </c:pt>
                <c:pt idx="23">
                  <c:v>2.63</c:v>
                </c:pt>
                <c:pt idx="24">
                  <c:v>2.59</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Flamingo</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12</c:v>
                </c:pt>
                <c:pt idx="2">
                  <c:v>119</c:v>
                </c:pt>
                <c:pt idx="3">
                  <c:v>119</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0</c:v>
                </c:pt>
                <c:pt idx="2">
                  <c:v>98</c:v>
                </c:pt>
                <c:pt idx="3">
                  <c:v>102</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83</c:v>
                </c:pt>
                <c:pt idx="2">
                  <c:v>76</c:v>
                </c:pt>
                <c:pt idx="3">
                  <c:v>62</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7</c:v>
                </c:pt>
                <c:pt idx="2">
                  <c:v>87</c:v>
                </c:pt>
                <c:pt idx="3">
                  <c:v>75</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Joy</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7</c:v>
                </c:pt>
                <c:pt idx="2">
                  <c:v>78</c:v>
                </c:pt>
                <c:pt idx="3">
                  <c:v>67</c:v>
                </c:pt>
              </c:numCache>
            </c:numRef>
          </c:val>
          <c:smooth val="0"/>
          <c:extLst>
            <c:ext xmlns:c16="http://schemas.microsoft.com/office/drawing/2014/chart" uri="{C3380CC4-5D6E-409C-BE32-E72D297353CC}">
              <c16:uniqueId val="{00000007-0907-1A4C-A11F-73C2425749BA}"/>
            </c:ext>
          </c:extLst>
        </c:ser>
        <c:ser>
          <c:idx val="9"/>
          <c:order val="6"/>
          <c:tx>
            <c:strRef>
              <c:f>Sheet1!$H$1</c:f>
              <c:strCache>
                <c:ptCount val="1"/>
                <c:pt idx="0">
                  <c:v>Skintimate</c:v>
                </c:pt>
              </c:strCache>
            </c:strRef>
          </c:tx>
          <c:spPr>
            <a:ln w="19050" cap="rnd">
              <a:solidFill>
                <a:srgbClr val="E5F4F3"/>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26</c:v>
                </c:pt>
                <c:pt idx="2">
                  <c:v>5</c:v>
                </c:pt>
                <c:pt idx="3">
                  <c:v>1</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42.79999999999998"/>
          <c:min val="0.8"/>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10</c:v>
                </c:pt>
                <c:pt idx="2">
                  <c:v>111</c:v>
                </c:pt>
                <c:pt idx="3">
                  <c:v>10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Flamingo</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6</c:v>
                </c:pt>
                <c:pt idx="2">
                  <c:v>104</c:v>
                </c:pt>
                <c:pt idx="3">
                  <c:v>99</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8</c:v>
                </c:pt>
                <c:pt idx="2">
                  <c:v>110</c:v>
                </c:pt>
                <c:pt idx="3">
                  <c:v>108</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12</c:v>
                </c:pt>
                <c:pt idx="2">
                  <c:v>125</c:v>
                </c:pt>
                <c:pt idx="3">
                  <c:v>127</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10</c:v>
                </c:pt>
                <c:pt idx="2">
                  <c:v>114</c:v>
                </c:pt>
                <c:pt idx="3">
                  <c:v>113</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Joy</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0</c:v>
                </c:pt>
                <c:pt idx="2">
                  <c:v>98</c:v>
                </c:pt>
                <c:pt idx="3">
                  <c:v>95</c:v>
                </c:pt>
              </c:numCache>
            </c:numRef>
          </c:val>
          <c:smooth val="0"/>
          <c:extLst>
            <c:ext xmlns:c16="http://schemas.microsoft.com/office/drawing/2014/chart" uri="{C3380CC4-5D6E-409C-BE32-E72D297353CC}">
              <c16:uniqueId val="{00000003-F160-FB4E-B9E2-3D36233077E3}"/>
            </c:ext>
          </c:extLst>
        </c:ser>
        <c:ser>
          <c:idx val="9"/>
          <c:order val="6"/>
          <c:tx>
            <c:strRef>
              <c:f>Sheet1!$H$1</c:f>
              <c:strCache>
                <c:ptCount val="1"/>
                <c:pt idx="0">
                  <c:v>Skintimate</c:v>
                </c:pt>
              </c:strCache>
            </c:strRef>
          </c:tx>
          <c:spPr>
            <a:ln w="19050" cap="rnd">
              <a:solidFill>
                <a:srgbClr val="E5F4F3"/>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78</c:v>
                </c:pt>
                <c:pt idx="2">
                  <c:v>122</c:v>
                </c:pt>
                <c:pt idx="3">
                  <c:v>72</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2.4"/>
          <c:min val="57.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ilky Touch</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4</c:v>
                </c:pt>
                <c:pt idx="2">
                  <c:v>84</c:v>
                </c:pt>
                <c:pt idx="3">
                  <c:v>81</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Bic Solei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6</c:v>
                </c:pt>
                <c:pt idx="2">
                  <c:v>113</c:v>
                </c:pt>
                <c:pt idx="3">
                  <c:v>99</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Daisy</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88</c:v>
                </c:pt>
                <c:pt idx="2">
                  <c:v>73</c:v>
                </c:pt>
                <c:pt idx="3">
                  <c:v>68</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Gillette Venus</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2</c:v>
                </c:pt>
                <c:pt idx="2">
                  <c:v>94</c:v>
                </c:pt>
                <c:pt idx="3">
                  <c:v>103</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Hydro Silk</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4</c:v>
                </c:pt>
                <c:pt idx="2">
                  <c:v>109</c:v>
                </c:pt>
                <c:pt idx="3">
                  <c:v>147</c:v>
                </c:pt>
              </c:numCache>
            </c:numRef>
          </c:val>
          <c:smooth val="0"/>
          <c:extLst>
            <c:ext xmlns:c16="http://schemas.microsoft.com/office/drawing/2014/chart" uri="{C3380CC4-5D6E-409C-BE32-E72D297353CC}">
              <c16:uniqueId val="{00000007-0907-1A4C-A11F-73C2425749BA}"/>
            </c:ext>
          </c:extLst>
        </c:ser>
        <c:ser>
          <c:idx val="9"/>
          <c:order val="6"/>
          <c:tx>
            <c:strRef>
              <c:f>Sheet1!$H$1</c:f>
              <c:strCache>
                <c:ptCount val="1"/>
                <c:pt idx="0">
                  <c:v>Intuition</c:v>
                </c:pt>
              </c:strCache>
            </c:strRef>
          </c:tx>
          <c:spPr>
            <a:ln w="19050" cap="rnd">
              <a:solidFill>
                <a:srgbClr val="E5F4F3"/>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123</c:v>
                </c:pt>
                <c:pt idx="2">
                  <c:v>254</c:v>
                </c:pt>
                <c:pt idx="3">
                  <c:v>357</c:v>
                </c:pt>
              </c:numCache>
            </c:numRef>
          </c:val>
          <c:smooth val="0"/>
          <c:extLst>
            <c:ext xmlns:c16="http://schemas.microsoft.com/office/drawing/2014/chart" uri="{C3380CC4-5D6E-409C-BE32-E72D297353CC}">
              <c16:uniqueId val="{00000007-0907-1A4C-A11F-73C2425749BA}"/>
            </c:ext>
          </c:extLst>
        </c:ser>
        <c:ser>
          <c:idx val="10"/>
          <c:order val="7"/>
          <c:tx>
            <c:strRef>
              <c:f>Sheet1!$I$1</c:f>
              <c:strCache>
                <c:ptCount val="1"/>
                <c:pt idx="0">
                  <c:v>Skintimate</c:v>
                </c:pt>
              </c:strCache>
            </c:strRef>
          </c:tx>
          <c:spPr>
            <a:ln w="19050" cap="rnd">
              <a:solidFill>
                <a:srgbClr val="306181"/>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I$2:$I$5</c:f>
              <c:numCache>
                <c:formatCode>General</c:formatCode>
                <c:ptCount val="4"/>
                <c:pt idx="0">
                  <c:v>100</c:v>
                </c:pt>
                <c:pt idx="1">
                  <c:v>161</c:v>
                </c:pt>
                <c:pt idx="2">
                  <c:v>240</c:v>
                </c:pt>
                <c:pt idx="3">
                  <c:v>229</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428.4"/>
          <c:min val="54.40000000000000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4</c:v>
                </c:pt>
                <c:pt idx="2">
                  <c:v>112</c:v>
                </c:pt>
                <c:pt idx="3">
                  <c:v>118</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ilky Touch</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14</c:v>
                </c:pt>
                <c:pt idx="2">
                  <c:v>105</c:v>
                </c:pt>
                <c:pt idx="3">
                  <c:v>108</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Bic Solei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1</c:v>
                </c:pt>
                <c:pt idx="2">
                  <c:v>109</c:v>
                </c:pt>
                <c:pt idx="3">
                  <c:v>115</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Daisy</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12</c:v>
                </c:pt>
                <c:pt idx="2">
                  <c:v>117</c:v>
                </c:pt>
                <c:pt idx="3">
                  <c:v>118</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Gillette Venus</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4</c:v>
                </c:pt>
                <c:pt idx="2">
                  <c:v>102</c:v>
                </c:pt>
                <c:pt idx="3">
                  <c:v>102</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Hydro Silk</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7</c:v>
                </c:pt>
                <c:pt idx="2">
                  <c:v>109</c:v>
                </c:pt>
                <c:pt idx="3">
                  <c:v>94</c:v>
                </c:pt>
              </c:numCache>
            </c:numRef>
          </c:val>
          <c:smooth val="0"/>
          <c:extLst>
            <c:ext xmlns:c16="http://schemas.microsoft.com/office/drawing/2014/chart" uri="{C3380CC4-5D6E-409C-BE32-E72D297353CC}">
              <c16:uniqueId val="{00000003-F160-FB4E-B9E2-3D36233077E3}"/>
            </c:ext>
          </c:extLst>
        </c:ser>
        <c:ser>
          <c:idx val="9"/>
          <c:order val="6"/>
          <c:tx>
            <c:strRef>
              <c:f>Sheet1!$H$1</c:f>
              <c:strCache>
                <c:ptCount val="1"/>
                <c:pt idx="0">
                  <c:v>Intuition</c:v>
                </c:pt>
              </c:strCache>
            </c:strRef>
          </c:tx>
          <c:spPr>
            <a:ln w="19050" cap="rnd">
              <a:solidFill>
                <a:srgbClr val="E5F4F3"/>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76</c:v>
                </c:pt>
                <c:pt idx="2">
                  <c:v>80</c:v>
                </c:pt>
                <c:pt idx="3">
                  <c:v>82</c:v>
                </c:pt>
              </c:numCache>
            </c:numRef>
          </c:val>
          <c:smooth val="0"/>
          <c:extLst>
            <c:ext xmlns:c16="http://schemas.microsoft.com/office/drawing/2014/chart" uri="{C3380CC4-5D6E-409C-BE32-E72D297353CC}">
              <c16:uniqueId val="{00000003-F160-FB4E-B9E2-3D36233077E3}"/>
            </c:ext>
          </c:extLst>
        </c:ser>
        <c:ser>
          <c:idx val="10"/>
          <c:order val="7"/>
          <c:tx>
            <c:strRef>
              <c:f>Sheet1!$I$1</c:f>
              <c:strCache>
                <c:ptCount val="1"/>
                <c:pt idx="0">
                  <c:v>Skintimate</c:v>
                </c:pt>
              </c:strCache>
            </c:strRef>
          </c:tx>
          <c:spPr>
            <a:ln w="19050" cap="rnd">
              <a:solidFill>
                <a:srgbClr val="306181"/>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I$2:$I$5</c:f>
              <c:numCache>
                <c:formatCode>General</c:formatCode>
                <c:ptCount val="4"/>
                <c:pt idx="0">
                  <c:v>100</c:v>
                </c:pt>
                <c:pt idx="1">
                  <c:v>106</c:v>
                </c:pt>
                <c:pt idx="2">
                  <c:v>76</c:v>
                </c:pt>
                <c:pt idx="3">
                  <c:v>1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1.6"/>
          <c:min val="60.800000000000004"/>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Amazon</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66</c:v>
                </c:pt>
                <c:pt idx="2">
                  <c:v>196</c:v>
                </c:pt>
                <c:pt idx="3">
                  <c:v>175</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Flamingo</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94</c:v>
                </c:pt>
                <c:pt idx="2">
                  <c:v>425</c:v>
                </c:pt>
                <c:pt idx="3">
                  <c:v>586</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6</c:v>
                </c:pt>
                <c:pt idx="2">
                  <c:v>93</c:v>
                </c:pt>
                <c:pt idx="3">
                  <c:v>91</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Hydro Silk</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14</c:v>
                </c:pt>
                <c:pt idx="2">
                  <c:v>114</c:v>
                </c:pt>
                <c:pt idx="3">
                  <c:v>111</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Intuition</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4</c:v>
                </c:pt>
                <c:pt idx="2">
                  <c:v>82</c:v>
                </c:pt>
                <c:pt idx="3">
                  <c:v>71</c:v>
                </c:pt>
              </c:numCache>
            </c:numRef>
          </c:val>
          <c:smooth val="0"/>
          <c:extLst>
            <c:ext xmlns:c16="http://schemas.microsoft.com/office/drawing/2014/chart" uri="{C3380CC4-5D6E-409C-BE32-E72D297353CC}">
              <c16:uniqueId val="{00000007-0907-1A4C-A11F-73C2425749BA}"/>
            </c:ext>
          </c:extLst>
        </c:ser>
        <c:ser>
          <c:idx val="9"/>
          <c:order val="6"/>
          <c:tx>
            <c:strRef>
              <c:f>Sheet1!$H$1</c:f>
              <c:strCache>
                <c:ptCount val="1"/>
                <c:pt idx="0">
                  <c:v>Skintimate</c:v>
                </c:pt>
              </c:strCache>
            </c:strRef>
          </c:tx>
          <c:spPr>
            <a:ln w="19050" cap="rnd">
              <a:solidFill>
                <a:srgbClr val="E5F4F3"/>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152</c:v>
                </c:pt>
                <c:pt idx="2">
                  <c:v>130</c:v>
                </c:pt>
                <c:pt idx="3">
                  <c:v>94</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703.1999999999999"/>
          <c:min val="56.800000000000004"/>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3</c:v>
                </c:pt>
                <c:pt idx="2">
                  <c:v>97</c:v>
                </c:pt>
                <c:pt idx="3">
                  <c:v>92</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Amazon</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8</c:v>
                </c:pt>
                <c:pt idx="2">
                  <c:v>105</c:v>
                </c:pt>
                <c:pt idx="3">
                  <c:v>103</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Flamingo</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82</c:v>
                </c:pt>
                <c:pt idx="2">
                  <c:v>73</c:v>
                </c:pt>
                <c:pt idx="3">
                  <c:v>7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8</c:v>
                </c:pt>
                <c:pt idx="2">
                  <c:v>112</c:v>
                </c:pt>
                <c:pt idx="3">
                  <c:v>112</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Hydro Silk</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11</c:v>
                </c:pt>
                <c:pt idx="2">
                  <c:v>116</c:v>
                </c:pt>
                <c:pt idx="3">
                  <c:v>116</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Intuition</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5</c:v>
                </c:pt>
                <c:pt idx="2">
                  <c:v>97</c:v>
                </c:pt>
                <c:pt idx="3">
                  <c:v>95</c:v>
                </c:pt>
              </c:numCache>
            </c:numRef>
          </c:val>
          <c:smooth val="0"/>
          <c:extLst>
            <c:ext xmlns:c16="http://schemas.microsoft.com/office/drawing/2014/chart" uri="{C3380CC4-5D6E-409C-BE32-E72D297353CC}">
              <c16:uniqueId val="{00000003-F160-FB4E-B9E2-3D36233077E3}"/>
            </c:ext>
          </c:extLst>
        </c:ser>
        <c:ser>
          <c:idx val="9"/>
          <c:order val="6"/>
          <c:tx>
            <c:strRef>
              <c:f>Sheet1!$H$1</c:f>
              <c:strCache>
                <c:ptCount val="1"/>
                <c:pt idx="0">
                  <c:v>Skintimate</c:v>
                </c:pt>
              </c:strCache>
            </c:strRef>
          </c:tx>
          <c:spPr>
            <a:ln w="19050" cap="rnd">
              <a:solidFill>
                <a:srgbClr val="E5F4F3"/>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79</c:v>
                </c:pt>
                <c:pt idx="2">
                  <c:v>74</c:v>
                </c:pt>
                <c:pt idx="3">
                  <c:v>75</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9.2"/>
          <c:min val="56.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Clio</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19</c:v>
                </c:pt>
                <c:pt idx="2">
                  <c:v>159</c:v>
                </c:pt>
                <c:pt idx="3">
                  <c:v>133</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Finishing Touch Flawles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67</c:v>
                </c:pt>
                <c:pt idx="2">
                  <c:v>14</c:v>
                </c:pt>
                <c:pt idx="3">
                  <c:v>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90</c:v>
                </c:pt>
                <c:pt idx="2">
                  <c:v>192</c:v>
                </c:pt>
                <c:pt idx="3">
                  <c:v>146</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Revlon</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78</c:v>
                </c:pt>
                <c:pt idx="2">
                  <c:v>132</c:v>
                </c:pt>
                <c:pt idx="3">
                  <c:v>68</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Universal Razor</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70</c:v>
                </c:pt>
                <c:pt idx="2">
                  <c:v>64</c:v>
                </c:pt>
                <c:pt idx="3">
                  <c:v>6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230.39999999999998"/>
          <c:min val="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8</c:v>
                </c:pt>
                <c:pt idx="2">
                  <c:v>106</c:v>
                </c:pt>
                <c:pt idx="3">
                  <c:v>112</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Clio</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9</c:v>
                </c:pt>
                <c:pt idx="2">
                  <c:v>91</c:v>
                </c:pt>
                <c:pt idx="3">
                  <c:v>102</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Finishing Touch Flawles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0</c:v>
                </c:pt>
                <c:pt idx="2">
                  <c:v>132</c:v>
                </c:pt>
                <c:pt idx="3">
                  <c:v>147</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22</c:v>
                </c:pt>
                <c:pt idx="2">
                  <c:v>129</c:v>
                </c:pt>
                <c:pt idx="3">
                  <c:v>131</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Revlon</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3</c:v>
                </c:pt>
                <c:pt idx="2">
                  <c:v>96</c:v>
                </c:pt>
                <c:pt idx="3">
                  <c:v>87</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Universal Razor</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6</c:v>
                </c:pt>
                <c:pt idx="2">
                  <c:v>102</c:v>
                </c:pt>
                <c:pt idx="3">
                  <c:v>108</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76.4"/>
          <c:min val="69.6000000000000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Daisy</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82</c:v>
                </c:pt>
                <c:pt idx="2">
                  <c:v>78</c:v>
                </c:pt>
                <c:pt idx="3">
                  <c:v>67</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23</c:v>
                </c:pt>
                <c:pt idx="2">
                  <c:v>118</c:v>
                </c:pt>
                <c:pt idx="3">
                  <c:v>139</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18</c:v>
                </c:pt>
                <c:pt idx="2">
                  <c:v>137</c:v>
                </c:pt>
                <c:pt idx="3">
                  <c:v>135</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34</c:v>
                </c:pt>
                <c:pt idx="2">
                  <c:v>19863</c:v>
                </c:pt>
                <c:pt idx="3">
                  <c:v>22986</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69</c:v>
                </c:pt>
                <c:pt idx="2">
                  <c:v>69</c:v>
                </c:pt>
                <c:pt idx="3">
                  <c:v>42</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27583.2"/>
          <c:min val="27.200000000000003"/>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8</c:v>
                </c:pt>
                <c:pt idx="2">
                  <c:v>111</c:v>
                </c:pt>
                <c:pt idx="3">
                  <c:v>113</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Daisy</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0</c:v>
                </c:pt>
                <c:pt idx="2">
                  <c:v>86</c:v>
                </c:pt>
                <c:pt idx="3">
                  <c:v>92</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9</c:v>
                </c:pt>
                <c:pt idx="2">
                  <c:v>99</c:v>
                </c:pt>
                <c:pt idx="3">
                  <c:v>93</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3</c:v>
                </c:pt>
                <c:pt idx="2">
                  <c:v>86</c:v>
                </c:pt>
                <c:pt idx="3">
                  <c:v>8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9</c:v>
                </c:pt>
                <c:pt idx="2">
                  <c:v>110</c:v>
                </c:pt>
                <c:pt idx="3">
                  <c:v>112</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9</c:v>
                </c:pt>
                <c:pt idx="2">
                  <c:v>116</c:v>
                </c:pt>
                <c:pt idx="3">
                  <c:v>118</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1.6"/>
          <c:min val="64.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991,46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620,64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3,367,42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1991469</c:v>
                </c:pt>
                <c:pt idx="1">
                  <c:v>1720918</c:v>
                </c:pt>
                <c:pt idx="2">
                  <c:v>1829407</c:v>
                </c:pt>
                <c:pt idx="3">
                  <c:v>1499606</c:v>
                </c:pt>
                <c:pt idx="4">
                  <c:v>1609986</c:v>
                </c:pt>
                <c:pt idx="5">
                  <c:v>1383221</c:v>
                </c:pt>
                <c:pt idx="6">
                  <c:v>1746405</c:v>
                </c:pt>
                <c:pt idx="7">
                  <c:v>2195652</c:v>
                </c:pt>
                <c:pt idx="8">
                  <c:v>2046927</c:v>
                </c:pt>
                <c:pt idx="9">
                  <c:v>2306423</c:v>
                </c:pt>
                <c:pt idx="10">
                  <c:v>2611470</c:v>
                </c:pt>
                <c:pt idx="11">
                  <c:v>2363585</c:v>
                </c:pt>
                <c:pt idx="12">
                  <c:v>1949574</c:v>
                </c:pt>
                <c:pt idx="13">
                  <c:v>1620640</c:v>
                </c:pt>
                <c:pt idx="14">
                  <c:v>1876289</c:v>
                </c:pt>
                <c:pt idx="15">
                  <c:v>1636470</c:v>
                </c:pt>
                <c:pt idx="16">
                  <c:v>1812223</c:v>
                </c:pt>
                <c:pt idx="17">
                  <c:v>1379378</c:v>
                </c:pt>
                <c:pt idx="18">
                  <c:v>1479200</c:v>
                </c:pt>
                <c:pt idx="19">
                  <c:v>1713958</c:v>
                </c:pt>
                <c:pt idx="20">
                  <c:v>2218025</c:v>
                </c:pt>
                <c:pt idx="21">
                  <c:v>2243440</c:v>
                </c:pt>
                <c:pt idx="22">
                  <c:v>2389241</c:v>
                </c:pt>
                <c:pt idx="23">
                  <c:v>2606508</c:v>
                </c:pt>
                <c:pt idx="24">
                  <c:v>3367428</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2.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6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2.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2.53</c:v>
                </c:pt>
                <c:pt idx="1">
                  <c:v>2.42</c:v>
                </c:pt>
                <c:pt idx="2">
                  <c:v>2.28</c:v>
                </c:pt>
                <c:pt idx="3">
                  <c:v>2.01</c:v>
                </c:pt>
                <c:pt idx="4">
                  <c:v>2.37</c:v>
                </c:pt>
                <c:pt idx="5">
                  <c:v>2.25</c:v>
                </c:pt>
                <c:pt idx="6">
                  <c:v>2.06</c:v>
                </c:pt>
                <c:pt idx="7">
                  <c:v>2.31</c:v>
                </c:pt>
                <c:pt idx="8">
                  <c:v>2.34</c:v>
                </c:pt>
                <c:pt idx="9">
                  <c:v>2.27</c:v>
                </c:pt>
                <c:pt idx="10">
                  <c:v>2.35</c:v>
                </c:pt>
                <c:pt idx="11">
                  <c:v>2.46</c:v>
                </c:pt>
                <c:pt idx="12">
                  <c:v>2.56</c:v>
                </c:pt>
                <c:pt idx="13">
                  <c:v>2.61</c:v>
                </c:pt>
                <c:pt idx="14">
                  <c:v>2.4</c:v>
                </c:pt>
                <c:pt idx="15">
                  <c:v>2.4</c:v>
                </c:pt>
                <c:pt idx="16">
                  <c:v>2.57</c:v>
                </c:pt>
                <c:pt idx="17">
                  <c:v>2.5</c:v>
                </c:pt>
                <c:pt idx="18">
                  <c:v>2.49</c:v>
                </c:pt>
                <c:pt idx="19">
                  <c:v>2.63</c:v>
                </c:pt>
                <c:pt idx="20">
                  <c:v>2.32</c:v>
                </c:pt>
                <c:pt idx="21">
                  <c:v>2.36</c:v>
                </c:pt>
                <c:pt idx="22">
                  <c:v>2.54</c:v>
                </c:pt>
                <c:pt idx="23">
                  <c:v>2.52</c:v>
                </c:pt>
                <c:pt idx="24">
                  <c:v>2.19</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Flamingo</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3</c:v>
                </c:pt>
                <c:pt idx="2">
                  <c:v>107</c:v>
                </c:pt>
                <c:pt idx="3">
                  <c:v>119</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3</c:v>
                </c:pt>
                <c:pt idx="2">
                  <c:v>105</c:v>
                </c:pt>
                <c:pt idx="3">
                  <c:v>103</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1</c:v>
                </c:pt>
                <c:pt idx="2">
                  <c:v>88</c:v>
                </c:pt>
                <c:pt idx="3">
                  <c:v>84</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7</c:v>
                </c:pt>
                <c:pt idx="2">
                  <c:v>85</c:v>
                </c:pt>
                <c:pt idx="3">
                  <c:v>76</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Quattro</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0</c:v>
                </c:pt>
                <c:pt idx="2">
                  <c:v>76</c:v>
                </c:pt>
                <c:pt idx="3">
                  <c:v>67</c:v>
                </c:pt>
              </c:numCache>
            </c:numRef>
          </c:val>
          <c:smooth val="0"/>
          <c:extLst>
            <c:ext xmlns:c16="http://schemas.microsoft.com/office/drawing/2014/chart" uri="{C3380CC4-5D6E-409C-BE32-E72D297353CC}">
              <c16:uniqueId val="{00000007-0907-1A4C-A11F-73C2425749BA}"/>
            </c:ext>
          </c:extLst>
        </c:ser>
        <c:ser>
          <c:idx val="9"/>
          <c:order val="6"/>
          <c:tx>
            <c:strRef>
              <c:f>Sheet1!$H$1</c:f>
              <c:strCache>
                <c:ptCount val="1"/>
                <c:pt idx="0">
                  <c:v>Skintimate</c:v>
                </c:pt>
              </c:strCache>
            </c:strRef>
          </c:tx>
          <c:spPr>
            <a:ln w="19050" cap="rnd">
              <a:solidFill>
                <a:srgbClr val="E5F4F3"/>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133</c:v>
                </c:pt>
                <c:pt idx="2">
                  <c:v>34</c:v>
                </c:pt>
                <c:pt idx="3">
                  <c:v>2</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59.6"/>
          <c:min val="1.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5</c:v>
                </c:pt>
                <c:pt idx="2">
                  <c:v>108</c:v>
                </c:pt>
                <c:pt idx="3">
                  <c:v>101</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Flamingo</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3</c:v>
                </c:pt>
                <c:pt idx="2">
                  <c:v>100</c:v>
                </c:pt>
                <c:pt idx="3">
                  <c:v>96</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7</c:v>
                </c:pt>
                <c:pt idx="2">
                  <c:v>106</c:v>
                </c:pt>
                <c:pt idx="3">
                  <c:v>103</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4</c:v>
                </c:pt>
                <c:pt idx="2">
                  <c:v>108</c:v>
                </c:pt>
                <c:pt idx="3">
                  <c:v>102</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0</c:v>
                </c:pt>
                <c:pt idx="2">
                  <c:v>110</c:v>
                </c:pt>
                <c:pt idx="3">
                  <c:v>11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Quattro</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1</c:v>
                </c:pt>
                <c:pt idx="2">
                  <c:v>104</c:v>
                </c:pt>
                <c:pt idx="3">
                  <c:v>82</c:v>
                </c:pt>
              </c:numCache>
            </c:numRef>
          </c:val>
          <c:smooth val="0"/>
          <c:extLst>
            <c:ext xmlns:c16="http://schemas.microsoft.com/office/drawing/2014/chart" uri="{C3380CC4-5D6E-409C-BE32-E72D297353CC}">
              <c16:uniqueId val="{00000003-F160-FB4E-B9E2-3D36233077E3}"/>
            </c:ext>
          </c:extLst>
        </c:ser>
        <c:ser>
          <c:idx val="9"/>
          <c:order val="6"/>
          <c:tx>
            <c:strRef>
              <c:f>Sheet1!$H$1</c:f>
              <c:strCache>
                <c:ptCount val="1"/>
                <c:pt idx="0">
                  <c:v>Skintimate</c:v>
                </c:pt>
              </c:strCache>
            </c:strRef>
          </c:tx>
          <c:spPr>
            <a:ln w="19050" cap="rnd">
              <a:solidFill>
                <a:srgbClr val="E5F4F3"/>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102</c:v>
                </c:pt>
                <c:pt idx="2">
                  <c:v>125</c:v>
                </c:pt>
                <c:pt idx="3">
                  <c:v>112</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0.0"/>
          <c:min val="65.6000000000000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Evribeauty</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44</c:v>
                </c:pt>
                <c:pt idx="2">
                  <c:v>36</c:v>
                </c:pt>
                <c:pt idx="3">
                  <c:v>37</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Hydro Silk</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621514</c:v>
                </c:pt>
                <c:pt idx="2">
                  <c:v>996888</c:v>
                </c:pt>
                <c:pt idx="3">
                  <c:v>858488</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Rem P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68</c:v>
                </c:pt>
                <c:pt idx="2">
                  <c:v>62</c:v>
                </c:pt>
                <c:pt idx="3">
                  <c:v>65</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Revlon</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5</c:v>
                </c:pt>
                <c:pt idx="2">
                  <c:v>87</c:v>
                </c:pt>
                <c:pt idx="3">
                  <c:v>106</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Universal Razor</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58</c:v>
                </c:pt>
                <c:pt idx="2">
                  <c:v>162</c:v>
                </c:pt>
                <c:pt idx="3">
                  <c:v>146</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196265.5999999999"/>
          <c:min val="28.8"/>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19</c:v>
                </c:pt>
                <c:pt idx="2">
                  <c:v>127</c:v>
                </c:pt>
                <c:pt idx="3">
                  <c:v>128</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Evribeauty</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4</c:v>
                </c:pt>
                <c:pt idx="2">
                  <c:v>107</c:v>
                </c:pt>
                <c:pt idx="3">
                  <c:v>106</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Hydro Silk</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21</c:v>
                </c:pt>
                <c:pt idx="2">
                  <c:v>122</c:v>
                </c:pt>
                <c:pt idx="3">
                  <c:v>122</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Rem P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2</c:v>
                </c:pt>
                <c:pt idx="2">
                  <c:v>106</c:v>
                </c:pt>
                <c:pt idx="3">
                  <c:v>11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Revlon</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6</c:v>
                </c:pt>
                <c:pt idx="2">
                  <c:v>114</c:v>
                </c:pt>
                <c:pt idx="3">
                  <c:v>12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Universal Razor</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2</c:v>
                </c:pt>
                <c:pt idx="2">
                  <c:v>104</c:v>
                </c:pt>
                <c:pt idx="3">
                  <c:v>102</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3.6"/>
          <c:min val="8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ilky Touch</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84</c:v>
                </c:pt>
                <c:pt idx="2">
                  <c:v>84</c:v>
                </c:pt>
                <c:pt idx="3">
                  <c:v>91</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Bic Solei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9</c:v>
                </c:pt>
                <c:pt idx="2">
                  <c:v>106</c:v>
                </c:pt>
                <c:pt idx="3">
                  <c:v>96</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6</c:v>
                </c:pt>
                <c:pt idx="2">
                  <c:v>108</c:v>
                </c:pt>
                <c:pt idx="3">
                  <c:v>118</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Hydro Silk</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7</c:v>
                </c:pt>
                <c:pt idx="2">
                  <c:v>101</c:v>
                </c:pt>
                <c:pt idx="3">
                  <c:v>51</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Intuition</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44</c:v>
                </c:pt>
                <c:pt idx="2">
                  <c:v>4028493</c:v>
                </c:pt>
                <c:pt idx="3">
                  <c:v>4734502</c:v>
                </c:pt>
              </c:numCache>
            </c:numRef>
          </c:val>
          <c:smooth val="0"/>
          <c:extLst>
            <c:ext xmlns:c16="http://schemas.microsoft.com/office/drawing/2014/chart" uri="{C3380CC4-5D6E-409C-BE32-E72D297353CC}">
              <c16:uniqueId val="{00000007-0907-1A4C-A11F-73C2425749BA}"/>
            </c:ext>
          </c:extLst>
        </c:ser>
        <c:ser>
          <c:idx val="9"/>
          <c:order val="6"/>
          <c:tx>
            <c:strRef>
              <c:f>Sheet1!$H$1</c:f>
              <c:strCache>
                <c:ptCount val="1"/>
                <c:pt idx="0">
                  <c:v>Pbg Pl</c:v>
                </c:pt>
              </c:strCache>
            </c:strRef>
          </c:tx>
          <c:spPr>
            <a:ln w="19050" cap="rnd">
              <a:solidFill>
                <a:srgbClr val="FFFF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105</c:v>
                </c:pt>
                <c:pt idx="2">
                  <c:v>108</c:v>
                </c:pt>
                <c:pt idx="3">
                  <c:v>121</c:v>
                </c:pt>
              </c:numCache>
            </c:numRef>
          </c:val>
          <c:smooth val="0"/>
          <c:extLst>
            <c:ext xmlns:c16="http://schemas.microsoft.com/office/drawing/2014/chart" uri="{C3380CC4-5D6E-409C-BE32-E72D297353CC}">
              <c16:uniqueId val="{00000007-0907-1A4C-A11F-73C2425749BA}"/>
            </c:ext>
          </c:extLst>
        </c:ser>
        <c:ser>
          <c:idx val="10"/>
          <c:order val="7"/>
          <c:tx>
            <c:strRef>
              <c:f>Sheet1!$I$1</c:f>
              <c:strCache>
                <c:ptCount val="1"/>
                <c:pt idx="0">
                  <c:v>Skintimate</c:v>
                </c:pt>
              </c:strCache>
            </c:strRef>
          </c:tx>
          <c:spPr>
            <a:ln w="19050" cap="rnd">
              <a:solidFill>
                <a:srgbClr val="306181"/>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I$2:$I$5</c:f>
              <c:numCache>
                <c:formatCode>General</c:formatCode>
                <c:ptCount val="4"/>
                <c:pt idx="0">
                  <c:v>100</c:v>
                </c:pt>
                <c:pt idx="1">
                  <c:v>66</c:v>
                </c:pt>
                <c:pt idx="2">
                  <c:v>51</c:v>
                </c:pt>
                <c:pt idx="3">
                  <c:v>28</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5681402.399999999"/>
          <c:min val="22.40000000000000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5</c:v>
                </c:pt>
                <c:pt idx="2">
                  <c:v>111</c:v>
                </c:pt>
                <c:pt idx="3">
                  <c:v>10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ilky Touch</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5</c:v>
                </c:pt>
                <c:pt idx="2">
                  <c:v>92</c:v>
                </c:pt>
                <c:pt idx="3">
                  <c:v>9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Bic Solei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1</c:v>
                </c:pt>
                <c:pt idx="2">
                  <c:v>114</c:v>
                </c:pt>
                <c:pt idx="3">
                  <c:v>113</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3</c:v>
                </c:pt>
                <c:pt idx="2">
                  <c:v>92</c:v>
                </c:pt>
                <c:pt idx="3">
                  <c:v>95</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Hydro Silk</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7</c:v>
                </c:pt>
                <c:pt idx="2">
                  <c:v>108</c:v>
                </c:pt>
                <c:pt idx="3">
                  <c:v>105</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Intuition</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8</c:v>
                </c:pt>
                <c:pt idx="2">
                  <c:v>113</c:v>
                </c:pt>
                <c:pt idx="3">
                  <c:v>100</c:v>
                </c:pt>
              </c:numCache>
            </c:numRef>
          </c:val>
          <c:smooth val="0"/>
          <c:extLst>
            <c:ext xmlns:c16="http://schemas.microsoft.com/office/drawing/2014/chart" uri="{C3380CC4-5D6E-409C-BE32-E72D297353CC}">
              <c16:uniqueId val="{00000003-F160-FB4E-B9E2-3D36233077E3}"/>
            </c:ext>
          </c:extLst>
        </c:ser>
        <c:ser>
          <c:idx val="9"/>
          <c:order val="6"/>
          <c:tx>
            <c:strRef>
              <c:f>Sheet1!$H$1</c:f>
              <c:strCache>
                <c:ptCount val="1"/>
                <c:pt idx="0">
                  <c:v>Pbg Pl</c:v>
                </c:pt>
              </c:strCache>
            </c:strRef>
          </c:tx>
          <c:spPr>
            <a:ln w="19050" cap="rnd">
              <a:solidFill>
                <a:srgbClr val="FFFF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110</c:v>
                </c:pt>
                <c:pt idx="2">
                  <c:v>126</c:v>
                </c:pt>
                <c:pt idx="3">
                  <c:v>139</c:v>
                </c:pt>
              </c:numCache>
            </c:numRef>
          </c:val>
          <c:smooth val="0"/>
          <c:extLst>
            <c:ext xmlns:c16="http://schemas.microsoft.com/office/drawing/2014/chart" uri="{C3380CC4-5D6E-409C-BE32-E72D297353CC}">
              <c16:uniqueId val="{00000003-F160-FB4E-B9E2-3D36233077E3}"/>
            </c:ext>
          </c:extLst>
        </c:ser>
        <c:ser>
          <c:idx val="10"/>
          <c:order val="7"/>
          <c:tx>
            <c:strRef>
              <c:f>Sheet1!$I$1</c:f>
              <c:strCache>
                <c:ptCount val="1"/>
                <c:pt idx="0">
                  <c:v>Skintimate</c:v>
                </c:pt>
              </c:strCache>
            </c:strRef>
          </c:tx>
          <c:spPr>
            <a:ln w="19050" cap="rnd">
              <a:solidFill>
                <a:srgbClr val="306181"/>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I$2:$I$5</c:f>
              <c:numCache>
                <c:formatCode>General</c:formatCode>
                <c:ptCount val="4"/>
                <c:pt idx="0">
                  <c:v>100</c:v>
                </c:pt>
                <c:pt idx="1">
                  <c:v>123</c:v>
                </c:pt>
                <c:pt idx="2">
                  <c:v>130</c:v>
                </c:pt>
                <c:pt idx="3">
                  <c:v>132</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66.79999999999998"/>
          <c:min val="72.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Gillette Venu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2</c:v>
                </c:pt>
                <c:pt idx="2">
                  <c:v>95</c:v>
                </c:pt>
                <c:pt idx="3">
                  <c:v>104</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Hydro Silk</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72</c:v>
                </c:pt>
                <c:pt idx="2">
                  <c:v>70</c:v>
                </c:pt>
                <c:pt idx="3">
                  <c:v>55</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Intuition</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6</c:v>
                </c:pt>
                <c:pt idx="2">
                  <c:v>87</c:v>
                </c:pt>
                <c:pt idx="3">
                  <c:v>77</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Joy</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8</c:v>
                </c:pt>
                <c:pt idx="2">
                  <c:v>92</c:v>
                </c:pt>
                <c:pt idx="3">
                  <c:v>9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Pbg Pl</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77</c:v>
                </c:pt>
                <c:pt idx="2">
                  <c:v>80</c:v>
                </c:pt>
                <c:pt idx="3">
                  <c:v>85</c:v>
                </c:pt>
              </c:numCache>
            </c:numRef>
          </c:val>
          <c:smooth val="0"/>
          <c:extLst>
            <c:ext xmlns:c16="http://schemas.microsoft.com/office/drawing/2014/chart" uri="{C3380CC4-5D6E-409C-BE32-E72D297353CC}">
              <c16:uniqueId val="{00000007-0907-1A4C-A11F-73C2425749BA}"/>
            </c:ext>
          </c:extLst>
        </c:ser>
        <c:ser>
          <c:idx val="9"/>
          <c:order val="6"/>
          <c:tx>
            <c:strRef>
              <c:f>Sheet1!$H$1</c:f>
              <c:strCache>
                <c:ptCount val="1"/>
                <c:pt idx="0">
                  <c:v>Skintimate</c:v>
                </c:pt>
              </c:strCache>
            </c:strRef>
          </c:tx>
          <c:spPr>
            <a:ln w="19050" cap="rnd">
              <a:solidFill>
                <a:srgbClr val="E5F4F3"/>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9</c:v>
                </c:pt>
                <c:pt idx="2">
                  <c:v>0</c:v>
                </c:pt>
                <c:pt idx="3">
                  <c:v>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24.8"/>
          <c:min val="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13</c:v>
                </c:pt>
                <c:pt idx="2">
                  <c:v>112</c:v>
                </c:pt>
                <c:pt idx="3">
                  <c:v>114</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Gillette Venu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10</c:v>
                </c:pt>
                <c:pt idx="2">
                  <c:v>109</c:v>
                </c:pt>
                <c:pt idx="3">
                  <c:v>111</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Hydro Silk</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9</c:v>
                </c:pt>
                <c:pt idx="2">
                  <c:v>122</c:v>
                </c:pt>
                <c:pt idx="3">
                  <c:v>129</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Intuition</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12</c:v>
                </c:pt>
                <c:pt idx="2">
                  <c:v>121</c:v>
                </c:pt>
                <c:pt idx="3">
                  <c:v>122</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Joy</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1</c:v>
                </c:pt>
                <c:pt idx="2">
                  <c:v>102</c:v>
                </c:pt>
                <c:pt idx="3">
                  <c:v>10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Pbg Pl</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3</c:v>
                </c:pt>
                <c:pt idx="2">
                  <c:v>93</c:v>
                </c:pt>
                <c:pt idx="3">
                  <c:v>91</c:v>
                </c:pt>
              </c:numCache>
            </c:numRef>
          </c:val>
          <c:smooth val="0"/>
          <c:extLst>
            <c:ext xmlns:c16="http://schemas.microsoft.com/office/drawing/2014/chart" uri="{C3380CC4-5D6E-409C-BE32-E72D297353CC}">
              <c16:uniqueId val="{00000003-F160-FB4E-B9E2-3D36233077E3}"/>
            </c:ext>
          </c:extLst>
        </c:ser>
        <c:ser>
          <c:idx val="9"/>
          <c:order val="6"/>
          <c:tx>
            <c:strRef>
              <c:f>Sheet1!$H$1</c:f>
              <c:strCache>
                <c:ptCount val="1"/>
                <c:pt idx="0">
                  <c:v>Skintimate</c:v>
                </c:pt>
              </c:strCache>
            </c:strRef>
          </c:tx>
          <c:spPr>
            <a:ln w="19050" cap="rnd">
              <a:solidFill>
                <a:srgbClr val="E5F4F3"/>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45</c:v>
                </c:pt>
                <c:pt idx="2">
                  <c:v>95</c:v>
                </c:pt>
                <c:pt idx="3">
                  <c:v>112</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4.79999999999998"/>
          <c:min val="36.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ilky Touch</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5</c:v>
                </c:pt>
                <c:pt idx="2">
                  <c:v>88</c:v>
                </c:pt>
                <c:pt idx="3">
                  <c:v>84</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Bic Solei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4</c:v>
                </c:pt>
                <c:pt idx="2">
                  <c:v>106</c:v>
                </c:pt>
                <c:pt idx="3">
                  <c:v>86</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Daisy</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85</c:v>
                </c:pt>
                <c:pt idx="2">
                  <c:v>72</c:v>
                </c:pt>
                <c:pt idx="3">
                  <c:v>68</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Gillette Venus</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5</c:v>
                </c:pt>
                <c:pt idx="2">
                  <c:v>101</c:v>
                </c:pt>
                <c:pt idx="3">
                  <c:v>109</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Hydro Silk</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4</c:v>
                </c:pt>
                <c:pt idx="2">
                  <c:v>109</c:v>
                </c:pt>
                <c:pt idx="3">
                  <c:v>144</c:v>
                </c:pt>
              </c:numCache>
            </c:numRef>
          </c:val>
          <c:smooth val="0"/>
          <c:extLst>
            <c:ext xmlns:c16="http://schemas.microsoft.com/office/drawing/2014/chart" uri="{C3380CC4-5D6E-409C-BE32-E72D297353CC}">
              <c16:uniqueId val="{00000007-0907-1A4C-A11F-73C2425749BA}"/>
            </c:ext>
          </c:extLst>
        </c:ser>
        <c:ser>
          <c:idx val="9"/>
          <c:order val="6"/>
          <c:tx>
            <c:strRef>
              <c:f>Sheet1!$H$1</c:f>
              <c:strCache>
                <c:ptCount val="1"/>
                <c:pt idx="0">
                  <c:v>Skintimate</c:v>
                </c:pt>
              </c:strCache>
            </c:strRef>
          </c:tx>
          <c:spPr>
            <a:ln w="19050" cap="rnd">
              <a:solidFill>
                <a:srgbClr val="E5F4F3"/>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160</c:v>
                </c:pt>
                <c:pt idx="2">
                  <c:v>164</c:v>
                </c:pt>
                <c:pt idx="3">
                  <c:v>16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96.79999999999998"/>
          <c:min val="54.40000000000000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5</c:v>
                </c:pt>
                <c:pt idx="2">
                  <c:v>113</c:v>
                </c:pt>
                <c:pt idx="3">
                  <c:v>120</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ilky Touch</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16</c:v>
                </c:pt>
                <c:pt idx="2">
                  <c:v>109</c:v>
                </c:pt>
                <c:pt idx="3">
                  <c:v>112</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Bic Solei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0</c:v>
                </c:pt>
                <c:pt idx="2">
                  <c:v>110</c:v>
                </c:pt>
                <c:pt idx="3">
                  <c:v>114</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Daisy</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10</c:v>
                </c:pt>
                <c:pt idx="2">
                  <c:v>117</c:v>
                </c:pt>
                <c:pt idx="3">
                  <c:v>118</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Gillette Venus</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4</c:v>
                </c:pt>
                <c:pt idx="2">
                  <c:v>102</c:v>
                </c:pt>
                <c:pt idx="3">
                  <c:v>102</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Hydro Silk</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7</c:v>
                </c:pt>
                <c:pt idx="2">
                  <c:v>110</c:v>
                </c:pt>
                <c:pt idx="3">
                  <c:v>95</c:v>
                </c:pt>
              </c:numCache>
            </c:numRef>
          </c:val>
          <c:smooth val="0"/>
          <c:extLst>
            <c:ext xmlns:c16="http://schemas.microsoft.com/office/drawing/2014/chart" uri="{C3380CC4-5D6E-409C-BE32-E72D297353CC}">
              <c16:uniqueId val="{00000003-F160-FB4E-B9E2-3D36233077E3}"/>
            </c:ext>
          </c:extLst>
        </c:ser>
        <c:ser>
          <c:idx val="9"/>
          <c:order val="6"/>
          <c:tx>
            <c:strRef>
              <c:f>Sheet1!$H$1</c:f>
              <c:strCache>
                <c:ptCount val="1"/>
                <c:pt idx="0">
                  <c:v>Skintimate</c:v>
                </c:pt>
              </c:strCache>
            </c:strRef>
          </c:tx>
          <c:spPr>
            <a:ln w="19050" cap="rnd">
              <a:solidFill>
                <a:srgbClr val="E5F4F3"/>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100</c:v>
                </c:pt>
                <c:pt idx="2">
                  <c:v>90</c:v>
                </c:pt>
                <c:pt idx="3">
                  <c:v>99</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4.0"/>
          <c:min val="72.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4,874,40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4,404,64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5,072,20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4874403</c:v>
                </c:pt>
                <c:pt idx="1">
                  <c:v>4061632</c:v>
                </c:pt>
                <c:pt idx="2">
                  <c:v>3879358</c:v>
                </c:pt>
                <c:pt idx="3">
                  <c:v>3511292</c:v>
                </c:pt>
                <c:pt idx="4">
                  <c:v>4214885</c:v>
                </c:pt>
                <c:pt idx="5">
                  <c:v>3744206</c:v>
                </c:pt>
                <c:pt idx="6">
                  <c:v>3759512</c:v>
                </c:pt>
                <c:pt idx="7">
                  <c:v>5253636</c:v>
                </c:pt>
                <c:pt idx="8">
                  <c:v>4689123</c:v>
                </c:pt>
                <c:pt idx="9">
                  <c:v>5734254</c:v>
                </c:pt>
                <c:pt idx="10">
                  <c:v>5651768</c:v>
                </c:pt>
                <c:pt idx="11">
                  <c:v>5474492</c:v>
                </c:pt>
                <c:pt idx="12">
                  <c:v>5066269</c:v>
                </c:pt>
                <c:pt idx="13">
                  <c:v>4404649</c:v>
                </c:pt>
                <c:pt idx="14">
                  <c:v>3916131</c:v>
                </c:pt>
                <c:pt idx="15">
                  <c:v>3577715</c:v>
                </c:pt>
                <c:pt idx="16">
                  <c:v>4191728</c:v>
                </c:pt>
                <c:pt idx="17">
                  <c:v>3535059</c:v>
                </c:pt>
                <c:pt idx="18">
                  <c:v>3536179</c:v>
                </c:pt>
                <c:pt idx="19">
                  <c:v>4090033</c:v>
                </c:pt>
                <c:pt idx="20">
                  <c:v>4204209</c:v>
                </c:pt>
                <c:pt idx="21">
                  <c:v>4654757</c:v>
                </c:pt>
                <c:pt idx="22">
                  <c:v>5100493</c:v>
                </c:pt>
                <c:pt idx="23">
                  <c:v>5300795</c:v>
                </c:pt>
                <c:pt idx="24">
                  <c:v>5072208</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5.2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5.6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4.9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5.29</c:v>
                </c:pt>
                <c:pt idx="1">
                  <c:v>5.28</c:v>
                </c:pt>
                <c:pt idx="2">
                  <c:v>5.14</c:v>
                </c:pt>
                <c:pt idx="3">
                  <c:v>5.26</c:v>
                </c:pt>
                <c:pt idx="4">
                  <c:v>5.35</c:v>
                </c:pt>
                <c:pt idx="5">
                  <c:v>5.16</c:v>
                </c:pt>
                <c:pt idx="6">
                  <c:v>5.13</c:v>
                </c:pt>
                <c:pt idx="7">
                  <c:v>5.45</c:v>
                </c:pt>
                <c:pt idx="8">
                  <c:v>5.43</c:v>
                </c:pt>
                <c:pt idx="9">
                  <c:v>5.5</c:v>
                </c:pt>
                <c:pt idx="10">
                  <c:v>5.37</c:v>
                </c:pt>
                <c:pt idx="11">
                  <c:v>5.52</c:v>
                </c:pt>
                <c:pt idx="12">
                  <c:v>5.36</c:v>
                </c:pt>
                <c:pt idx="13">
                  <c:v>5.61</c:v>
                </c:pt>
                <c:pt idx="14">
                  <c:v>5.35</c:v>
                </c:pt>
                <c:pt idx="15">
                  <c:v>5.38</c:v>
                </c:pt>
                <c:pt idx="16">
                  <c:v>5.33</c:v>
                </c:pt>
                <c:pt idx="17">
                  <c:v>5.37</c:v>
                </c:pt>
                <c:pt idx="18">
                  <c:v>5.14</c:v>
                </c:pt>
                <c:pt idx="19">
                  <c:v>5.12</c:v>
                </c:pt>
                <c:pt idx="20">
                  <c:v>5.08</c:v>
                </c:pt>
                <c:pt idx="21">
                  <c:v>4.92</c:v>
                </c:pt>
                <c:pt idx="22">
                  <c:v>4.97</c:v>
                </c:pt>
                <c:pt idx="23">
                  <c:v>5.05</c:v>
                </c:pt>
                <c:pt idx="24">
                  <c:v>4.94</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Amazon</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69</c:v>
                </c:pt>
                <c:pt idx="2">
                  <c:v>194</c:v>
                </c:pt>
                <c:pt idx="3">
                  <c:v>176</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3</c:v>
                </c:pt>
                <c:pt idx="2">
                  <c:v>89</c:v>
                </c:pt>
                <c:pt idx="3">
                  <c:v>86</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22</c:v>
                </c:pt>
                <c:pt idx="2">
                  <c:v>128</c:v>
                </c:pt>
                <c:pt idx="3">
                  <c:v>123</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86</c:v>
                </c:pt>
                <c:pt idx="2">
                  <c:v>61</c:v>
                </c:pt>
                <c:pt idx="3">
                  <c:v>55</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Quattro</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4</c:v>
                </c:pt>
                <c:pt idx="2">
                  <c:v>80</c:v>
                </c:pt>
                <c:pt idx="3">
                  <c:v>56</c:v>
                </c:pt>
              </c:numCache>
            </c:numRef>
          </c:val>
          <c:smooth val="0"/>
          <c:extLst>
            <c:ext xmlns:c16="http://schemas.microsoft.com/office/drawing/2014/chart" uri="{C3380CC4-5D6E-409C-BE32-E72D297353CC}">
              <c16:uniqueId val="{00000007-0907-1A4C-A11F-73C2425749BA}"/>
            </c:ext>
          </c:extLst>
        </c:ser>
        <c:ser>
          <c:idx val="9"/>
          <c:order val="6"/>
          <c:tx>
            <c:strRef>
              <c:f>Sheet1!$H$1</c:f>
              <c:strCache>
                <c:ptCount val="1"/>
                <c:pt idx="0">
                  <c:v>Skintimate</c:v>
                </c:pt>
              </c:strCache>
            </c:strRef>
          </c:tx>
          <c:spPr>
            <a:ln w="19050" cap="rnd">
              <a:solidFill>
                <a:srgbClr val="E5F4F3"/>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143</c:v>
                </c:pt>
                <c:pt idx="2">
                  <c:v>127</c:v>
                </c:pt>
                <c:pt idx="3">
                  <c:v>2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232.79999999999998"/>
          <c:min val="16.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99</c:v>
                </c:pt>
                <c:pt idx="2">
                  <c:v>95</c:v>
                </c:pt>
                <c:pt idx="3">
                  <c:v>90</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Amazon</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8</c:v>
                </c:pt>
                <c:pt idx="2">
                  <c:v>106</c:v>
                </c:pt>
                <c:pt idx="3">
                  <c:v>103</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6</c:v>
                </c:pt>
                <c:pt idx="2">
                  <c:v>112</c:v>
                </c:pt>
                <c:pt idx="3">
                  <c:v>113</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11</c:v>
                </c:pt>
                <c:pt idx="2">
                  <c:v>117</c:v>
                </c:pt>
                <c:pt idx="3">
                  <c:v>117</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9</c:v>
                </c:pt>
                <c:pt idx="2">
                  <c:v>108</c:v>
                </c:pt>
                <c:pt idx="3">
                  <c:v>101</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Quattro</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12</c:v>
                </c:pt>
                <c:pt idx="2">
                  <c:v>123</c:v>
                </c:pt>
                <c:pt idx="3">
                  <c:v>106</c:v>
                </c:pt>
              </c:numCache>
            </c:numRef>
          </c:val>
          <c:smooth val="0"/>
          <c:extLst>
            <c:ext xmlns:c16="http://schemas.microsoft.com/office/drawing/2014/chart" uri="{C3380CC4-5D6E-409C-BE32-E72D297353CC}">
              <c16:uniqueId val="{00000003-F160-FB4E-B9E2-3D36233077E3}"/>
            </c:ext>
          </c:extLst>
        </c:ser>
        <c:ser>
          <c:idx val="9"/>
          <c:order val="6"/>
          <c:tx>
            <c:strRef>
              <c:f>Sheet1!$H$1</c:f>
              <c:strCache>
                <c:ptCount val="1"/>
                <c:pt idx="0">
                  <c:v>Skintimate</c:v>
                </c:pt>
              </c:strCache>
            </c:strRef>
          </c:tx>
          <c:spPr>
            <a:ln w="19050" cap="rnd">
              <a:solidFill>
                <a:srgbClr val="E5F4F3"/>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75</c:v>
                </c:pt>
                <c:pt idx="2">
                  <c:v>74</c:v>
                </c:pt>
                <c:pt idx="3">
                  <c:v>81</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7.6"/>
          <c:min val="59.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Clio</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19</c:v>
                </c:pt>
                <c:pt idx="2">
                  <c:v>159</c:v>
                </c:pt>
                <c:pt idx="3">
                  <c:v>133</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Finishing Touch Flawles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67</c:v>
                </c:pt>
                <c:pt idx="2">
                  <c:v>14</c:v>
                </c:pt>
                <c:pt idx="3">
                  <c:v>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90</c:v>
                </c:pt>
                <c:pt idx="2">
                  <c:v>192</c:v>
                </c:pt>
                <c:pt idx="3">
                  <c:v>146</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Revlon</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78</c:v>
                </c:pt>
                <c:pt idx="2">
                  <c:v>132</c:v>
                </c:pt>
                <c:pt idx="3">
                  <c:v>68</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Universal Razor</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70</c:v>
                </c:pt>
                <c:pt idx="2">
                  <c:v>64</c:v>
                </c:pt>
                <c:pt idx="3">
                  <c:v>6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230.39999999999998"/>
          <c:min val="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8</c:v>
                </c:pt>
                <c:pt idx="2">
                  <c:v>106</c:v>
                </c:pt>
                <c:pt idx="3">
                  <c:v>112</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Clio</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9</c:v>
                </c:pt>
                <c:pt idx="2">
                  <c:v>91</c:v>
                </c:pt>
                <c:pt idx="3">
                  <c:v>102</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Finishing Touch Flawles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0</c:v>
                </c:pt>
                <c:pt idx="2">
                  <c:v>132</c:v>
                </c:pt>
                <c:pt idx="3">
                  <c:v>147</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22</c:v>
                </c:pt>
                <c:pt idx="2">
                  <c:v>129</c:v>
                </c:pt>
                <c:pt idx="3">
                  <c:v>131</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Revlon</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3</c:v>
                </c:pt>
                <c:pt idx="2">
                  <c:v>96</c:v>
                </c:pt>
                <c:pt idx="3">
                  <c:v>87</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Universal Razor</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6</c:v>
                </c:pt>
                <c:pt idx="2">
                  <c:v>102</c:v>
                </c:pt>
                <c:pt idx="3">
                  <c:v>108</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76.4"/>
          <c:min val="69.6000000000000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Daisy</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82</c:v>
                </c:pt>
                <c:pt idx="2">
                  <c:v>78</c:v>
                </c:pt>
                <c:pt idx="3">
                  <c:v>67</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23</c:v>
                </c:pt>
                <c:pt idx="2">
                  <c:v>118</c:v>
                </c:pt>
                <c:pt idx="3">
                  <c:v>139</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18</c:v>
                </c:pt>
                <c:pt idx="2">
                  <c:v>137</c:v>
                </c:pt>
                <c:pt idx="3">
                  <c:v>135</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34</c:v>
                </c:pt>
                <c:pt idx="2">
                  <c:v>19863</c:v>
                </c:pt>
                <c:pt idx="3">
                  <c:v>22986</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69</c:v>
                </c:pt>
                <c:pt idx="2">
                  <c:v>69</c:v>
                </c:pt>
                <c:pt idx="3">
                  <c:v>42</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27583.2"/>
          <c:min val="27.200000000000003"/>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8</c:v>
                </c:pt>
                <c:pt idx="2">
                  <c:v>111</c:v>
                </c:pt>
                <c:pt idx="3">
                  <c:v>113</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Daisy</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0</c:v>
                </c:pt>
                <c:pt idx="2">
                  <c:v>86</c:v>
                </c:pt>
                <c:pt idx="3">
                  <c:v>92</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9</c:v>
                </c:pt>
                <c:pt idx="2">
                  <c:v>99</c:v>
                </c:pt>
                <c:pt idx="3">
                  <c:v>93</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3</c:v>
                </c:pt>
                <c:pt idx="2">
                  <c:v>86</c:v>
                </c:pt>
                <c:pt idx="3">
                  <c:v>8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9</c:v>
                </c:pt>
                <c:pt idx="2">
                  <c:v>110</c:v>
                </c:pt>
                <c:pt idx="3">
                  <c:v>112</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9</c:v>
                </c:pt>
                <c:pt idx="2">
                  <c:v>116</c:v>
                </c:pt>
                <c:pt idx="3">
                  <c:v>118</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1.6"/>
          <c:min val="64.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Flamingo</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3</c:v>
                </c:pt>
                <c:pt idx="2">
                  <c:v>107</c:v>
                </c:pt>
                <c:pt idx="3">
                  <c:v>119</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3</c:v>
                </c:pt>
                <c:pt idx="2">
                  <c:v>105</c:v>
                </c:pt>
                <c:pt idx="3">
                  <c:v>103</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1</c:v>
                </c:pt>
                <c:pt idx="2">
                  <c:v>88</c:v>
                </c:pt>
                <c:pt idx="3">
                  <c:v>84</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7</c:v>
                </c:pt>
                <c:pt idx="2">
                  <c:v>85</c:v>
                </c:pt>
                <c:pt idx="3">
                  <c:v>76</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Quattro</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0</c:v>
                </c:pt>
                <c:pt idx="2">
                  <c:v>76</c:v>
                </c:pt>
                <c:pt idx="3">
                  <c:v>67</c:v>
                </c:pt>
              </c:numCache>
            </c:numRef>
          </c:val>
          <c:smooth val="0"/>
          <c:extLst>
            <c:ext xmlns:c16="http://schemas.microsoft.com/office/drawing/2014/chart" uri="{C3380CC4-5D6E-409C-BE32-E72D297353CC}">
              <c16:uniqueId val="{00000007-0907-1A4C-A11F-73C2425749BA}"/>
            </c:ext>
          </c:extLst>
        </c:ser>
        <c:ser>
          <c:idx val="9"/>
          <c:order val="6"/>
          <c:tx>
            <c:strRef>
              <c:f>Sheet1!$H$1</c:f>
              <c:strCache>
                <c:ptCount val="1"/>
                <c:pt idx="0">
                  <c:v>Skintimate</c:v>
                </c:pt>
              </c:strCache>
            </c:strRef>
          </c:tx>
          <c:spPr>
            <a:ln w="19050" cap="rnd">
              <a:solidFill>
                <a:srgbClr val="E5F4F3"/>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133</c:v>
                </c:pt>
                <c:pt idx="2">
                  <c:v>34</c:v>
                </c:pt>
                <c:pt idx="3">
                  <c:v>2</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59.6"/>
          <c:min val="1.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5</c:v>
                </c:pt>
                <c:pt idx="2">
                  <c:v>108</c:v>
                </c:pt>
                <c:pt idx="3">
                  <c:v>101</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Flamingo</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3</c:v>
                </c:pt>
                <c:pt idx="2">
                  <c:v>100</c:v>
                </c:pt>
                <c:pt idx="3">
                  <c:v>96</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7</c:v>
                </c:pt>
                <c:pt idx="2">
                  <c:v>106</c:v>
                </c:pt>
                <c:pt idx="3">
                  <c:v>103</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4</c:v>
                </c:pt>
                <c:pt idx="2">
                  <c:v>108</c:v>
                </c:pt>
                <c:pt idx="3">
                  <c:v>102</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0</c:v>
                </c:pt>
                <c:pt idx="2">
                  <c:v>110</c:v>
                </c:pt>
                <c:pt idx="3">
                  <c:v>11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Quattro</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1</c:v>
                </c:pt>
                <c:pt idx="2">
                  <c:v>104</c:v>
                </c:pt>
                <c:pt idx="3">
                  <c:v>82</c:v>
                </c:pt>
              </c:numCache>
            </c:numRef>
          </c:val>
          <c:smooth val="0"/>
          <c:extLst>
            <c:ext xmlns:c16="http://schemas.microsoft.com/office/drawing/2014/chart" uri="{C3380CC4-5D6E-409C-BE32-E72D297353CC}">
              <c16:uniqueId val="{00000003-F160-FB4E-B9E2-3D36233077E3}"/>
            </c:ext>
          </c:extLst>
        </c:ser>
        <c:ser>
          <c:idx val="9"/>
          <c:order val="6"/>
          <c:tx>
            <c:strRef>
              <c:f>Sheet1!$H$1</c:f>
              <c:strCache>
                <c:ptCount val="1"/>
                <c:pt idx="0">
                  <c:v>Skintimate</c:v>
                </c:pt>
              </c:strCache>
            </c:strRef>
          </c:tx>
          <c:spPr>
            <a:ln w="19050" cap="rnd">
              <a:solidFill>
                <a:srgbClr val="E5F4F3"/>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102</c:v>
                </c:pt>
                <c:pt idx="2">
                  <c:v>125</c:v>
                </c:pt>
                <c:pt idx="3">
                  <c:v>112</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0.0"/>
          <c:min val="65.6000000000000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Evribeauty</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37</c:v>
                </c:pt>
                <c:pt idx="2">
                  <c:v>36</c:v>
                </c:pt>
                <c:pt idx="3">
                  <c:v>39</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Hydro Silk</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485239</c:v>
                </c:pt>
                <c:pt idx="2">
                  <c:v>816660</c:v>
                </c:pt>
                <c:pt idx="3">
                  <c:v>685733</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Rem P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68</c:v>
                </c:pt>
                <c:pt idx="2">
                  <c:v>62</c:v>
                </c:pt>
                <c:pt idx="3">
                  <c:v>63</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Universal Prods Mktg</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23</c:v>
                </c:pt>
                <c:pt idx="2">
                  <c:v>54</c:v>
                </c:pt>
                <c:pt idx="3">
                  <c:v>55</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Universal Razor</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262</c:v>
                </c:pt>
                <c:pt idx="2">
                  <c:v>261</c:v>
                </c:pt>
                <c:pt idx="3">
                  <c:v>215</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979992.0"/>
          <c:min val="28.8"/>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21</c:v>
                </c:pt>
                <c:pt idx="2">
                  <c:v>128</c:v>
                </c:pt>
                <c:pt idx="3">
                  <c:v>12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Evribeauty</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4</c:v>
                </c:pt>
                <c:pt idx="2">
                  <c:v>106</c:v>
                </c:pt>
                <c:pt idx="3">
                  <c:v>107</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Hydro Silk</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0</c:v>
                </c:pt>
                <c:pt idx="2">
                  <c:v>111</c:v>
                </c:pt>
                <c:pt idx="3">
                  <c:v>11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Rem P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2</c:v>
                </c:pt>
                <c:pt idx="2">
                  <c:v>106</c:v>
                </c:pt>
                <c:pt idx="3">
                  <c:v>109</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Universal Prods Mktg</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Universal Razor</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2</c:v>
                </c:pt>
                <c:pt idx="2">
                  <c:v>103</c:v>
                </c:pt>
                <c:pt idx="3">
                  <c:v>102</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4.79999999999998"/>
          <c:min val="8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304,84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302,18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308,45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304849</c:v>
                </c:pt>
                <c:pt idx="1">
                  <c:v>263731</c:v>
                </c:pt>
                <c:pt idx="2">
                  <c:v>259921</c:v>
                </c:pt>
                <c:pt idx="3">
                  <c:v>261831</c:v>
                </c:pt>
                <c:pt idx="4">
                  <c:v>320738</c:v>
                </c:pt>
                <c:pt idx="5">
                  <c:v>274227</c:v>
                </c:pt>
                <c:pt idx="6">
                  <c:v>258633</c:v>
                </c:pt>
                <c:pt idx="7">
                  <c:v>312597</c:v>
                </c:pt>
                <c:pt idx="8">
                  <c:v>299619</c:v>
                </c:pt>
                <c:pt idx="9">
                  <c:v>289852</c:v>
                </c:pt>
                <c:pt idx="10">
                  <c:v>294369</c:v>
                </c:pt>
                <c:pt idx="11">
                  <c:v>314433</c:v>
                </c:pt>
                <c:pt idx="12">
                  <c:v>335032</c:v>
                </c:pt>
                <c:pt idx="13">
                  <c:v>302186</c:v>
                </c:pt>
                <c:pt idx="14">
                  <c:v>311273</c:v>
                </c:pt>
                <c:pt idx="15">
                  <c:v>288822</c:v>
                </c:pt>
                <c:pt idx="16">
                  <c:v>325445</c:v>
                </c:pt>
                <c:pt idx="17">
                  <c:v>285805</c:v>
                </c:pt>
                <c:pt idx="18">
                  <c:v>275569</c:v>
                </c:pt>
                <c:pt idx="19">
                  <c:v>291639</c:v>
                </c:pt>
                <c:pt idx="20">
                  <c:v>278573</c:v>
                </c:pt>
                <c:pt idx="21">
                  <c:v>295122</c:v>
                </c:pt>
                <c:pt idx="22">
                  <c:v>293219</c:v>
                </c:pt>
                <c:pt idx="23">
                  <c:v>305647</c:v>
                </c:pt>
                <c:pt idx="24">
                  <c:v>308458</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1.4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1.45</c:v>
                </c:pt>
                <c:pt idx="1">
                  <c:v>1.44</c:v>
                </c:pt>
                <c:pt idx="2">
                  <c:v>1.43</c:v>
                </c:pt>
                <c:pt idx="3">
                  <c:v>1.43</c:v>
                </c:pt>
                <c:pt idx="4">
                  <c:v>1.45</c:v>
                </c:pt>
                <c:pt idx="5">
                  <c:v>1.42</c:v>
                </c:pt>
                <c:pt idx="6">
                  <c:v>1.48</c:v>
                </c:pt>
                <c:pt idx="7">
                  <c:v>1.52</c:v>
                </c:pt>
                <c:pt idx="8">
                  <c:v>1.54</c:v>
                </c:pt>
                <c:pt idx="9">
                  <c:v>1.51</c:v>
                </c:pt>
                <c:pt idx="10">
                  <c:v>1.51</c:v>
                </c:pt>
                <c:pt idx="11">
                  <c:v>1.49</c:v>
                </c:pt>
                <c:pt idx="12">
                  <c:v>1.52</c:v>
                </c:pt>
                <c:pt idx="13">
                  <c:v>1.51</c:v>
                </c:pt>
                <c:pt idx="14">
                  <c:v>1.51</c:v>
                </c:pt>
                <c:pt idx="15">
                  <c:v>1.53</c:v>
                </c:pt>
                <c:pt idx="16">
                  <c:v>1.5</c:v>
                </c:pt>
                <c:pt idx="17">
                  <c:v>1.47</c:v>
                </c:pt>
                <c:pt idx="18">
                  <c:v>1.48</c:v>
                </c:pt>
                <c:pt idx="19">
                  <c:v>1.5</c:v>
                </c:pt>
                <c:pt idx="20">
                  <c:v>1.51</c:v>
                </c:pt>
                <c:pt idx="21">
                  <c:v>1.53</c:v>
                </c:pt>
                <c:pt idx="22">
                  <c:v>1.55</c:v>
                </c:pt>
                <c:pt idx="23">
                  <c:v>1.54</c:v>
                </c:pt>
                <c:pt idx="24">
                  <c:v>1.51</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ilky Touch</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83</c:v>
                </c:pt>
                <c:pt idx="2">
                  <c:v>81</c:v>
                </c:pt>
                <c:pt idx="3">
                  <c:v>9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Bic Solei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8</c:v>
                </c:pt>
                <c:pt idx="2">
                  <c:v>104</c:v>
                </c:pt>
                <c:pt idx="3">
                  <c:v>92</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9</c:v>
                </c:pt>
                <c:pt idx="2">
                  <c:v>110</c:v>
                </c:pt>
                <c:pt idx="3">
                  <c:v>119</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Hydro Silk</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1</c:v>
                </c:pt>
                <c:pt idx="2">
                  <c:v>97</c:v>
                </c:pt>
                <c:pt idx="3">
                  <c:v>44</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Pbg Pl</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5</c:v>
                </c:pt>
                <c:pt idx="2">
                  <c:v>112</c:v>
                </c:pt>
                <c:pt idx="3">
                  <c:v>124</c:v>
                </c:pt>
              </c:numCache>
            </c:numRef>
          </c:val>
          <c:smooth val="0"/>
          <c:extLst>
            <c:ext xmlns:c16="http://schemas.microsoft.com/office/drawing/2014/chart" uri="{C3380CC4-5D6E-409C-BE32-E72D297353CC}">
              <c16:uniqueId val="{00000007-0907-1A4C-A11F-73C2425749BA}"/>
            </c:ext>
          </c:extLst>
        </c:ser>
        <c:ser>
          <c:idx val="9"/>
          <c:order val="6"/>
          <c:tx>
            <c:strRef>
              <c:f>Sheet1!$H$1</c:f>
              <c:strCache>
                <c:ptCount val="1"/>
                <c:pt idx="0">
                  <c:v>Skintimate</c:v>
                </c:pt>
              </c:strCache>
            </c:strRef>
          </c:tx>
          <c:spPr>
            <a:ln w="19050" cap="rnd">
              <a:solidFill>
                <a:srgbClr val="E5F4F3"/>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61</c:v>
                </c:pt>
                <c:pt idx="2">
                  <c:v>48</c:v>
                </c:pt>
                <c:pt idx="3">
                  <c:v>2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48.79999999999998"/>
          <c:min val="21.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6</c:v>
                </c:pt>
                <c:pt idx="2">
                  <c:v>111</c:v>
                </c:pt>
                <c:pt idx="3">
                  <c:v>108</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ilky Touch</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5</c:v>
                </c:pt>
                <c:pt idx="2">
                  <c:v>92</c:v>
                </c:pt>
                <c:pt idx="3">
                  <c:v>9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Bic Solei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2</c:v>
                </c:pt>
                <c:pt idx="2">
                  <c:v>113</c:v>
                </c:pt>
                <c:pt idx="3">
                  <c:v>113</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1</c:v>
                </c:pt>
                <c:pt idx="2">
                  <c:v>91</c:v>
                </c:pt>
                <c:pt idx="3">
                  <c:v>92</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Hydro Silk</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6</c:v>
                </c:pt>
                <c:pt idx="2">
                  <c:v>108</c:v>
                </c:pt>
                <c:pt idx="3">
                  <c:v>104</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Pbg Pl</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11</c:v>
                </c:pt>
                <c:pt idx="2">
                  <c:v>127</c:v>
                </c:pt>
                <c:pt idx="3">
                  <c:v>142</c:v>
                </c:pt>
              </c:numCache>
            </c:numRef>
          </c:val>
          <c:smooth val="0"/>
          <c:extLst>
            <c:ext xmlns:c16="http://schemas.microsoft.com/office/drawing/2014/chart" uri="{C3380CC4-5D6E-409C-BE32-E72D297353CC}">
              <c16:uniqueId val="{00000003-F160-FB4E-B9E2-3D36233077E3}"/>
            </c:ext>
          </c:extLst>
        </c:ser>
        <c:ser>
          <c:idx val="9"/>
          <c:order val="6"/>
          <c:tx>
            <c:strRef>
              <c:f>Sheet1!$H$1</c:f>
              <c:strCache>
                <c:ptCount val="1"/>
                <c:pt idx="0">
                  <c:v>Skintimate</c:v>
                </c:pt>
              </c:strCache>
            </c:strRef>
          </c:tx>
          <c:spPr>
            <a:ln w="19050" cap="rnd">
              <a:solidFill>
                <a:srgbClr val="E5F4F3"/>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125</c:v>
                </c:pt>
                <c:pt idx="2">
                  <c:v>134</c:v>
                </c:pt>
                <c:pt idx="3">
                  <c:v>133</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70.4"/>
          <c:min val="72.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Gillette Venu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4</c:v>
                </c:pt>
                <c:pt idx="2">
                  <c:v>99</c:v>
                </c:pt>
                <c:pt idx="3">
                  <c:v>11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Hydro Silk</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73</c:v>
                </c:pt>
                <c:pt idx="2">
                  <c:v>74</c:v>
                </c:pt>
                <c:pt idx="3">
                  <c:v>55</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Intuition</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2</c:v>
                </c:pt>
                <c:pt idx="2">
                  <c:v>86</c:v>
                </c:pt>
                <c:pt idx="3">
                  <c:v>77</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Joy</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2</c:v>
                </c:pt>
                <c:pt idx="2">
                  <c:v>97</c:v>
                </c:pt>
                <c:pt idx="3">
                  <c:v>97</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Pbg Pl</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3</c:v>
                </c:pt>
                <c:pt idx="2">
                  <c:v>97</c:v>
                </c:pt>
                <c:pt idx="3">
                  <c:v>103</c:v>
                </c:pt>
              </c:numCache>
            </c:numRef>
          </c:val>
          <c:smooth val="0"/>
          <c:extLst>
            <c:ext xmlns:c16="http://schemas.microsoft.com/office/drawing/2014/chart" uri="{C3380CC4-5D6E-409C-BE32-E72D297353CC}">
              <c16:uniqueId val="{00000007-0907-1A4C-A11F-73C2425749BA}"/>
            </c:ext>
          </c:extLst>
        </c:ser>
        <c:ser>
          <c:idx val="9"/>
          <c:order val="6"/>
          <c:tx>
            <c:strRef>
              <c:f>Sheet1!$H$1</c:f>
              <c:strCache>
                <c:ptCount val="1"/>
                <c:pt idx="0">
                  <c:v>Skintimate</c:v>
                </c:pt>
              </c:strCache>
            </c:strRef>
          </c:tx>
          <c:spPr>
            <a:ln w="19050" cap="rnd">
              <a:solidFill>
                <a:srgbClr val="E5F4F3"/>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5</c:v>
                </c:pt>
                <c:pt idx="2">
                  <c:v>0</c:v>
                </c:pt>
                <c:pt idx="3">
                  <c:v>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32.0"/>
          <c:min val="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13</c:v>
                </c:pt>
                <c:pt idx="2">
                  <c:v>114</c:v>
                </c:pt>
                <c:pt idx="3">
                  <c:v>116</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Gillette Venu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10</c:v>
                </c:pt>
                <c:pt idx="2">
                  <c:v>110</c:v>
                </c:pt>
                <c:pt idx="3">
                  <c:v>111</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Hydro Silk</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2</c:v>
                </c:pt>
                <c:pt idx="2">
                  <c:v>127</c:v>
                </c:pt>
                <c:pt idx="3">
                  <c:v>135</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Intuition</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11</c:v>
                </c:pt>
                <c:pt idx="2">
                  <c:v>121</c:v>
                </c:pt>
                <c:pt idx="3">
                  <c:v>121</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Joy</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0</c:v>
                </c:pt>
                <c:pt idx="2">
                  <c:v>102</c:v>
                </c:pt>
                <c:pt idx="3">
                  <c:v>99</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Pbg Pl</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6</c:v>
                </c:pt>
                <c:pt idx="2">
                  <c:v>96</c:v>
                </c:pt>
                <c:pt idx="3">
                  <c:v>94</c:v>
                </c:pt>
              </c:numCache>
            </c:numRef>
          </c:val>
          <c:smooth val="0"/>
          <c:extLst>
            <c:ext xmlns:c16="http://schemas.microsoft.com/office/drawing/2014/chart" uri="{C3380CC4-5D6E-409C-BE32-E72D297353CC}">
              <c16:uniqueId val="{00000003-F160-FB4E-B9E2-3D36233077E3}"/>
            </c:ext>
          </c:extLst>
        </c:ser>
        <c:ser>
          <c:idx val="9"/>
          <c:order val="6"/>
          <c:tx>
            <c:strRef>
              <c:f>Sheet1!$H$1</c:f>
              <c:strCache>
                <c:ptCount val="1"/>
                <c:pt idx="0">
                  <c:v>Skintimate</c:v>
                </c:pt>
              </c:strCache>
            </c:strRef>
          </c:tx>
          <c:spPr>
            <a:ln w="19050" cap="rnd">
              <a:solidFill>
                <a:srgbClr val="E5F4F3"/>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40</c:v>
                </c:pt>
                <c:pt idx="2">
                  <c:v>110</c:v>
                </c:pt>
                <c:pt idx="3">
                  <c:v>128</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62.0"/>
          <c:min val="32.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Evribeauty</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46</c:v>
                </c:pt>
                <c:pt idx="2">
                  <c:v>48</c:v>
                </c:pt>
                <c:pt idx="3">
                  <c:v>45</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Rem P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70</c:v>
                </c:pt>
                <c:pt idx="2">
                  <c:v>57</c:v>
                </c:pt>
                <c:pt idx="3">
                  <c:v>53</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Revlon</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16</c:v>
                </c:pt>
                <c:pt idx="2">
                  <c:v>124</c:v>
                </c:pt>
                <c:pt idx="3">
                  <c:v>146</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Universal Prods Mktg</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70</c:v>
                </c:pt>
                <c:pt idx="2">
                  <c:v>23</c:v>
                </c:pt>
                <c:pt idx="3">
                  <c:v>1</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Universal Razor</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2081</c:v>
                </c:pt>
                <c:pt idx="2">
                  <c:v>1956</c:v>
                </c:pt>
                <c:pt idx="3">
                  <c:v>202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2497.2"/>
          <c:min val="0.8"/>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26</c:v>
                </c:pt>
                <c:pt idx="2">
                  <c:v>133</c:v>
                </c:pt>
                <c:pt idx="3">
                  <c:v>133</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Evribeauty</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4</c:v>
                </c:pt>
                <c:pt idx="2">
                  <c:v>107</c:v>
                </c:pt>
                <c:pt idx="3">
                  <c:v>99</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Rem P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2</c:v>
                </c:pt>
                <c:pt idx="2">
                  <c:v>102</c:v>
                </c:pt>
                <c:pt idx="3">
                  <c:v>102</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Revlon</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6</c:v>
                </c:pt>
                <c:pt idx="2">
                  <c:v>114</c:v>
                </c:pt>
                <c:pt idx="3">
                  <c:v>12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Universal Prods Mktg</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0</c:v>
                </c:pt>
                <c:pt idx="2">
                  <c:v>97</c:v>
                </c:pt>
                <c:pt idx="3">
                  <c:v>91</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Universal Razor</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4</c:v>
                </c:pt>
                <c:pt idx="2">
                  <c:v>104</c:v>
                </c:pt>
                <c:pt idx="3">
                  <c:v>105</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9.6"/>
          <c:min val="72.8"/>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ilky Touch</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81</c:v>
                </c:pt>
                <c:pt idx="2">
                  <c:v>80</c:v>
                </c:pt>
                <c:pt idx="3">
                  <c:v>84</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Bic Solei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2</c:v>
                </c:pt>
                <c:pt idx="2">
                  <c:v>107</c:v>
                </c:pt>
                <c:pt idx="3">
                  <c:v>106</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1</c:v>
                </c:pt>
                <c:pt idx="2">
                  <c:v>104</c:v>
                </c:pt>
                <c:pt idx="3">
                  <c:v>109</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Hydro Silk</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80</c:v>
                </c:pt>
                <c:pt idx="2">
                  <c:v>68</c:v>
                </c:pt>
                <c:pt idx="3">
                  <c:v>52</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Pbg Pl</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2</c:v>
                </c:pt>
                <c:pt idx="2">
                  <c:v>106</c:v>
                </c:pt>
                <c:pt idx="3">
                  <c:v>108</c:v>
                </c:pt>
              </c:numCache>
            </c:numRef>
          </c:val>
          <c:smooth val="0"/>
          <c:extLst>
            <c:ext xmlns:c16="http://schemas.microsoft.com/office/drawing/2014/chart" uri="{C3380CC4-5D6E-409C-BE32-E72D297353CC}">
              <c16:uniqueId val="{00000007-0907-1A4C-A11F-73C2425749BA}"/>
            </c:ext>
          </c:extLst>
        </c:ser>
        <c:ser>
          <c:idx val="9"/>
          <c:order val="6"/>
          <c:tx>
            <c:strRef>
              <c:f>Sheet1!$H$1</c:f>
              <c:strCache>
                <c:ptCount val="1"/>
                <c:pt idx="0">
                  <c:v>Skintimate</c:v>
                </c:pt>
              </c:strCache>
            </c:strRef>
          </c:tx>
          <c:spPr>
            <a:ln w="19050" cap="rnd">
              <a:solidFill>
                <a:srgbClr val="E5F4F3"/>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94</c:v>
                </c:pt>
                <c:pt idx="2">
                  <c:v>91</c:v>
                </c:pt>
                <c:pt idx="3">
                  <c:v>6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34.4"/>
          <c:min val="41.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6</c:v>
                </c:pt>
                <c:pt idx="2">
                  <c:v>109</c:v>
                </c:pt>
                <c:pt idx="3">
                  <c:v>10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ilky Touch</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3</c:v>
                </c:pt>
                <c:pt idx="2">
                  <c:v>91</c:v>
                </c:pt>
                <c:pt idx="3">
                  <c:v>89</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Bic Solei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7</c:v>
                </c:pt>
                <c:pt idx="2">
                  <c:v>105</c:v>
                </c:pt>
                <c:pt idx="3">
                  <c:v>106</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1</c:v>
                </c:pt>
                <c:pt idx="2">
                  <c:v>90</c:v>
                </c:pt>
                <c:pt idx="3">
                  <c:v>92</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Hydro Silk</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7</c:v>
                </c:pt>
                <c:pt idx="2">
                  <c:v>114</c:v>
                </c:pt>
                <c:pt idx="3">
                  <c:v>11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Pbg Pl</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16</c:v>
                </c:pt>
                <c:pt idx="2">
                  <c:v>134</c:v>
                </c:pt>
                <c:pt idx="3">
                  <c:v>145</c:v>
                </c:pt>
              </c:numCache>
            </c:numRef>
          </c:val>
          <c:smooth val="0"/>
          <c:extLst>
            <c:ext xmlns:c16="http://schemas.microsoft.com/office/drawing/2014/chart" uri="{C3380CC4-5D6E-409C-BE32-E72D297353CC}">
              <c16:uniqueId val="{00000003-F160-FB4E-B9E2-3D36233077E3}"/>
            </c:ext>
          </c:extLst>
        </c:ser>
        <c:ser>
          <c:idx val="9"/>
          <c:order val="6"/>
          <c:tx>
            <c:strRef>
              <c:f>Sheet1!$H$1</c:f>
              <c:strCache>
                <c:ptCount val="1"/>
                <c:pt idx="0">
                  <c:v>Skintimate</c:v>
                </c:pt>
              </c:strCache>
            </c:strRef>
          </c:tx>
          <c:spPr>
            <a:ln w="19050" cap="rnd">
              <a:solidFill>
                <a:srgbClr val="E5F4F3"/>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104</c:v>
                </c:pt>
                <c:pt idx="2">
                  <c:v>103</c:v>
                </c:pt>
                <c:pt idx="3">
                  <c:v>107</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74.0"/>
          <c:min val="71.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Gillette Venu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85</c:v>
                </c:pt>
                <c:pt idx="2">
                  <c:v>86</c:v>
                </c:pt>
                <c:pt idx="3">
                  <c:v>94</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Hydro Silk</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86</c:v>
                </c:pt>
                <c:pt idx="2">
                  <c:v>76</c:v>
                </c:pt>
                <c:pt idx="3">
                  <c:v>6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Intuition</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6</c:v>
                </c:pt>
                <c:pt idx="2">
                  <c:v>82</c:v>
                </c:pt>
                <c:pt idx="3">
                  <c:v>72</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Joy</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1</c:v>
                </c:pt>
                <c:pt idx="2">
                  <c:v>92</c:v>
                </c:pt>
                <c:pt idx="3">
                  <c:v>9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Pbg Pl</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9</c:v>
                </c:pt>
                <c:pt idx="2">
                  <c:v>609</c:v>
                </c:pt>
                <c:pt idx="3">
                  <c:v>713</c:v>
                </c:pt>
              </c:numCache>
            </c:numRef>
          </c:val>
          <c:smooth val="0"/>
          <c:extLst>
            <c:ext xmlns:c16="http://schemas.microsoft.com/office/drawing/2014/chart" uri="{C3380CC4-5D6E-409C-BE32-E72D297353CC}">
              <c16:uniqueId val="{00000007-0907-1A4C-A11F-73C2425749BA}"/>
            </c:ext>
          </c:extLst>
        </c:ser>
        <c:ser>
          <c:idx val="9"/>
          <c:order val="6"/>
          <c:tx>
            <c:strRef>
              <c:f>Sheet1!$H$1</c:f>
              <c:strCache>
                <c:ptCount val="1"/>
                <c:pt idx="0">
                  <c:v>Skintimate</c:v>
                </c:pt>
              </c:strCache>
            </c:strRef>
          </c:tx>
          <c:spPr>
            <a:ln w="19050" cap="rnd">
              <a:solidFill>
                <a:srgbClr val="E5F4F3"/>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15</c:v>
                </c:pt>
                <c:pt idx="2">
                  <c:v>0</c:v>
                </c:pt>
                <c:pt idx="3">
                  <c:v>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855.6"/>
          <c:min val="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9</c:v>
                </c:pt>
                <c:pt idx="2">
                  <c:v>106</c:v>
                </c:pt>
                <c:pt idx="3">
                  <c:v>107</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Gillette Venu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13</c:v>
                </c:pt>
                <c:pt idx="2">
                  <c:v>116</c:v>
                </c:pt>
                <c:pt idx="3">
                  <c:v>118</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Hydro Silk</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2</c:v>
                </c:pt>
                <c:pt idx="2">
                  <c:v>116</c:v>
                </c:pt>
                <c:pt idx="3">
                  <c:v>125</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Intuition</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6</c:v>
                </c:pt>
                <c:pt idx="2">
                  <c:v>112</c:v>
                </c:pt>
                <c:pt idx="3">
                  <c:v>115</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Joy</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0</c:v>
                </c:pt>
                <c:pt idx="2">
                  <c:v>103</c:v>
                </c:pt>
                <c:pt idx="3">
                  <c:v>102</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Pbg Pl</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3</c:v>
                </c:pt>
                <c:pt idx="2">
                  <c:v>105</c:v>
                </c:pt>
                <c:pt idx="3">
                  <c:v>103</c:v>
                </c:pt>
              </c:numCache>
            </c:numRef>
          </c:val>
          <c:smooth val="0"/>
          <c:extLst>
            <c:ext xmlns:c16="http://schemas.microsoft.com/office/drawing/2014/chart" uri="{C3380CC4-5D6E-409C-BE32-E72D297353CC}">
              <c16:uniqueId val="{00000003-F160-FB4E-B9E2-3D36233077E3}"/>
            </c:ext>
          </c:extLst>
        </c:ser>
        <c:ser>
          <c:idx val="9"/>
          <c:order val="6"/>
          <c:tx>
            <c:strRef>
              <c:f>Sheet1!$H$1</c:f>
              <c:strCache>
                <c:ptCount val="1"/>
                <c:pt idx="0">
                  <c:v>Skintimate</c:v>
                </c:pt>
              </c:strCache>
            </c:strRef>
          </c:tx>
          <c:spPr>
            <a:ln w="19050" cap="rnd">
              <a:solidFill>
                <a:srgbClr val="E5F4F3"/>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47</c:v>
                </c:pt>
                <c:pt idx="2">
                  <c:v>98</c:v>
                </c:pt>
                <c:pt idx="3">
                  <c:v>116</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0.0"/>
          <c:min val="37.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464,45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933,83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2,276,84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2464452</c:v>
                </c:pt>
                <c:pt idx="1">
                  <c:v>2034657</c:v>
                </c:pt>
                <c:pt idx="2">
                  <c:v>2019091</c:v>
                </c:pt>
                <c:pt idx="3">
                  <c:v>1887306</c:v>
                </c:pt>
                <c:pt idx="4">
                  <c:v>2176884</c:v>
                </c:pt>
                <c:pt idx="5">
                  <c:v>1724515</c:v>
                </c:pt>
                <c:pt idx="6">
                  <c:v>1657015</c:v>
                </c:pt>
                <c:pt idx="7">
                  <c:v>1901187</c:v>
                </c:pt>
                <c:pt idx="8">
                  <c:v>1987223</c:v>
                </c:pt>
                <c:pt idx="9">
                  <c:v>2192659</c:v>
                </c:pt>
                <c:pt idx="10">
                  <c:v>2363229</c:v>
                </c:pt>
                <c:pt idx="11">
                  <c:v>2490268</c:v>
                </c:pt>
                <c:pt idx="12">
                  <c:v>2361350</c:v>
                </c:pt>
                <c:pt idx="13">
                  <c:v>1933838</c:v>
                </c:pt>
                <c:pt idx="14">
                  <c:v>1927327</c:v>
                </c:pt>
                <c:pt idx="15">
                  <c:v>1831248</c:v>
                </c:pt>
                <c:pt idx="16">
                  <c:v>2258496</c:v>
                </c:pt>
                <c:pt idx="17">
                  <c:v>1691112</c:v>
                </c:pt>
                <c:pt idx="18">
                  <c:v>1694037</c:v>
                </c:pt>
                <c:pt idx="19">
                  <c:v>1930984</c:v>
                </c:pt>
                <c:pt idx="20">
                  <c:v>1899089</c:v>
                </c:pt>
                <c:pt idx="21">
                  <c:v>2099074</c:v>
                </c:pt>
                <c:pt idx="22">
                  <c:v>2369251</c:v>
                </c:pt>
                <c:pt idx="23">
                  <c:v>2411175</c:v>
                </c:pt>
                <c:pt idx="24">
                  <c:v>2276846</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1.0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0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1.01</c:v>
                </c:pt>
                <c:pt idx="1">
                  <c:v>0.99</c:v>
                </c:pt>
                <c:pt idx="2">
                  <c:v>0.98</c:v>
                </c:pt>
                <c:pt idx="3">
                  <c:v>0.98</c:v>
                </c:pt>
                <c:pt idx="4">
                  <c:v>0.99</c:v>
                </c:pt>
                <c:pt idx="5">
                  <c:v>0.97</c:v>
                </c:pt>
                <c:pt idx="6">
                  <c:v>0.99</c:v>
                </c:pt>
                <c:pt idx="7">
                  <c:v>1.01</c:v>
                </c:pt>
                <c:pt idx="8">
                  <c:v>1.05</c:v>
                </c:pt>
                <c:pt idx="9">
                  <c:v>1.06</c:v>
                </c:pt>
                <c:pt idx="10">
                  <c:v>1.07</c:v>
                </c:pt>
                <c:pt idx="11">
                  <c:v>1.07</c:v>
                </c:pt>
                <c:pt idx="12">
                  <c:v>1.06</c:v>
                </c:pt>
                <c:pt idx="13">
                  <c:v>1.04</c:v>
                </c:pt>
                <c:pt idx="14">
                  <c:v>1.02</c:v>
                </c:pt>
                <c:pt idx="15">
                  <c:v>1.04</c:v>
                </c:pt>
                <c:pt idx="16">
                  <c:v>1.08</c:v>
                </c:pt>
                <c:pt idx="17">
                  <c:v>0.99</c:v>
                </c:pt>
                <c:pt idx="18">
                  <c:v>0.99</c:v>
                </c:pt>
                <c:pt idx="19">
                  <c:v>1.0</c:v>
                </c:pt>
                <c:pt idx="20">
                  <c:v>1.01</c:v>
                </c:pt>
                <c:pt idx="21">
                  <c:v>1.02</c:v>
                </c:pt>
                <c:pt idx="22">
                  <c:v>1.05</c:v>
                </c:pt>
                <c:pt idx="23">
                  <c:v>1.03</c:v>
                </c:pt>
                <c:pt idx="24">
                  <c:v>1.02</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Evribeauty</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45</c:v>
                </c:pt>
                <c:pt idx="2">
                  <c:v>34</c:v>
                </c:pt>
                <c:pt idx="3">
                  <c:v>35</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Hydro Silk</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617190</c:v>
                </c:pt>
                <c:pt idx="2">
                  <c:v>984138</c:v>
                </c:pt>
                <c:pt idx="3">
                  <c:v>840235</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Rem P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68</c:v>
                </c:pt>
                <c:pt idx="2">
                  <c:v>63</c:v>
                </c:pt>
                <c:pt idx="3">
                  <c:v>66</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Revlon</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2</c:v>
                </c:pt>
                <c:pt idx="2">
                  <c:v>84</c:v>
                </c:pt>
                <c:pt idx="3">
                  <c:v>10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Universal Razor</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43</c:v>
                </c:pt>
                <c:pt idx="2">
                  <c:v>147</c:v>
                </c:pt>
                <c:pt idx="3">
                  <c:v>134</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180965.5999999999"/>
          <c:min val="27.200000000000003"/>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18</c:v>
                </c:pt>
                <c:pt idx="2">
                  <c:v>126</c:v>
                </c:pt>
                <c:pt idx="3">
                  <c:v>128</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Evribeauty</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4</c:v>
                </c:pt>
                <c:pt idx="2">
                  <c:v>107</c:v>
                </c:pt>
                <c:pt idx="3">
                  <c:v>107</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Hydro Silk</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24</c:v>
                </c:pt>
                <c:pt idx="2">
                  <c:v>124</c:v>
                </c:pt>
                <c:pt idx="3">
                  <c:v>124</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Rem P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2</c:v>
                </c:pt>
                <c:pt idx="2">
                  <c:v>106</c:v>
                </c:pt>
                <c:pt idx="3">
                  <c:v>111</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Revlon</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6</c:v>
                </c:pt>
                <c:pt idx="2">
                  <c:v>114</c:v>
                </c:pt>
                <c:pt idx="3">
                  <c:v>12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Universal Razor</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2</c:v>
                </c:pt>
                <c:pt idx="2">
                  <c:v>104</c:v>
                </c:pt>
                <c:pt idx="3">
                  <c:v>103</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3.6"/>
          <c:min val="8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ilky Touch</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84</c:v>
                </c:pt>
                <c:pt idx="2">
                  <c:v>84</c:v>
                </c:pt>
                <c:pt idx="3">
                  <c:v>92</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Bic Solei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9</c:v>
                </c:pt>
                <c:pt idx="2">
                  <c:v>106</c:v>
                </c:pt>
                <c:pt idx="3">
                  <c:v>96</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6</c:v>
                </c:pt>
                <c:pt idx="2">
                  <c:v>108</c:v>
                </c:pt>
                <c:pt idx="3">
                  <c:v>118</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Hydro Silk</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0</c:v>
                </c:pt>
                <c:pt idx="2">
                  <c:v>104</c:v>
                </c:pt>
                <c:pt idx="3">
                  <c:v>52</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Intuition</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45</c:v>
                </c:pt>
                <c:pt idx="2">
                  <c:v>3593264</c:v>
                </c:pt>
                <c:pt idx="3">
                  <c:v>4053911</c:v>
                </c:pt>
              </c:numCache>
            </c:numRef>
          </c:val>
          <c:smooth val="0"/>
          <c:extLst>
            <c:ext xmlns:c16="http://schemas.microsoft.com/office/drawing/2014/chart" uri="{C3380CC4-5D6E-409C-BE32-E72D297353CC}">
              <c16:uniqueId val="{00000007-0907-1A4C-A11F-73C2425749BA}"/>
            </c:ext>
          </c:extLst>
        </c:ser>
        <c:ser>
          <c:idx val="9"/>
          <c:order val="6"/>
          <c:tx>
            <c:strRef>
              <c:f>Sheet1!$H$1</c:f>
              <c:strCache>
                <c:ptCount val="1"/>
                <c:pt idx="0">
                  <c:v>Pbg Pl</c:v>
                </c:pt>
              </c:strCache>
            </c:strRef>
          </c:tx>
          <c:spPr>
            <a:ln w="19050" cap="rnd">
              <a:solidFill>
                <a:srgbClr val="FFFF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105</c:v>
                </c:pt>
                <c:pt idx="2">
                  <c:v>108</c:v>
                </c:pt>
                <c:pt idx="3">
                  <c:v>121</c:v>
                </c:pt>
              </c:numCache>
            </c:numRef>
          </c:val>
          <c:smooth val="0"/>
          <c:extLst>
            <c:ext xmlns:c16="http://schemas.microsoft.com/office/drawing/2014/chart" uri="{C3380CC4-5D6E-409C-BE32-E72D297353CC}">
              <c16:uniqueId val="{00000007-0907-1A4C-A11F-73C2425749BA}"/>
            </c:ext>
          </c:extLst>
        </c:ser>
        <c:ser>
          <c:idx val="10"/>
          <c:order val="7"/>
          <c:tx>
            <c:strRef>
              <c:f>Sheet1!$I$1</c:f>
              <c:strCache>
                <c:ptCount val="1"/>
                <c:pt idx="0">
                  <c:v>Skintimate</c:v>
                </c:pt>
              </c:strCache>
            </c:strRef>
          </c:tx>
          <c:spPr>
            <a:ln w="19050" cap="rnd">
              <a:solidFill>
                <a:srgbClr val="306181"/>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I$2:$I$5</c:f>
              <c:numCache>
                <c:formatCode>General</c:formatCode>
                <c:ptCount val="4"/>
                <c:pt idx="0">
                  <c:v>100</c:v>
                </c:pt>
                <c:pt idx="1">
                  <c:v>66</c:v>
                </c:pt>
                <c:pt idx="2">
                  <c:v>51</c:v>
                </c:pt>
                <c:pt idx="3">
                  <c:v>2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4864693.2"/>
          <c:min val="21.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5</c:v>
                </c:pt>
                <c:pt idx="2">
                  <c:v>111</c:v>
                </c:pt>
                <c:pt idx="3">
                  <c:v>10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ilky Touch</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5</c:v>
                </c:pt>
                <c:pt idx="2">
                  <c:v>92</c:v>
                </c:pt>
                <c:pt idx="3">
                  <c:v>9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Bic Solei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2</c:v>
                </c:pt>
                <c:pt idx="2">
                  <c:v>114</c:v>
                </c:pt>
                <c:pt idx="3">
                  <c:v>114</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3</c:v>
                </c:pt>
                <c:pt idx="2">
                  <c:v>93</c:v>
                </c:pt>
                <c:pt idx="3">
                  <c:v>96</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Hydro Silk</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7</c:v>
                </c:pt>
                <c:pt idx="2">
                  <c:v>108</c:v>
                </c:pt>
                <c:pt idx="3">
                  <c:v>105</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Intuition</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8</c:v>
                </c:pt>
                <c:pt idx="2">
                  <c:v>113</c:v>
                </c:pt>
                <c:pt idx="3">
                  <c:v>100</c:v>
                </c:pt>
              </c:numCache>
            </c:numRef>
          </c:val>
          <c:smooth val="0"/>
          <c:extLst>
            <c:ext xmlns:c16="http://schemas.microsoft.com/office/drawing/2014/chart" uri="{C3380CC4-5D6E-409C-BE32-E72D297353CC}">
              <c16:uniqueId val="{00000003-F160-FB4E-B9E2-3D36233077E3}"/>
            </c:ext>
          </c:extLst>
        </c:ser>
        <c:ser>
          <c:idx val="9"/>
          <c:order val="6"/>
          <c:tx>
            <c:strRef>
              <c:f>Sheet1!$H$1</c:f>
              <c:strCache>
                <c:ptCount val="1"/>
                <c:pt idx="0">
                  <c:v>Pbg Pl</c:v>
                </c:pt>
              </c:strCache>
            </c:strRef>
          </c:tx>
          <c:spPr>
            <a:ln w="19050" cap="rnd">
              <a:solidFill>
                <a:srgbClr val="FFFF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110</c:v>
                </c:pt>
                <c:pt idx="2">
                  <c:v>126</c:v>
                </c:pt>
                <c:pt idx="3">
                  <c:v>138</c:v>
                </c:pt>
              </c:numCache>
            </c:numRef>
          </c:val>
          <c:smooth val="0"/>
          <c:extLst>
            <c:ext xmlns:c16="http://schemas.microsoft.com/office/drawing/2014/chart" uri="{C3380CC4-5D6E-409C-BE32-E72D297353CC}">
              <c16:uniqueId val="{00000003-F160-FB4E-B9E2-3D36233077E3}"/>
            </c:ext>
          </c:extLst>
        </c:ser>
        <c:ser>
          <c:idx val="10"/>
          <c:order val="7"/>
          <c:tx>
            <c:strRef>
              <c:f>Sheet1!$I$1</c:f>
              <c:strCache>
                <c:ptCount val="1"/>
                <c:pt idx="0">
                  <c:v>Skintimate</c:v>
                </c:pt>
              </c:strCache>
            </c:strRef>
          </c:tx>
          <c:spPr>
            <a:ln w="19050" cap="rnd">
              <a:solidFill>
                <a:srgbClr val="306181"/>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I$2:$I$5</c:f>
              <c:numCache>
                <c:formatCode>General</c:formatCode>
                <c:ptCount val="4"/>
                <c:pt idx="0">
                  <c:v>100</c:v>
                </c:pt>
                <c:pt idx="1">
                  <c:v>124</c:v>
                </c:pt>
                <c:pt idx="2">
                  <c:v>131</c:v>
                </c:pt>
                <c:pt idx="3">
                  <c:v>132</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65.6"/>
          <c:min val="72.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Gillette Venu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2</c:v>
                </c:pt>
                <c:pt idx="2">
                  <c:v>95</c:v>
                </c:pt>
                <c:pt idx="3">
                  <c:v>104</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Hydro Silk</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70</c:v>
                </c:pt>
                <c:pt idx="2">
                  <c:v>69</c:v>
                </c:pt>
                <c:pt idx="3">
                  <c:v>54</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Intuition</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7</c:v>
                </c:pt>
                <c:pt idx="2">
                  <c:v>87</c:v>
                </c:pt>
                <c:pt idx="3">
                  <c:v>77</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Joy</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7</c:v>
                </c:pt>
                <c:pt idx="2">
                  <c:v>91</c:v>
                </c:pt>
                <c:pt idx="3">
                  <c:v>89</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Pbg Pl</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75</c:v>
                </c:pt>
                <c:pt idx="2">
                  <c:v>75</c:v>
                </c:pt>
                <c:pt idx="3">
                  <c:v>79</c:v>
                </c:pt>
              </c:numCache>
            </c:numRef>
          </c:val>
          <c:smooth val="0"/>
          <c:extLst>
            <c:ext xmlns:c16="http://schemas.microsoft.com/office/drawing/2014/chart" uri="{C3380CC4-5D6E-409C-BE32-E72D297353CC}">
              <c16:uniqueId val="{00000007-0907-1A4C-A11F-73C2425749BA}"/>
            </c:ext>
          </c:extLst>
        </c:ser>
        <c:ser>
          <c:idx val="9"/>
          <c:order val="6"/>
          <c:tx>
            <c:strRef>
              <c:f>Sheet1!$H$1</c:f>
              <c:strCache>
                <c:ptCount val="1"/>
                <c:pt idx="0">
                  <c:v>Skintimate</c:v>
                </c:pt>
              </c:strCache>
            </c:strRef>
          </c:tx>
          <c:spPr>
            <a:ln w="19050" cap="rnd">
              <a:solidFill>
                <a:srgbClr val="E5F4F3"/>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9</c:v>
                </c:pt>
                <c:pt idx="2">
                  <c:v>0</c:v>
                </c:pt>
                <c:pt idx="3">
                  <c:v>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24.8"/>
          <c:min val="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13</c:v>
                </c:pt>
                <c:pt idx="2">
                  <c:v>112</c:v>
                </c:pt>
                <c:pt idx="3">
                  <c:v>114</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Gillette Venu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10</c:v>
                </c:pt>
                <c:pt idx="2">
                  <c:v>109</c:v>
                </c:pt>
                <c:pt idx="3">
                  <c:v>11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Hydro Silk</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0</c:v>
                </c:pt>
                <c:pt idx="2">
                  <c:v>121</c:v>
                </c:pt>
                <c:pt idx="3">
                  <c:v>129</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Intuition</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13</c:v>
                </c:pt>
                <c:pt idx="2">
                  <c:v>122</c:v>
                </c:pt>
                <c:pt idx="3">
                  <c:v>122</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Joy</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1</c:v>
                </c:pt>
                <c:pt idx="2">
                  <c:v>102</c:v>
                </c:pt>
                <c:pt idx="3">
                  <c:v>10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Pbg Pl</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2</c:v>
                </c:pt>
                <c:pt idx="2">
                  <c:v>92</c:v>
                </c:pt>
                <c:pt idx="3">
                  <c:v>90</c:v>
                </c:pt>
              </c:numCache>
            </c:numRef>
          </c:val>
          <c:smooth val="0"/>
          <c:extLst>
            <c:ext xmlns:c16="http://schemas.microsoft.com/office/drawing/2014/chart" uri="{C3380CC4-5D6E-409C-BE32-E72D297353CC}">
              <c16:uniqueId val="{00000003-F160-FB4E-B9E2-3D36233077E3}"/>
            </c:ext>
          </c:extLst>
        </c:ser>
        <c:ser>
          <c:idx val="9"/>
          <c:order val="6"/>
          <c:tx>
            <c:strRef>
              <c:f>Sheet1!$H$1</c:f>
              <c:strCache>
                <c:ptCount val="1"/>
                <c:pt idx="0">
                  <c:v>Skintimate</c:v>
                </c:pt>
              </c:strCache>
            </c:strRef>
          </c:tx>
          <c:spPr>
            <a:ln w="19050" cap="rnd">
              <a:solidFill>
                <a:srgbClr val="E5F4F3"/>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45</c:v>
                </c:pt>
                <c:pt idx="2">
                  <c:v>92</c:v>
                </c:pt>
                <c:pt idx="3">
                  <c:v>105</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4.79999999999998"/>
          <c:min val="36.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ilky Touch</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81</c:v>
                </c:pt>
                <c:pt idx="2">
                  <c:v>46</c:v>
                </c:pt>
                <c:pt idx="3">
                  <c:v>52</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Bic Solei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21</c:v>
                </c:pt>
                <c:pt idx="2">
                  <c:v>130</c:v>
                </c:pt>
                <c:pt idx="3">
                  <c:v>137</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69</c:v>
                </c:pt>
                <c:pt idx="2">
                  <c:v>49</c:v>
                </c:pt>
                <c:pt idx="3">
                  <c:v>53</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21</c:v>
                </c:pt>
                <c:pt idx="2">
                  <c:v>97</c:v>
                </c:pt>
                <c:pt idx="3">
                  <c:v>17</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Noxzema Base</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7</c:v>
                </c:pt>
                <c:pt idx="2">
                  <c:v>101</c:v>
                </c:pt>
                <c:pt idx="3">
                  <c:v>95</c:v>
                </c:pt>
              </c:numCache>
            </c:numRef>
          </c:val>
          <c:smooth val="0"/>
          <c:extLst>
            <c:ext xmlns:c16="http://schemas.microsoft.com/office/drawing/2014/chart" uri="{C3380CC4-5D6E-409C-BE32-E72D297353CC}">
              <c16:uniqueId val="{00000007-0907-1A4C-A11F-73C2425749BA}"/>
            </c:ext>
          </c:extLst>
        </c:ser>
        <c:ser>
          <c:idx val="9"/>
          <c:order val="6"/>
          <c:tx>
            <c:strRef>
              <c:f>Sheet1!$H$1</c:f>
              <c:strCache>
                <c:ptCount val="1"/>
                <c:pt idx="0">
                  <c:v>Quattro</c:v>
                </c:pt>
              </c:strCache>
            </c:strRef>
          </c:tx>
          <c:spPr>
            <a:ln w="19050" cap="rnd">
              <a:solidFill>
                <a:srgbClr val="FFFF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83</c:v>
                </c:pt>
                <c:pt idx="2">
                  <c:v>86</c:v>
                </c:pt>
                <c:pt idx="3">
                  <c:v>76</c:v>
                </c:pt>
              </c:numCache>
            </c:numRef>
          </c:val>
          <c:smooth val="0"/>
          <c:extLst>
            <c:ext xmlns:c16="http://schemas.microsoft.com/office/drawing/2014/chart" uri="{C3380CC4-5D6E-409C-BE32-E72D297353CC}">
              <c16:uniqueId val="{00000007-0907-1A4C-A11F-73C2425749BA}"/>
            </c:ext>
          </c:extLst>
        </c:ser>
        <c:ser>
          <c:idx val="10"/>
          <c:order val="7"/>
          <c:tx>
            <c:strRef>
              <c:f>Sheet1!$I$1</c:f>
              <c:strCache>
                <c:ptCount val="1"/>
                <c:pt idx="0">
                  <c:v>Skintimate</c:v>
                </c:pt>
              </c:strCache>
            </c:strRef>
          </c:tx>
          <c:spPr>
            <a:ln w="19050" cap="rnd">
              <a:solidFill>
                <a:srgbClr val="306181"/>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I$2:$I$5</c:f>
              <c:numCache>
                <c:formatCode>General</c:formatCode>
                <c:ptCount val="4"/>
                <c:pt idx="0">
                  <c:v>100</c:v>
                </c:pt>
                <c:pt idx="1">
                  <c:v>159</c:v>
                </c:pt>
                <c:pt idx="2">
                  <c:v>280</c:v>
                </c:pt>
                <c:pt idx="3">
                  <c:v>27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336.0"/>
          <c:min val="13.60000000000000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95</c:v>
                </c:pt>
                <c:pt idx="2">
                  <c:v>100</c:v>
                </c:pt>
                <c:pt idx="3">
                  <c:v>103</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ilky Touch</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0</c:v>
                </c:pt>
                <c:pt idx="2">
                  <c:v>79</c:v>
                </c:pt>
                <c:pt idx="3">
                  <c:v>99</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Bic Solei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4</c:v>
                </c:pt>
                <c:pt idx="2">
                  <c:v>104</c:v>
                </c:pt>
                <c:pt idx="3">
                  <c:v>11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31</c:v>
                </c:pt>
                <c:pt idx="2">
                  <c:v>166</c:v>
                </c:pt>
                <c:pt idx="3">
                  <c:v>167</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76</c:v>
                </c:pt>
                <c:pt idx="2">
                  <c:v>83</c:v>
                </c:pt>
                <c:pt idx="3">
                  <c:v>11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Noxzema Base</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17</c:v>
                </c:pt>
                <c:pt idx="2">
                  <c:v>150</c:v>
                </c:pt>
                <c:pt idx="3">
                  <c:v>123</c:v>
                </c:pt>
              </c:numCache>
            </c:numRef>
          </c:val>
          <c:smooth val="0"/>
          <c:extLst>
            <c:ext xmlns:c16="http://schemas.microsoft.com/office/drawing/2014/chart" uri="{C3380CC4-5D6E-409C-BE32-E72D297353CC}">
              <c16:uniqueId val="{00000003-F160-FB4E-B9E2-3D36233077E3}"/>
            </c:ext>
          </c:extLst>
        </c:ser>
        <c:ser>
          <c:idx val="9"/>
          <c:order val="6"/>
          <c:tx>
            <c:strRef>
              <c:f>Sheet1!$H$1</c:f>
              <c:strCache>
                <c:ptCount val="1"/>
                <c:pt idx="0">
                  <c:v>Quattro</c:v>
                </c:pt>
              </c:strCache>
            </c:strRef>
          </c:tx>
          <c:spPr>
            <a:ln w="19050" cap="rnd">
              <a:solidFill>
                <a:srgbClr val="FFFF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111</c:v>
                </c:pt>
                <c:pt idx="2">
                  <c:v>117</c:v>
                </c:pt>
                <c:pt idx="3">
                  <c:v>107</c:v>
                </c:pt>
              </c:numCache>
            </c:numRef>
          </c:val>
          <c:smooth val="0"/>
          <c:extLst>
            <c:ext xmlns:c16="http://schemas.microsoft.com/office/drawing/2014/chart" uri="{C3380CC4-5D6E-409C-BE32-E72D297353CC}">
              <c16:uniqueId val="{00000003-F160-FB4E-B9E2-3D36233077E3}"/>
            </c:ext>
          </c:extLst>
        </c:ser>
        <c:ser>
          <c:idx val="10"/>
          <c:order val="7"/>
          <c:tx>
            <c:strRef>
              <c:f>Sheet1!$I$1</c:f>
              <c:strCache>
                <c:ptCount val="1"/>
                <c:pt idx="0">
                  <c:v>Skintimate</c:v>
                </c:pt>
              </c:strCache>
            </c:strRef>
          </c:tx>
          <c:spPr>
            <a:ln w="19050" cap="rnd">
              <a:solidFill>
                <a:srgbClr val="306181"/>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I$2:$I$5</c:f>
              <c:numCache>
                <c:formatCode>General</c:formatCode>
                <c:ptCount val="4"/>
                <c:pt idx="0">
                  <c:v>100</c:v>
                </c:pt>
                <c:pt idx="1">
                  <c:v>111</c:v>
                </c:pt>
                <c:pt idx="2">
                  <c:v>67</c:v>
                </c:pt>
                <c:pt idx="3">
                  <c:v>101</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200.4"/>
          <c:min val="53.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Flamingo</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25</c:v>
                </c:pt>
                <c:pt idx="2">
                  <c:v>182</c:v>
                </c:pt>
                <c:pt idx="3">
                  <c:v>323</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36</c:v>
                </c:pt>
                <c:pt idx="2">
                  <c:v>134</c:v>
                </c:pt>
                <c:pt idx="3">
                  <c:v>136</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81</c:v>
                </c:pt>
                <c:pt idx="2">
                  <c:v>53</c:v>
                </c:pt>
                <c:pt idx="3">
                  <c:v>54</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5</c:v>
                </c:pt>
                <c:pt idx="2">
                  <c:v>101</c:v>
                </c:pt>
                <c:pt idx="3">
                  <c:v>85</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Joy</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62</c:v>
                </c:pt>
                <c:pt idx="2">
                  <c:v>40</c:v>
                </c:pt>
                <c:pt idx="3">
                  <c:v>47</c:v>
                </c:pt>
              </c:numCache>
            </c:numRef>
          </c:val>
          <c:smooth val="0"/>
          <c:extLst>
            <c:ext xmlns:c16="http://schemas.microsoft.com/office/drawing/2014/chart" uri="{C3380CC4-5D6E-409C-BE32-E72D297353CC}">
              <c16:uniqueId val="{00000007-0907-1A4C-A11F-73C2425749BA}"/>
            </c:ext>
          </c:extLst>
        </c:ser>
        <c:ser>
          <c:idx val="9"/>
          <c:order val="6"/>
          <c:tx>
            <c:strRef>
              <c:f>Sheet1!$H$1</c:f>
              <c:strCache>
                <c:ptCount val="1"/>
                <c:pt idx="0">
                  <c:v>Quattro</c:v>
                </c:pt>
              </c:strCache>
            </c:strRef>
          </c:tx>
          <c:spPr>
            <a:ln w="19050" cap="rnd">
              <a:solidFill>
                <a:srgbClr val="FFFF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78</c:v>
                </c:pt>
                <c:pt idx="2">
                  <c:v>90</c:v>
                </c:pt>
                <c:pt idx="3">
                  <c:v>93</c:v>
                </c:pt>
              </c:numCache>
            </c:numRef>
          </c:val>
          <c:smooth val="0"/>
          <c:extLst>
            <c:ext xmlns:c16="http://schemas.microsoft.com/office/drawing/2014/chart" uri="{C3380CC4-5D6E-409C-BE32-E72D297353CC}">
              <c16:uniqueId val="{00000007-0907-1A4C-A11F-73C2425749BA}"/>
            </c:ext>
          </c:extLst>
        </c:ser>
        <c:ser>
          <c:idx val="10"/>
          <c:order val="7"/>
          <c:tx>
            <c:strRef>
              <c:f>Sheet1!$I$1</c:f>
              <c:strCache>
                <c:ptCount val="1"/>
                <c:pt idx="0">
                  <c:v>Skintimate</c:v>
                </c:pt>
              </c:strCache>
            </c:strRef>
          </c:tx>
          <c:spPr>
            <a:ln w="19050" cap="rnd">
              <a:solidFill>
                <a:srgbClr val="306181"/>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I$2:$I$5</c:f>
              <c:numCache>
                <c:formatCode>General</c:formatCode>
                <c:ptCount val="4"/>
                <c:pt idx="0">
                  <c:v>100</c:v>
                </c:pt>
                <c:pt idx="1">
                  <c:v>204</c:v>
                </c:pt>
                <c:pt idx="2">
                  <c:v>147</c:v>
                </c:pt>
                <c:pt idx="3">
                  <c:v>47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564.0"/>
          <c:min val="32.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12</c:v>
                </c:pt>
                <c:pt idx="2">
                  <c:v>103</c:v>
                </c:pt>
                <c:pt idx="3">
                  <c:v>100</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Flamingo</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89</c:v>
                </c:pt>
                <c:pt idx="2">
                  <c:v>78</c:v>
                </c:pt>
                <c:pt idx="3">
                  <c:v>68</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6</c:v>
                </c:pt>
                <c:pt idx="2">
                  <c:v>102</c:v>
                </c:pt>
                <c:pt idx="3">
                  <c:v>94</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12</c:v>
                </c:pt>
                <c:pt idx="2">
                  <c:v>109</c:v>
                </c:pt>
                <c:pt idx="3">
                  <c:v>107</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3</c:v>
                </c:pt>
                <c:pt idx="2">
                  <c:v>94</c:v>
                </c:pt>
                <c:pt idx="3">
                  <c:v>94</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Joy</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0</c:v>
                </c:pt>
                <c:pt idx="2">
                  <c:v>102</c:v>
                </c:pt>
                <c:pt idx="3">
                  <c:v>97</c:v>
                </c:pt>
              </c:numCache>
            </c:numRef>
          </c:val>
          <c:smooth val="0"/>
          <c:extLst>
            <c:ext xmlns:c16="http://schemas.microsoft.com/office/drawing/2014/chart" uri="{C3380CC4-5D6E-409C-BE32-E72D297353CC}">
              <c16:uniqueId val="{00000003-F160-FB4E-B9E2-3D36233077E3}"/>
            </c:ext>
          </c:extLst>
        </c:ser>
        <c:ser>
          <c:idx val="9"/>
          <c:order val="6"/>
          <c:tx>
            <c:strRef>
              <c:f>Sheet1!$H$1</c:f>
              <c:strCache>
                <c:ptCount val="1"/>
                <c:pt idx="0">
                  <c:v>Quattro</c:v>
                </c:pt>
              </c:strCache>
            </c:strRef>
          </c:tx>
          <c:spPr>
            <a:ln w="19050" cap="rnd">
              <a:solidFill>
                <a:srgbClr val="FFFF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121</c:v>
                </c:pt>
                <c:pt idx="2">
                  <c:v>102</c:v>
                </c:pt>
                <c:pt idx="3">
                  <c:v>88</c:v>
                </c:pt>
              </c:numCache>
            </c:numRef>
          </c:val>
          <c:smooth val="0"/>
          <c:extLst>
            <c:ext xmlns:c16="http://schemas.microsoft.com/office/drawing/2014/chart" uri="{C3380CC4-5D6E-409C-BE32-E72D297353CC}">
              <c16:uniqueId val="{00000003-F160-FB4E-B9E2-3D36233077E3}"/>
            </c:ext>
          </c:extLst>
        </c:ser>
        <c:ser>
          <c:idx val="10"/>
          <c:order val="7"/>
          <c:tx>
            <c:strRef>
              <c:f>Sheet1!$I$1</c:f>
              <c:strCache>
                <c:ptCount val="1"/>
                <c:pt idx="0">
                  <c:v>Skintimate</c:v>
                </c:pt>
              </c:strCache>
            </c:strRef>
          </c:tx>
          <c:spPr>
            <a:ln w="19050" cap="rnd">
              <a:solidFill>
                <a:srgbClr val="306181"/>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I$2:$I$5</c:f>
              <c:numCache>
                <c:formatCode>General</c:formatCode>
                <c:ptCount val="4"/>
                <c:pt idx="0">
                  <c:v>100</c:v>
                </c:pt>
                <c:pt idx="1">
                  <c:v>93</c:v>
                </c:pt>
                <c:pt idx="2">
                  <c:v>78</c:v>
                </c:pt>
                <c:pt idx="3">
                  <c:v>78</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5.2"/>
          <c:min val="54.40000000000000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096,12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569,10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821,75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2096125</c:v>
                </c:pt>
                <c:pt idx="1">
                  <c:v>1620755</c:v>
                </c:pt>
                <c:pt idx="2">
                  <c:v>1667864</c:v>
                </c:pt>
                <c:pt idx="3">
                  <c:v>1615510</c:v>
                </c:pt>
                <c:pt idx="4">
                  <c:v>2003087</c:v>
                </c:pt>
                <c:pt idx="5">
                  <c:v>1444511</c:v>
                </c:pt>
                <c:pt idx="6">
                  <c:v>1372310</c:v>
                </c:pt>
                <c:pt idx="7">
                  <c:v>1583866</c:v>
                </c:pt>
                <c:pt idx="8">
                  <c:v>1639758</c:v>
                </c:pt>
                <c:pt idx="9">
                  <c:v>1753464</c:v>
                </c:pt>
                <c:pt idx="10">
                  <c:v>1844583</c:v>
                </c:pt>
                <c:pt idx="11">
                  <c:v>2047417</c:v>
                </c:pt>
                <c:pt idx="12">
                  <c:v>1987190</c:v>
                </c:pt>
                <c:pt idx="13">
                  <c:v>1569107</c:v>
                </c:pt>
                <c:pt idx="14">
                  <c:v>1554031</c:v>
                </c:pt>
                <c:pt idx="15">
                  <c:v>1499498</c:v>
                </c:pt>
                <c:pt idx="16">
                  <c:v>1962357</c:v>
                </c:pt>
                <c:pt idx="17">
                  <c:v>1342437</c:v>
                </c:pt>
                <c:pt idx="18">
                  <c:v>1392476</c:v>
                </c:pt>
                <c:pt idx="19">
                  <c:v>1593834</c:v>
                </c:pt>
                <c:pt idx="20">
                  <c:v>1511475</c:v>
                </c:pt>
                <c:pt idx="21">
                  <c:v>1633178</c:v>
                </c:pt>
                <c:pt idx="22">
                  <c:v>1842685</c:v>
                </c:pt>
                <c:pt idx="23">
                  <c:v>1913041</c:v>
                </c:pt>
                <c:pt idx="24">
                  <c:v>1821750</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8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3.8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3.7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83</c:v>
                </c:pt>
                <c:pt idx="1">
                  <c:v>3.81</c:v>
                </c:pt>
                <c:pt idx="2">
                  <c:v>3.4</c:v>
                </c:pt>
                <c:pt idx="3">
                  <c:v>3.3</c:v>
                </c:pt>
                <c:pt idx="4">
                  <c:v>3.07</c:v>
                </c:pt>
                <c:pt idx="5">
                  <c:v>3.56</c:v>
                </c:pt>
                <c:pt idx="6">
                  <c:v>3.74</c:v>
                </c:pt>
                <c:pt idx="7">
                  <c:v>3.77</c:v>
                </c:pt>
                <c:pt idx="8">
                  <c:v>3.79</c:v>
                </c:pt>
                <c:pt idx="9">
                  <c:v>3.85</c:v>
                </c:pt>
                <c:pt idx="10">
                  <c:v>3.86</c:v>
                </c:pt>
                <c:pt idx="11">
                  <c:v>3.83</c:v>
                </c:pt>
                <c:pt idx="12">
                  <c:v>3.77</c:v>
                </c:pt>
                <c:pt idx="13">
                  <c:v>3.8</c:v>
                </c:pt>
                <c:pt idx="14">
                  <c:v>3.52</c:v>
                </c:pt>
                <c:pt idx="15">
                  <c:v>3.4</c:v>
                </c:pt>
                <c:pt idx="16">
                  <c:v>3.22</c:v>
                </c:pt>
                <c:pt idx="17">
                  <c:v>3.6</c:v>
                </c:pt>
                <c:pt idx="18">
                  <c:v>3.76</c:v>
                </c:pt>
                <c:pt idx="19">
                  <c:v>3.8</c:v>
                </c:pt>
                <c:pt idx="20">
                  <c:v>3.72</c:v>
                </c:pt>
                <c:pt idx="21">
                  <c:v>3.74</c:v>
                </c:pt>
                <c:pt idx="22">
                  <c:v>3.81</c:v>
                </c:pt>
                <c:pt idx="23">
                  <c:v>3.81</c:v>
                </c:pt>
                <c:pt idx="24">
                  <c:v>3.76</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84</c:v>
                </c:pt>
                <c:pt idx="2">
                  <c:v>76</c:v>
                </c:pt>
                <c:pt idx="3">
                  <c:v>5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1</c:v>
                </c:pt>
                <c:pt idx="2">
                  <c:v>144</c:v>
                </c:pt>
                <c:pt idx="3">
                  <c:v>222</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Intuition</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8150631</c:v>
                </c:pt>
                <c:pt idx="2">
                  <c:v>3147819</c:v>
                </c:pt>
                <c:pt idx="3">
                  <c:v>1049445</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Noxzema Base</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70</c:v>
                </c:pt>
                <c:pt idx="2">
                  <c:v>184</c:v>
                </c:pt>
                <c:pt idx="3">
                  <c:v>38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Schick Classic Women</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40</c:v>
                </c:pt>
                <c:pt idx="2">
                  <c:v>2</c:v>
                </c:pt>
                <c:pt idx="3">
                  <c:v>3</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9780757.2"/>
          <c:min val="1.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36</c:v>
                </c:pt>
                <c:pt idx="2">
                  <c:v>140</c:v>
                </c:pt>
                <c:pt idx="3">
                  <c:v>156</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39</c:v>
                </c:pt>
                <c:pt idx="2">
                  <c:v>137</c:v>
                </c:pt>
                <c:pt idx="3">
                  <c:v>188</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6</c:v>
                </c:pt>
                <c:pt idx="2">
                  <c:v>117</c:v>
                </c:pt>
                <c:pt idx="3">
                  <c:v>109</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Intuition</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1</c:v>
                </c:pt>
                <c:pt idx="2">
                  <c:v>95</c:v>
                </c:pt>
                <c:pt idx="3">
                  <c:v>68</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Noxzema Base</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6</c:v>
                </c:pt>
                <c:pt idx="2">
                  <c:v>107</c:v>
                </c:pt>
                <c:pt idx="3">
                  <c:v>106</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Schick Classic Women</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51</c:v>
                </c:pt>
                <c:pt idx="2">
                  <c:v>49</c:v>
                </c:pt>
                <c:pt idx="3">
                  <c:v>96</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225.6"/>
          <c:min val="39.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Flamingo</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24</c:v>
                </c:pt>
                <c:pt idx="2">
                  <c:v>121</c:v>
                </c:pt>
                <c:pt idx="3">
                  <c:v>11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0</c:v>
                </c:pt>
                <c:pt idx="2">
                  <c:v>100</c:v>
                </c:pt>
                <c:pt idx="3">
                  <c:v>109</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78</c:v>
                </c:pt>
                <c:pt idx="2">
                  <c:v>72</c:v>
                </c:pt>
                <c:pt idx="3">
                  <c:v>58</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1</c:v>
                </c:pt>
                <c:pt idx="2">
                  <c:v>82</c:v>
                </c:pt>
                <c:pt idx="3">
                  <c:v>7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Joy</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7</c:v>
                </c:pt>
                <c:pt idx="2">
                  <c:v>70</c:v>
                </c:pt>
                <c:pt idx="3">
                  <c:v>62</c:v>
                </c:pt>
              </c:numCache>
            </c:numRef>
          </c:val>
          <c:smooth val="0"/>
          <c:extLst>
            <c:ext xmlns:c16="http://schemas.microsoft.com/office/drawing/2014/chart" uri="{C3380CC4-5D6E-409C-BE32-E72D297353CC}">
              <c16:uniqueId val="{00000007-0907-1A4C-A11F-73C2425749BA}"/>
            </c:ext>
          </c:extLst>
        </c:ser>
        <c:ser>
          <c:idx val="9"/>
          <c:order val="6"/>
          <c:tx>
            <c:strRef>
              <c:f>Sheet1!$H$1</c:f>
              <c:strCache>
                <c:ptCount val="1"/>
                <c:pt idx="0">
                  <c:v>Skintimate</c:v>
                </c:pt>
              </c:strCache>
            </c:strRef>
          </c:tx>
          <c:spPr>
            <a:ln w="19050" cap="rnd">
              <a:solidFill>
                <a:srgbClr val="E5F4F3"/>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21</c:v>
                </c:pt>
                <c:pt idx="2">
                  <c:v>5</c:v>
                </c:pt>
                <c:pt idx="3">
                  <c:v>1</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48.79999999999998"/>
          <c:min val="0.8"/>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12</c:v>
                </c:pt>
                <c:pt idx="2">
                  <c:v>113</c:v>
                </c:pt>
                <c:pt idx="3">
                  <c:v>112</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Flamingo</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6</c:v>
                </c:pt>
                <c:pt idx="2">
                  <c:v>89</c:v>
                </c:pt>
                <c:pt idx="3">
                  <c:v>89</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0</c:v>
                </c:pt>
                <c:pt idx="2">
                  <c:v>111</c:v>
                </c:pt>
                <c:pt idx="3">
                  <c:v>107</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21</c:v>
                </c:pt>
                <c:pt idx="2">
                  <c:v>143</c:v>
                </c:pt>
                <c:pt idx="3">
                  <c:v>155</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17</c:v>
                </c:pt>
                <c:pt idx="2">
                  <c:v>116</c:v>
                </c:pt>
                <c:pt idx="3">
                  <c:v>116</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Joy</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9</c:v>
                </c:pt>
                <c:pt idx="2">
                  <c:v>99</c:v>
                </c:pt>
                <c:pt idx="3">
                  <c:v>88</c:v>
                </c:pt>
              </c:numCache>
            </c:numRef>
          </c:val>
          <c:smooth val="0"/>
          <c:extLst>
            <c:ext xmlns:c16="http://schemas.microsoft.com/office/drawing/2014/chart" uri="{C3380CC4-5D6E-409C-BE32-E72D297353CC}">
              <c16:uniqueId val="{00000003-F160-FB4E-B9E2-3D36233077E3}"/>
            </c:ext>
          </c:extLst>
        </c:ser>
        <c:ser>
          <c:idx val="9"/>
          <c:order val="6"/>
          <c:tx>
            <c:strRef>
              <c:f>Sheet1!$H$1</c:f>
              <c:strCache>
                <c:ptCount val="1"/>
                <c:pt idx="0">
                  <c:v>Skintimate</c:v>
                </c:pt>
              </c:strCache>
            </c:strRef>
          </c:tx>
          <c:spPr>
            <a:ln w="19050" cap="rnd">
              <a:solidFill>
                <a:srgbClr val="E5F4F3"/>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108</c:v>
                </c:pt>
                <c:pt idx="2">
                  <c:v>178</c:v>
                </c:pt>
                <c:pt idx="3">
                  <c:v>152</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213.6"/>
          <c:min val="70.4"/>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Flamingo</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0</c:v>
                </c:pt>
                <c:pt idx="2">
                  <c:v>114</c:v>
                </c:pt>
                <c:pt idx="3">
                  <c:v>123</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9</c:v>
                </c:pt>
                <c:pt idx="2">
                  <c:v>94</c:v>
                </c:pt>
                <c:pt idx="3">
                  <c:v>92</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1</c:v>
                </c:pt>
                <c:pt idx="2">
                  <c:v>82</c:v>
                </c:pt>
                <c:pt idx="3">
                  <c:v>67</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9</c:v>
                </c:pt>
                <c:pt idx="2">
                  <c:v>88</c:v>
                </c:pt>
                <c:pt idx="3">
                  <c:v>78</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Joy</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6</c:v>
                </c:pt>
                <c:pt idx="2">
                  <c:v>83</c:v>
                </c:pt>
                <c:pt idx="3">
                  <c:v>69</c:v>
                </c:pt>
              </c:numCache>
            </c:numRef>
          </c:val>
          <c:smooth val="0"/>
          <c:extLst>
            <c:ext xmlns:c16="http://schemas.microsoft.com/office/drawing/2014/chart" uri="{C3380CC4-5D6E-409C-BE32-E72D297353CC}">
              <c16:uniqueId val="{00000007-0907-1A4C-A11F-73C2425749BA}"/>
            </c:ext>
          </c:extLst>
        </c:ser>
        <c:ser>
          <c:idx val="9"/>
          <c:order val="6"/>
          <c:tx>
            <c:strRef>
              <c:f>Sheet1!$H$1</c:f>
              <c:strCache>
                <c:ptCount val="1"/>
                <c:pt idx="0">
                  <c:v>Skintimate</c:v>
                </c:pt>
              </c:strCache>
            </c:strRef>
          </c:tx>
          <c:spPr>
            <a:ln w="19050" cap="rnd">
              <a:solidFill>
                <a:srgbClr val="E5F4F3"/>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44</c:v>
                </c:pt>
                <c:pt idx="2">
                  <c:v>6</c:v>
                </c:pt>
                <c:pt idx="3">
                  <c:v>3</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47.6"/>
          <c:min val="2.4000000000000004"/>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4</c:v>
                </c:pt>
                <c:pt idx="2">
                  <c:v>103</c:v>
                </c:pt>
                <c:pt idx="3">
                  <c:v>98</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Flamingo</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4</c:v>
                </c:pt>
                <c:pt idx="2">
                  <c:v>110</c:v>
                </c:pt>
                <c:pt idx="3">
                  <c:v>107</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6</c:v>
                </c:pt>
                <c:pt idx="2">
                  <c:v>108</c:v>
                </c:pt>
                <c:pt idx="3">
                  <c:v>107</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4</c:v>
                </c:pt>
                <c:pt idx="2">
                  <c:v>111</c:v>
                </c:pt>
                <c:pt idx="3">
                  <c:v>107</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6</c:v>
                </c:pt>
                <c:pt idx="2">
                  <c:v>112</c:v>
                </c:pt>
                <c:pt idx="3">
                  <c:v>108</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Joy</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0</c:v>
                </c:pt>
                <c:pt idx="2">
                  <c:v>102</c:v>
                </c:pt>
                <c:pt idx="3">
                  <c:v>101</c:v>
                </c:pt>
              </c:numCache>
            </c:numRef>
          </c:val>
          <c:smooth val="0"/>
          <c:extLst>
            <c:ext xmlns:c16="http://schemas.microsoft.com/office/drawing/2014/chart" uri="{C3380CC4-5D6E-409C-BE32-E72D297353CC}">
              <c16:uniqueId val="{00000003-F160-FB4E-B9E2-3D36233077E3}"/>
            </c:ext>
          </c:extLst>
        </c:ser>
        <c:ser>
          <c:idx val="9"/>
          <c:order val="6"/>
          <c:tx>
            <c:strRef>
              <c:f>Sheet1!$H$1</c:f>
              <c:strCache>
                <c:ptCount val="1"/>
                <c:pt idx="0">
                  <c:v>Skintimate</c:v>
                </c:pt>
              </c:strCache>
            </c:strRef>
          </c:tx>
          <c:spPr>
            <a:ln w="19050" cap="rnd">
              <a:solidFill>
                <a:srgbClr val="E5F4F3"/>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61</c:v>
                </c:pt>
                <c:pt idx="2">
                  <c:v>74</c:v>
                </c:pt>
                <c:pt idx="3">
                  <c:v>68</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4.4"/>
          <c:min val="48.800000000000004"/>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7</c:v>
                </c:pt>
                <c:pt idx="2">
                  <c:v>92</c:v>
                </c:pt>
                <c:pt idx="3">
                  <c:v>74</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4</c:f>
              <c:numCache>
                <c:formatCode>General</c:formatCode>
                <c:ptCount val="3"/>
                <c:pt idx="0">
                  <c:v>100</c:v>
                </c:pt>
                <c:pt idx="1">
                  <c:v>17</c:v>
                </c:pt>
                <c:pt idx="2">
                  <c:v>22</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20.0"/>
          <c:min val="13.60000000000000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23</c:v>
                </c:pt>
                <c:pt idx="2">
                  <c:v>120</c:v>
                </c:pt>
                <c:pt idx="3">
                  <c:v>140</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22</c:v>
                </c:pt>
                <c:pt idx="2">
                  <c:v>119</c:v>
                </c:pt>
                <c:pt idx="3">
                  <c:v>142</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4</c:f>
              <c:numCache>
                <c:formatCode>General</c:formatCode>
                <c:ptCount val="3"/>
                <c:pt idx="0">
                  <c:v>100</c:v>
                </c:pt>
                <c:pt idx="1">
                  <c:v>99</c:v>
                </c:pt>
                <c:pt idx="2">
                  <c:v>249</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298.8"/>
          <c:min val="79.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Amazon</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59</c:v>
                </c:pt>
                <c:pt idx="2">
                  <c:v>196</c:v>
                </c:pt>
                <c:pt idx="3">
                  <c:v>184</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5</c:v>
                </c:pt>
                <c:pt idx="2">
                  <c:v>90</c:v>
                </c:pt>
                <c:pt idx="3">
                  <c:v>94</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81</c:v>
                </c:pt>
                <c:pt idx="2">
                  <c:v>249</c:v>
                </c:pt>
                <c:pt idx="3">
                  <c:v>277</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0</c:v>
                </c:pt>
                <c:pt idx="2">
                  <c:v>80</c:v>
                </c:pt>
                <c:pt idx="3">
                  <c:v>68</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Quattro</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1</c:v>
                </c:pt>
                <c:pt idx="2">
                  <c:v>69</c:v>
                </c:pt>
                <c:pt idx="3">
                  <c:v>5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332.4"/>
          <c:min val="4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98</c:v>
                </c:pt>
                <c:pt idx="2">
                  <c:v>94</c:v>
                </c:pt>
                <c:pt idx="3">
                  <c:v>97</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Amazon</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8</c:v>
                </c:pt>
                <c:pt idx="2">
                  <c:v>105</c:v>
                </c:pt>
                <c:pt idx="3">
                  <c:v>103</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8</c:v>
                </c:pt>
                <c:pt idx="2">
                  <c:v>97</c:v>
                </c:pt>
                <c:pt idx="3">
                  <c:v>97</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5</c:v>
                </c:pt>
                <c:pt idx="2">
                  <c:v>98</c:v>
                </c:pt>
                <c:pt idx="3">
                  <c:v>10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2</c:v>
                </c:pt>
                <c:pt idx="2">
                  <c:v>94</c:v>
                </c:pt>
                <c:pt idx="3">
                  <c:v>95</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Quattro</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14</c:v>
                </c:pt>
                <c:pt idx="2">
                  <c:v>125</c:v>
                </c:pt>
                <c:pt idx="3">
                  <c:v>109</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0.0"/>
          <c:min val="75.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7,369,43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6,460,80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8,989,56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7369435</c:v>
                </c:pt>
                <c:pt idx="1">
                  <c:v>6266166</c:v>
                </c:pt>
                <c:pt idx="2">
                  <c:v>6188218</c:v>
                </c:pt>
                <c:pt idx="3">
                  <c:v>5452124</c:v>
                </c:pt>
                <c:pt idx="4">
                  <c:v>6394831</c:v>
                </c:pt>
                <c:pt idx="5">
                  <c:v>5631497</c:v>
                </c:pt>
                <c:pt idx="6">
                  <c:v>5948146</c:v>
                </c:pt>
                <c:pt idx="7">
                  <c:v>7993665</c:v>
                </c:pt>
                <c:pt idx="8">
                  <c:v>7199787</c:v>
                </c:pt>
                <c:pt idx="9">
                  <c:v>8452795</c:v>
                </c:pt>
                <c:pt idx="10">
                  <c:v>8704926</c:v>
                </c:pt>
                <c:pt idx="11">
                  <c:v>8315124</c:v>
                </c:pt>
                <c:pt idx="12">
                  <c:v>7444752</c:v>
                </c:pt>
                <c:pt idx="13">
                  <c:v>6460808</c:v>
                </c:pt>
                <c:pt idx="14">
                  <c:v>6229707</c:v>
                </c:pt>
                <c:pt idx="15">
                  <c:v>5580007</c:v>
                </c:pt>
                <c:pt idx="16">
                  <c:v>6415978</c:v>
                </c:pt>
                <c:pt idx="17">
                  <c:v>5289982</c:v>
                </c:pt>
                <c:pt idx="18">
                  <c:v>5427101</c:v>
                </c:pt>
                <c:pt idx="19">
                  <c:v>6273881</c:v>
                </c:pt>
                <c:pt idx="20">
                  <c:v>6902965</c:v>
                </c:pt>
                <c:pt idx="21">
                  <c:v>7380731</c:v>
                </c:pt>
                <c:pt idx="22">
                  <c:v>7994547</c:v>
                </c:pt>
                <c:pt idx="23">
                  <c:v>8461793</c:v>
                </c:pt>
                <c:pt idx="24">
                  <c:v>8989562</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8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4.0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3.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87</c:v>
                </c:pt>
                <c:pt idx="1">
                  <c:v>3.75</c:v>
                </c:pt>
                <c:pt idx="2">
                  <c:v>3.54</c:v>
                </c:pt>
                <c:pt idx="3">
                  <c:v>3.42</c:v>
                </c:pt>
                <c:pt idx="4">
                  <c:v>3.77</c:v>
                </c:pt>
                <c:pt idx="5">
                  <c:v>3.64</c:v>
                </c:pt>
                <c:pt idx="6">
                  <c:v>3.37</c:v>
                </c:pt>
                <c:pt idx="7">
                  <c:v>3.76</c:v>
                </c:pt>
                <c:pt idx="8">
                  <c:v>3.72</c:v>
                </c:pt>
                <c:pt idx="9">
                  <c:v>3.79</c:v>
                </c:pt>
                <c:pt idx="10">
                  <c:v>3.72</c:v>
                </c:pt>
                <c:pt idx="11">
                  <c:v>3.87</c:v>
                </c:pt>
                <c:pt idx="12">
                  <c:v>3.95</c:v>
                </c:pt>
                <c:pt idx="13">
                  <c:v>4.09</c:v>
                </c:pt>
                <c:pt idx="14">
                  <c:v>3.68</c:v>
                </c:pt>
                <c:pt idx="15">
                  <c:v>3.72</c:v>
                </c:pt>
                <c:pt idx="16">
                  <c:v>3.85</c:v>
                </c:pt>
                <c:pt idx="17">
                  <c:v>3.87</c:v>
                </c:pt>
                <c:pt idx="18">
                  <c:v>3.76</c:v>
                </c:pt>
                <c:pt idx="19">
                  <c:v>3.84</c:v>
                </c:pt>
                <c:pt idx="20">
                  <c:v>3.51</c:v>
                </c:pt>
                <c:pt idx="21">
                  <c:v>3.54</c:v>
                </c:pt>
                <c:pt idx="22">
                  <c:v>3.7</c:v>
                </c:pt>
                <c:pt idx="23">
                  <c:v>3.69</c:v>
                </c:pt>
                <c:pt idx="24">
                  <c:v>3.24</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92,42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07,43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09,09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92423</c:v>
                </c:pt>
                <c:pt idx="1">
                  <c:v>88835</c:v>
                </c:pt>
                <c:pt idx="2">
                  <c:v>90431</c:v>
                </c:pt>
                <c:pt idx="3">
                  <c:v>87494</c:v>
                </c:pt>
                <c:pt idx="4">
                  <c:v>97151</c:v>
                </c:pt>
                <c:pt idx="5">
                  <c:v>99666</c:v>
                </c:pt>
                <c:pt idx="6">
                  <c:v>94479</c:v>
                </c:pt>
                <c:pt idx="7">
                  <c:v>113285</c:v>
                </c:pt>
                <c:pt idx="8">
                  <c:v>106434</c:v>
                </c:pt>
                <c:pt idx="9">
                  <c:v>107760</c:v>
                </c:pt>
                <c:pt idx="10">
                  <c:v>102820</c:v>
                </c:pt>
                <c:pt idx="11">
                  <c:v>109052</c:v>
                </c:pt>
                <c:pt idx="12">
                  <c:v>113510</c:v>
                </c:pt>
                <c:pt idx="13">
                  <c:v>107433</c:v>
                </c:pt>
                <c:pt idx="14">
                  <c:v>110893</c:v>
                </c:pt>
                <c:pt idx="15">
                  <c:v>103604</c:v>
                </c:pt>
                <c:pt idx="16">
                  <c:v>106751</c:v>
                </c:pt>
                <c:pt idx="17">
                  <c:v>109417</c:v>
                </c:pt>
                <c:pt idx="18">
                  <c:v>108437</c:v>
                </c:pt>
                <c:pt idx="19">
                  <c:v>122280</c:v>
                </c:pt>
                <c:pt idx="20">
                  <c:v>114972</c:v>
                </c:pt>
                <c:pt idx="21">
                  <c:v>117992</c:v>
                </c:pt>
                <c:pt idx="22">
                  <c:v>116259</c:v>
                </c:pt>
                <c:pt idx="23">
                  <c:v>115742</c:v>
                </c:pt>
                <c:pt idx="24">
                  <c:v>109092</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1.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4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2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1.38</c:v>
                </c:pt>
                <c:pt idx="1">
                  <c:v>1.4</c:v>
                </c:pt>
                <c:pt idx="2">
                  <c:v>1.39</c:v>
                </c:pt>
                <c:pt idx="3">
                  <c:v>1.39</c:v>
                </c:pt>
                <c:pt idx="4">
                  <c:v>1.38</c:v>
                </c:pt>
                <c:pt idx="5">
                  <c:v>1.39</c:v>
                </c:pt>
                <c:pt idx="6">
                  <c:v>1.4</c:v>
                </c:pt>
                <c:pt idx="7">
                  <c:v>1.46</c:v>
                </c:pt>
                <c:pt idx="8">
                  <c:v>1.45</c:v>
                </c:pt>
                <c:pt idx="9">
                  <c:v>1.42</c:v>
                </c:pt>
                <c:pt idx="10">
                  <c:v>1.43</c:v>
                </c:pt>
                <c:pt idx="11">
                  <c:v>1.44</c:v>
                </c:pt>
                <c:pt idx="12">
                  <c:v>1.44</c:v>
                </c:pt>
                <c:pt idx="13">
                  <c:v>1.45</c:v>
                </c:pt>
                <c:pt idx="14">
                  <c:v>1.45</c:v>
                </c:pt>
                <c:pt idx="15">
                  <c:v>1.45</c:v>
                </c:pt>
                <c:pt idx="16">
                  <c:v>1.45</c:v>
                </c:pt>
                <c:pt idx="17">
                  <c:v>1.47</c:v>
                </c:pt>
                <c:pt idx="18">
                  <c:v>1.47</c:v>
                </c:pt>
                <c:pt idx="19">
                  <c:v>1.48</c:v>
                </c:pt>
                <c:pt idx="20">
                  <c:v>1.49</c:v>
                </c:pt>
                <c:pt idx="21">
                  <c:v>1.5</c:v>
                </c:pt>
                <c:pt idx="22">
                  <c:v>1.49</c:v>
                </c:pt>
                <c:pt idx="23">
                  <c:v>1.42</c:v>
                </c:pt>
                <c:pt idx="24">
                  <c:v>1.22</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Flamingo</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286</c:v>
                </c:pt>
                <c:pt idx="2">
                  <c:v>890</c:v>
                </c:pt>
                <c:pt idx="3">
                  <c:v>1338</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9</c:v>
                </c:pt>
                <c:pt idx="2">
                  <c:v>95</c:v>
                </c:pt>
                <c:pt idx="3">
                  <c:v>88</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4</c:v>
                </c:pt>
                <c:pt idx="2">
                  <c:v>72</c:v>
                </c:pt>
                <c:pt idx="3">
                  <c:v>59</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8</c:v>
                </c:pt>
                <c:pt idx="2">
                  <c:v>88</c:v>
                </c:pt>
                <c:pt idx="3">
                  <c:v>8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Joy</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9</c:v>
                </c:pt>
                <c:pt idx="2">
                  <c:v>86</c:v>
                </c:pt>
                <c:pt idx="3">
                  <c:v>102</c:v>
                </c:pt>
              </c:numCache>
            </c:numRef>
          </c:val>
          <c:smooth val="0"/>
          <c:extLst>
            <c:ext xmlns:c16="http://schemas.microsoft.com/office/drawing/2014/chart" uri="{C3380CC4-5D6E-409C-BE32-E72D297353CC}">
              <c16:uniqueId val="{00000007-0907-1A4C-A11F-73C2425749BA}"/>
            </c:ext>
          </c:extLst>
        </c:ser>
        <c:ser>
          <c:idx val="9"/>
          <c:order val="6"/>
          <c:tx>
            <c:strRef>
              <c:f>Sheet1!$H$1</c:f>
              <c:strCache>
                <c:ptCount val="1"/>
                <c:pt idx="0">
                  <c:v>Skintimate</c:v>
                </c:pt>
              </c:strCache>
            </c:strRef>
          </c:tx>
          <c:spPr>
            <a:ln w="19050" cap="rnd">
              <a:solidFill>
                <a:srgbClr val="E5F4F3"/>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152</c:v>
                </c:pt>
                <c:pt idx="2">
                  <c:v>129</c:v>
                </c:pt>
                <c:pt idx="3">
                  <c:v>83</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605.6"/>
          <c:min val="47.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8</c:v>
                </c:pt>
                <c:pt idx="2">
                  <c:v>100</c:v>
                </c:pt>
                <c:pt idx="3">
                  <c:v>88</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Flamingo</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62</c:v>
                </c:pt>
                <c:pt idx="2">
                  <c:v>58</c:v>
                </c:pt>
                <c:pt idx="3">
                  <c:v>57</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1</c:v>
                </c:pt>
                <c:pt idx="2">
                  <c:v>119</c:v>
                </c:pt>
                <c:pt idx="3">
                  <c:v>119</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6</c:v>
                </c:pt>
                <c:pt idx="2">
                  <c:v>112</c:v>
                </c:pt>
                <c:pt idx="3">
                  <c:v>107</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9</c:v>
                </c:pt>
                <c:pt idx="2">
                  <c:v>105</c:v>
                </c:pt>
                <c:pt idx="3">
                  <c:v>96</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Joy</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3</c:v>
                </c:pt>
                <c:pt idx="2">
                  <c:v>109</c:v>
                </c:pt>
                <c:pt idx="3">
                  <c:v>106</c:v>
                </c:pt>
              </c:numCache>
            </c:numRef>
          </c:val>
          <c:smooth val="0"/>
          <c:extLst>
            <c:ext xmlns:c16="http://schemas.microsoft.com/office/drawing/2014/chart" uri="{C3380CC4-5D6E-409C-BE32-E72D297353CC}">
              <c16:uniqueId val="{00000003-F160-FB4E-B9E2-3D36233077E3}"/>
            </c:ext>
          </c:extLst>
        </c:ser>
        <c:ser>
          <c:idx val="9"/>
          <c:order val="6"/>
          <c:tx>
            <c:strRef>
              <c:f>Sheet1!$H$1</c:f>
              <c:strCache>
                <c:ptCount val="1"/>
                <c:pt idx="0">
                  <c:v>Skintimate</c:v>
                </c:pt>
              </c:strCache>
            </c:strRef>
          </c:tx>
          <c:spPr>
            <a:ln w="19050" cap="rnd">
              <a:solidFill>
                <a:srgbClr val="E5F4F3"/>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76</c:v>
                </c:pt>
                <c:pt idx="2">
                  <c:v>74</c:v>
                </c:pt>
                <c:pt idx="3">
                  <c:v>7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2.79999999999998"/>
          <c:min val="45.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Noxzema Base</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3</c:f>
              <c:numCache>
                <c:formatCode>General</c:formatCode>
                <c:ptCount val="2"/>
                <c:pt idx="0">
                  <c:v>100</c:v>
                </c:pt>
                <c:pt idx="1">
                  <c:v>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20.0"/>
          <c:min val="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400</c:v>
                </c:pt>
                <c:pt idx="2">
                  <c:v>412</c:v>
                </c:pt>
                <c:pt idx="3">
                  <c:v>178</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Noxzema Base</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3</c:f>
              <c:numCache>
                <c:formatCode>General</c:formatCode>
                <c:ptCount val="2"/>
                <c:pt idx="0">
                  <c:v>100</c:v>
                </c:pt>
                <c:pt idx="1">
                  <c:v>52</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494.4"/>
          <c:min val="41.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Flamingo</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1</c:v>
                </c:pt>
                <c:pt idx="2">
                  <c:v>94</c:v>
                </c:pt>
                <c:pt idx="3">
                  <c:v>109</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6</c:v>
                </c:pt>
                <c:pt idx="2">
                  <c:v>108</c:v>
                </c:pt>
                <c:pt idx="3">
                  <c:v>109</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8</c:v>
                </c:pt>
                <c:pt idx="2">
                  <c:v>97</c:v>
                </c:pt>
                <c:pt idx="3">
                  <c:v>95</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1</c:v>
                </c:pt>
                <c:pt idx="2">
                  <c:v>77</c:v>
                </c:pt>
                <c:pt idx="3">
                  <c:v>64</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Quattro</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86</c:v>
                </c:pt>
                <c:pt idx="2">
                  <c:v>71</c:v>
                </c:pt>
                <c:pt idx="3">
                  <c:v>72</c:v>
                </c:pt>
              </c:numCache>
            </c:numRef>
          </c:val>
          <c:smooth val="0"/>
          <c:extLst>
            <c:ext xmlns:c16="http://schemas.microsoft.com/office/drawing/2014/chart" uri="{C3380CC4-5D6E-409C-BE32-E72D297353CC}">
              <c16:uniqueId val="{00000007-0907-1A4C-A11F-73C2425749BA}"/>
            </c:ext>
          </c:extLst>
        </c:ser>
        <c:ser>
          <c:idx val="9"/>
          <c:order val="6"/>
          <c:tx>
            <c:strRef>
              <c:f>Sheet1!$H$1</c:f>
              <c:strCache>
                <c:ptCount val="1"/>
                <c:pt idx="0">
                  <c:v>Skintimate</c:v>
                </c:pt>
              </c:strCache>
            </c:strRef>
          </c:tx>
          <c:spPr>
            <a:ln w="19050" cap="rnd">
              <a:solidFill>
                <a:srgbClr val="E5F4F3"/>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122</c:v>
                </c:pt>
                <c:pt idx="2">
                  <c:v>38</c:v>
                </c:pt>
                <c:pt idx="3">
                  <c:v>3</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46.4"/>
          <c:min val="2.4000000000000004"/>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8</c:v>
                </c:pt>
                <c:pt idx="2">
                  <c:v>113</c:v>
                </c:pt>
                <c:pt idx="3">
                  <c:v>106</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Flamingo</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7</c:v>
                </c:pt>
                <c:pt idx="2">
                  <c:v>99</c:v>
                </c:pt>
                <c:pt idx="3">
                  <c:v>91</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2</c:v>
                </c:pt>
                <c:pt idx="2">
                  <c:v>110</c:v>
                </c:pt>
                <c:pt idx="3">
                  <c:v>97</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8</c:v>
                </c:pt>
                <c:pt idx="2">
                  <c:v>101</c:v>
                </c:pt>
                <c:pt idx="3">
                  <c:v>97</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5</c:v>
                </c:pt>
                <c:pt idx="2">
                  <c:v>116</c:v>
                </c:pt>
                <c:pt idx="3">
                  <c:v>117</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Quattro</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1</c:v>
                </c:pt>
                <c:pt idx="2">
                  <c:v>106</c:v>
                </c:pt>
                <c:pt idx="3">
                  <c:v>89</c:v>
                </c:pt>
              </c:numCache>
            </c:numRef>
          </c:val>
          <c:smooth val="0"/>
          <c:extLst>
            <c:ext xmlns:c16="http://schemas.microsoft.com/office/drawing/2014/chart" uri="{C3380CC4-5D6E-409C-BE32-E72D297353CC}">
              <c16:uniqueId val="{00000003-F160-FB4E-B9E2-3D36233077E3}"/>
            </c:ext>
          </c:extLst>
        </c:ser>
        <c:ser>
          <c:idx val="9"/>
          <c:order val="6"/>
          <c:tx>
            <c:strRef>
              <c:f>Sheet1!$H$1</c:f>
              <c:strCache>
                <c:ptCount val="1"/>
                <c:pt idx="0">
                  <c:v>Skintimate</c:v>
                </c:pt>
              </c:strCache>
            </c:strRef>
          </c:tx>
          <c:spPr>
            <a:ln w="19050" cap="rnd">
              <a:solidFill>
                <a:srgbClr val="E5F4F3"/>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103</c:v>
                </c:pt>
                <c:pt idx="2">
                  <c:v>111</c:v>
                </c:pt>
                <c:pt idx="3">
                  <c:v>9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0.4"/>
          <c:min val="71.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Flamingo</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7</c:v>
                </c:pt>
                <c:pt idx="2">
                  <c:v>123</c:v>
                </c:pt>
                <c:pt idx="3">
                  <c:v>132</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2</c:v>
                </c:pt>
                <c:pt idx="2">
                  <c:v>103</c:v>
                </c:pt>
                <c:pt idx="3">
                  <c:v>99</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78</c:v>
                </c:pt>
                <c:pt idx="2">
                  <c:v>70</c:v>
                </c:pt>
                <c:pt idx="3">
                  <c:v>67</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0</c:v>
                </c:pt>
                <c:pt idx="2">
                  <c:v>93</c:v>
                </c:pt>
                <c:pt idx="3">
                  <c:v>86</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Quattro</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6</c:v>
                </c:pt>
                <c:pt idx="2">
                  <c:v>82</c:v>
                </c:pt>
                <c:pt idx="3">
                  <c:v>59</c:v>
                </c:pt>
              </c:numCache>
            </c:numRef>
          </c:val>
          <c:smooth val="0"/>
          <c:extLst>
            <c:ext xmlns:c16="http://schemas.microsoft.com/office/drawing/2014/chart" uri="{C3380CC4-5D6E-409C-BE32-E72D297353CC}">
              <c16:uniqueId val="{00000007-0907-1A4C-A11F-73C2425749BA}"/>
            </c:ext>
          </c:extLst>
        </c:ser>
        <c:ser>
          <c:idx val="9"/>
          <c:order val="6"/>
          <c:tx>
            <c:strRef>
              <c:f>Sheet1!$H$1</c:f>
              <c:strCache>
                <c:ptCount val="1"/>
                <c:pt idx="0">
                  <c:v>Skintimate</c:v>
                </c:pt>
              </c:strCache>
            </c:strRef>
          </c:tx>
          <c:spPr>
            <a:ln w="19050" cap="rnd">
              <a:solidFill>
                <a:srgbClr val="E5F4F3"/>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159</c:v>
                </c:pt>
                <c:pt idx="2">
                  <c:v>9</c:v>
                </c:pt>
                <c:pt idx="3">
                  <c:v>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90.79999999999998"/>
          <c:min val="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2</c:v>
                </c:pt>
                <c:pt idx="2">
                  <c:v>102</c:v>
                </c:pt>
                <c:pt idx="3">
                  <c:v>98</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Flamingo</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4</c:v>
                </c:pt>
                <c:pt idx="2">
                  <c:v>105</c:v>
                </c:pt>
                <c:pt idx="3">
                  <c:v>103</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2</c:v>
                </c:pt>
                <c:pt idx="2">
                  <c:v>100</c:v>
                </c:pt>
                <c:pt idx="3">
                  <c:v>104</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7</c:v>
                </c:pt>
                <c:pt idx="2">
                  <c:v>111</c:v>
                </c:pt>
                <c:pt idx="3">
                  <c:v>104</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3</c:v>
                </c:pt>
                <c:pt idx="2">
                  <c:v>108</c:v>
                </c:pt>
                <c:pt idx="3">
                  <c:v>106</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Quattro</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0</c:v>
                </c:pt>
                <c:pt idx="2">
                  <c:v>101</c:v>
                </c:pt>
                <c:pt idx="3">
                  <c:v>70</c:v>
                </c:pt>
              </c:numCache>
            </c:numRef>
          </c:val>
          <c:smooth val="0"/>
          <c:extLst>
            <c:ext xmlns:c16="http://schemas.microsoft.com/office/drawing/2014/chart" uri="{C3380CC4-5D6E-409C-BE32-E72D297353CC}">
              <c16:uniqueId val="{00000003-F160-FB4E-B9E2-3D36233077E3}"/>
            </c:ext>
          </c:extLst>
        </c:ser>
        <c:ser>
          <c:idx val="9"/>
          <c:order val="6"/>
          <c:tx>
            <c:strRef>
              <c:f>Sheet1!$H$1</c:f>
              <c:strCache>
                <c:ptCount val="1"/>
                <c:pt idx="0">
                  <c:v>Skintimate</c:v>
                </c:pt>
              </c:strCache>
            </c:strRef>
          </c:tx>
          <c:spPr>
            <a:ln w="19050" cap="rnd">
              <a:solidFill>
                <a:srgbClr val="E5F4F3"/>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104</c:v>
                </c:pt>
                <c:pt idx="2">
                  <c:v>104</c:v>
                </c:pt>
                <c:pt idx="3">
                  <c:v>55</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3.2"/>
          <c:min val="44.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77</c:v>
                </c:pt>
                <c:pt idx="2">
                  <c:v>62</c:v>
                </c:pt>
                <c:pt idx="3">
                  <c:v>3</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24</c:v>
                </c:pt>
                <c:pt idx="2">
                  <c:v>11</c:v>
                </c:pt>
                <c:pt idx="3">
                  <c:v>19718</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Intuition</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4289241</c:v>
                </c:pt>
                <c:pt idx="2">
                  <c:v>1653024</c:v>
                </c:pt>
                <c:pt idx="3">
                  <c:v>448033</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bg Pl</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4</c:f>
              <c:numCache>
                <c:formatCode>General</c:formatCode>
                <c:ptCount val="3"/>
                <c:pt idx="0">
                  <c:v>100</c:v>
                </c:pt>
                <c:pt idx="1">
                  <c:v>36</c:v>
                </c:pt>
                <c:pt idx="2">
                  <c:v>23</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5147089.2"/>
          <c:min val="2.4000000000000004"/>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63</c:v>
                </c:pt>
                <c:pt idx="2">
                  <c:v>166</c:v>
                </c:pt>
                <c:pt idx="3">
                  <c:v>170</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51</c:v>
                </c:pt>
                <c:pt idx="2">
                  <c:v>150</c:v>
                </c:pt>
                <c:pt idx="3">
                  <c:v>82</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61</c:v>
                </c:pt>
                <c:pt idx="2">
                  <c:v>50</c:v>
                </c:pt>
                <c:pt idx="3">
                  <c:v>54</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Intuition</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9</c:v>
                </c:pt>
                <c:pt idx="2">
                  <c:v>98</c:v>
                </c:pt>
                <c:pt idx="3">
                  <c:v>41</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bg Pl</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4</c:f>
              <c:numCache>
                <c:formatCode>General</c:formatCode>
                <c:ptCount val="3"/>
                <c:pt idx="0">
                  <c:v>100</c:v>
                </c:pt>
                <c:pt idx="1">
                  <c:v>111</c:v>
                </c:pt>
                <c:pt idx="2">
                  <c:v>167</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204.0"/>
          <c:min val="32.800000000000004"/>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813,33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726,69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797,56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813330</c:v>
                </c:pt>
                <c:pt idx="1">
                  <c:v>751864</c:v>
                </c:pt>
                <c:pt idx="2">
                  <c:v>730307</c:v>
                </c:pt>
                <c:pt idx="3">
                  <c:v>675308</c:v>
                </c:pt>
                <c:pt idx="4">
                  <c:v>695781</c:v>
                </c:pt>
                <c:pt idx="5">
                  <c:v>701053</c:v>
                </c:pt>
                <c:pt idx="6">
                  <c:v>651332</c:v>
                </c:pt>
                <c:pt idx="7">
                  <c:v>766774</c:v>
                </c:pt>
                <c:pt idx="8">
                  <c:v>764207</c:v>
                </c:pt>
                <c:pt idx="9">
                  <c:v>818709</c:v>
                </c:pt>
                <c:pt idx="10">
                  <c:v>831988</c:v>
                </c:pt>
                <c:pt idx="11">
                  <c:v>840755</c:v>
                </c:pt>
                <c:pt idx="12">
                  <c:v>793861</c:v>
                </c:pt>
                <c:pt idx="13">
                  <c:v>726699</c:v>
                </c:pt>
                <c:pt idx="14">
                  <c:v>703863</c:v>
                </c:pt>
                <c:pt idx="15">
                  <c:v>657216</c:v>
                </c:pt>
                <c:pt idx="16">
                  <c:v>781488</c:v>
                </c:pt>
                <c:pt idx="17">
                  <c:v>668980</c:v>
                </c:pt>
                <c:pt idx="18">
                  <c:v>668545</c:v>
                </c:pt>
                <c:pt idx="19">
                  <c:v>755725</c:v>
                </c:pt>
                <c:pt idx="20">
                  <c:v>752171</c:v>
                </c:pt>
                <c:pt idx="21">
                  <c:v>806996</c:v>
                </c:pt>
                <c:pt idx="22">
                  <c:v>827152</c:v>
                </c:pt>
                <c:pt idx="23">
                  <c:v>843007</c:v>
                </c:pt>
                <c:pt idx="24">
                  <c:v>797565</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0.9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0.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0.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0.95</c:v>
                </c:pt>
                <c:pt idx="1">
                  <c:v>0.95</c:v>
                </c:pt>
                <c:pt idx="2">
                  <c:v>0.93</c:v>
                </c:pt>
                <c:pt idx="3">
                  <c:v>0.92</c:v>
                </c:pt>
                <c:pt idx="4">
                  <c:v>0.92</c:v>
                </c:pt>
                <c:pt idx="5">
                  <c:v>0.9</c:v>
                </c:pt>
                <c:pt idx="6">
                  <c:v>0.92</c:v>
                </c:pt>
                <c:pt idx="7">
                  <c:v>0.95</c:v>
                </c:pt>
                <c:pt idx="8">
                  <c:v>0.97</c:v>
                </c:pt>
                <c:pt idx="9">
                  <c:v>0.98</c:v>
                </c:pt>
                <c:pt idx="10">
                  <c:v>1.0</c:v>
                </c:pt>
                <c:pt idx="11">
                  <c:v>0.99</c:v>
                </c:pt>
                <c:pt idx="12">
                  <c:v>0.97</c:v>
                </c:pt>
                <c:pt idx="13">
                  <c:v>0.97</c:v>
                </c:pt>
                <c:pt idx="14">
                  <c:v>0.95</c:v>
                </c:pt>
                <c:pt idx="15">
                  <c:v>0.96</c:v>
                </c:pt>
                <c:pt idx="16">
                  <c:v>1.01</c:v>
                </c:pt>
                <c:pt idx="17">
                  <c:v>0.93</c:v>
                </c:pt>
                <c:pt idx="18">
                  <c:v>0.94</c:v>
                </c:pt>
                <c:pt idx="19">
                  <c:v>0.96</c:v>
                </c:pt>
                <c:pt idx="20">
                  <c:v>0.97</c:v>
                </c:pt>
                <c:pt idx="21">
                  <c:v>0.98</c:v>
                </c:pt>
                <c:pt idx="22">
                  <c:v>0.98</c:v>
                </c:pt>
                <c:pt idx="23">
                  <c:v>0.98</c:v>
                </c:pt>
                <c:pt idx="24">
                  <c:v>0.97</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Gillette Venu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1</c:v>
                </c:pt>
                <c:pt idx="2">
                  <c:v>110</c:v>
                </c:pt>
                <c:pt idx="3">
                  <c:v>124</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Hydro Silk</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66</c:v>
                </c:pt>
                <c:pt idx="2">
                  <c:v>66</c:v>
                </c:pt>
                <c:pt idx="3">
                  <c:v>48</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Intuition</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81</c:v>
                </c:pt>
                <c:pt idx="2">
                  <c:v>80</c:v>
                </c:pt>
                <c:pt idx="3">
                  <c:v>7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Joy</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7</c:v>
                </c:pt>
                <c:pt idx="2">
                  <c:v>98</c:v>
                </c:pt>
                <c:pt idx="3">
                  <c:v>106</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Pbg Pl</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74</c:v>
                </c:pt>
                <c:pt idx="2">
                  <c:v>78</c:v>
                </c:pt>
                <c:pt idx="3">
                  <c:v>72</c:v>
                </c:pt>
              </c:numCache>
            </c:numRef>
          </c:val>
          <c:smooth val="0"/>
          <c:extLst>
            <c:ext xmlns:c16="http://schemas.microsoft.com/office/drawing/2014/chart" uri="{C3380CC4-5D6E-409C-BE32-E72D297353CC}">
              <c16:uniqueId val="{00000007-0907-1A4C-A11F-73C2425749BA}"/>
            </c:ext>
          </c:extLst>
        </c:ser>
        <c:ser>
          <c:idx val="9"/>
          <c:order val="6"/>
          <c:tx>
            <c:strRef>
              <c:f>Sheet1!$H$1</c:f>
              <c:strCache>
                <c:ptCount val="1"/>
                <c:pt idx="0">
                  <c:v>Skintimate</c:v>
                </c:pt>
              </c:strCache>
            </c:strRef>
          </c:tx>
          <c:spPr>
            <a:ln w="19050" cap="rnd">
              <a:solidFill>
                <a:srgbClr val="E5F4F3"/>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6</c:v>
                </c:pt>
                <c:pt idx="2">
                  <c:v>0</c:v>
                </c:pt>
                <c:pt idx="3">
                  <c:v>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48.79999999999998"/>
          <c:min val="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23</c:v>
                </c:pt>
                <c:pt idx="2">
                  <c:v>128</c:v>
                </c:pt>
                <c:pt idx="3">
                  <c:v>128</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Gillette Venu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17</c:v>
                </c:pt>
                <c:pt idx="2">
                  <c:v>107</c:v>
                </c:pt>
                <c:pt idx="3">
                  <c:v>107</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Hydro Silk</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9</c:v>
                </c:pt>
                <c:pt idx="2">
                  <c:v>150</c:v>
                </c:pt>
                <c:pt idx="3">
                  <c:v>19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Intuition</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26</c:v>
                </c:pt>
                <c:pt idx="2">
                  <c:v>133</c:v>
                </c:pt>
                <c:pt idx="3">
                  <c:v>131</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Joy</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0</c:v>
                </c:pt>
                <c:pt idx="2">
                  <c:v>103</c:v>
                </c:pt>
                <c:pt idx="3">
                  <c:v>85</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Pbg Pl</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6</c:v>
                </c:pt>
                <c:pt idx="2">
                  <c:v>97</c:v>
                </c:pt>
                <c:pt idx="3">
                  <c:v>97</c:v>
                </c:pt>
              </c:numCache>
            </c:numRef>
          </c:val>
          <c:smooth val="0"/>
          <c:extLst>
            <c:ext xmlns:c16="http://schemas.microsoft.com/office/drawing/2014/chart" uri="{C3380CC4-5D6E-409C-BE32-E72D297353CC}">
              <c16:uniqueId val="{00000003-F160-FB4E-B9E2-3D36233077E3}"/>
            </c:ext>
          </c:extLst>
        </c:ser>
        <c:ser>
          <c:idx val="9"/>
          <c:order val="6"/>
          <c:tx>
            <c:strRef>
              <c:f>Sheet1!$H$1</c:f>
              <c:strCache>
                <c:ptCount val="1"/>
                <c:pt idx="0">
                  <c:v>Skintimate</c:v>
                </c:pt>
              </c:strCache>
            </c:strRef>
          </c:tx>
          <c:spPr>
            <a:ln w="19050" cap="rnd">
              <a:solidFill>
                <a:srgbClr val="E5F4F3"/>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61</c:v>
                </c:pt>
                <c:pt idx="2">
                  <c:v>133</c:v>
                </c:pt>
                <c:pt idx="3">
                  <c:v>16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228.0"/>
          <c:min val="48.800000000000004"/>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Gillette Venu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1</c:v>
                </c:pt>
                <c:pt idx="2">
                  <c:v>84</c:v>
                </c:pt>
                <c:pt idx="3">
                  <c:v>86</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Hydro Silk</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85</c:v>
                </c:pt>
                <c:pt idx="2">
                  <c:v>85</c:v>
                </c:pt>
                <c:pt idx="3">
                  <c:v>68</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Intuition</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0</c:v>
                </c:pt>
                <c:pt idx="2">
                  <c:v>88</c:v>
                </c:pt>
                <c:pt idx="3">
                  <c:v>78</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Joy</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0</c:v>
                </c:pt>
                <c:pt idx="2">
                  <c:v>87</c:v>
                </c:pt>
                <c:pt idx="3">
                  <c:v>77</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Pbg Pl</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77</c:v>
                </c:pt>
                <c:pt idx="2">
                  <c:v>79</c:v>
                </c:pt>
                <c:pt idx="3">
                  <c:v>86</c:v>
                </c:pt>
              </c:numCache>
            </c:numRef>
          </c:val>
          <c:smooth val="0"/>
          <c:extLst>
            <c:ext xmlns:c16="http://schemas.microsoft.com/office/drawing/2014/chart" uri="{C3380CC4-5D6E-409C-BE32-E72D297353CC}">
              <c16:uniqueId val="{00000007-0907-1A4C-A11F-73C2425749BA}"/>
            </c:ext>
          </c:extLst>
        </c:ser>
        <c:ser>
          <c:idx val="9"/>
          <c:order val="6"/>
          <c:tx>
            <c:strRef>
              <c:f>Sheet1!$H$1</c:f>
              <c:strCache>
                <c:ptCount val="1"/>
                <c:pt idx="0">
                  <c:v>Skintimate</c:v>
                </c:pt>
              </c:strCache>
            </c:strRef>
          </c:tx>
          <c:spPr>
            <a:ln w="19050" cap="rnd">
              <a:solidFill>
                <a:srgbClr val="E5F4F3"/>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24</c:v>
                </c:pt>
                <c:pt idx="2">
                  <c:v>1</c:v>
                </c:pt>
                <c:pt idx="3">
                  <c:v>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20.0"/>
          <c:min val="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2</c:v>
                </c:pt>
                <c:pt idx="2">
                  <c:v>101</c:v>
                </c:pt>
                <c:pt idx="3">
                  <c:v>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Gillette Venu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8</c:v>
                </c:pt>
                <c:pt idx="2">
                  <c:v>109</c:v>
                </c:pt>
                <c:pt idx="3">
                  <c:v>11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Hydro Silk</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4</c:v>
                </c:pt>
                <c:pt idx="2">
                  <c:v>106</c:v>
                </c:pt>
                <c:pt idx="3">
                  <c:v>102</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Intuition</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6</c:v>
                </c:pt>
                <c:pt idx="2">
                  <c:v>114</c:v>
                </c:pt>
                <c:pt idx="3">
                  <c:v>114</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Joy</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1</c:v>
                </c:pt>
                <c:pt idx="2">
                  <c:v>103</c:v>
                </c:pt>
                <c:pt idx="3">
                  <c:v>103</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Pbg Pl</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4</c:v>
                </c:pt>
                <c:pt idx="2">
                  <c:v>94</c:v>
                </c:pt>
                <c:pt idx="3">
                  <c:v>94</c:v>
                </c:pt>
              </c:numCache>
            </c:numRef>
          </c:val>
          <c:smooth val="0"/>
          <c:extLst>
            <c:ext xmlns:c16="http://schemas.microsoft.com/office/drawing/2014/chart" uri="{C3380CC4-5D6E-409C-BE32-E72D297353CC}">
              <c16:uniqueId val="{00000003-F160-FB4E-B9E2-3D36233077E3}"/>
            </c:ext>
          </c:extLst>
        </c:ser>
        <c:ser>
          <c:idx val="9"/>
          <c:order val="6"/>
          <c:tx>
            <c:strRef>
              <c:f>Sheet1!$H$1</c:f>
              <c:strCache>
                <c:ptCount val="1"/>
                <c:pt idx="0">
                  <c:v>Skintimate</c:v>
                </c:pt>
              </c:strCache>
            </c:strRef>
          </c:tx>
          <c:spPr>
            <a:ln w="19050" cap="rnd">
              <a:solidFill>
                <a:srgbClr val="E5F4F3"/>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41</c:v>
                </c:pt>
                <c:pt idx="2">
                  <c:v>81</c:v>
                </c:pt>
                <c:pt idx="3">
                  <c:v>5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6.79999999999998"/>
          <c:min val="32.800000000000004"/>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78</c:v>
                </c:pt>
                <c:pt idx="2">
                  <c:v>79</c:v>
                </c:pt>
                <c:pt idx="3">
                  <c:v>71</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20.0"/>
          <c:min val="56.800000000000004"/>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92</c:v>
                </c:pt>
                <c:pt idx="2">
                  <c:v>68</c:v>
                </c:pt>
                <c:pt idx="3">
                  <c:v>95</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3</c:v>
                </c:pt>
                <c:pt idx="2">
                  <c:v>64</c:v>
                </c:pt>
                <c:pt idx="3">
                  <c:v>98</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0.0"/>
          <c:min val="51.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Amazon</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54</c:v>
                </c:pt>
                <c:pt idx="2">
                  <c:v>177</c:v>
                </c:pt>
                <c:pt idx="3">
                  <c:v>163</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0</c:v>
                </c:pt>
                <c:pt idx="2">
                  <c:v>85</c:v>
                </c:pt>
                <c:pt idx="3">
                  <c:v>9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89</c:v>
                </c:pt>
                <c:pt idx="2">
                  <c:v>266</c:v>
                </c:pt>
                <c:pt idx="3">
                  <c:v>289</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80</c:v>
                </c:pt>
                <c:pt idx="2">
                  <c:v>55</c:v>
                </c:pt>
                <c:pt idx="3">
                  <c:v>47</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Quattro</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89</c:v>
                </c:pt>
                <c:pt idx="2">
                  <c:v>65</c:v>
                </c:pt>
                <c:pt idx="3">
                  <c:v>4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346.8"/>
          <c:min val="32.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90</c:v>
                </c:pt>
                <c:pt idx="2">
                  <c:v>91</c:v>
                </c:pt>
                <c:pt idx="3">
                  <c:v>95</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Amazon</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8</c:v>
                </c:pt>
                <c:pt idx="2">
                  <c:v>106</c:v>
                </c:pt>
                <c:pt idx="3">
                  <c:v>103</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3</c:v>
                </c:pt>
                <c:pt idx="2">
                  <c:v>92</c:v>
                </c:pt>
                <c:pt idx="3">
                  <c:v>93</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1</c:v>
                </c:pt>
                <c:pt idx="2">
                  <c:v>95</c:v>
                </c:pt>
                <c:pt idx="3">
                  <c:v>97</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6</c:v>
                </c:pt>
                <c:pt idx="2">
                  <c:v>106</c:v>
                </c:pt>
                <c:pt idx="3">
                  <c:v>111</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Quattro</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11</c:v>
                </c:pt>
                <c:pt idx="2">
                  <c:v>126</c:v>
                </c:pt>
                <c:pt idx="3">
                  <c:v>115</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1.2"/>
          <c:min val="72.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Gillette Venu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8</c:v>
                </c:pt>
                <c:pt idx="2">
                  <c:v>94</c:v>
                </c:pt>
                <c:pt idx="3">
                  <c:v>87</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Hydro Silk</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5</c:v>
                </c:pt>
                <c:pt idx="2">
                  <c:v>86</c:v>
                </c:pt>
                <c:pt idx="3">
                  <c:v>72</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Intuition</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0</c:v>
                </c:pt>
                <c:pt idx="2">
                  <c:v>65</c:v>
                </c:pt>
                <c:pt idx="3">
                  <c:v>64</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Joy</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221</c:v>
                </c:pt>
                <c:pt idx="2">
                  <c:v>245</c:v>
                </c:pt>
                <c:pt idx="3">
                  <c:v>309</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Quattro</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66</c:v>
                </c:pt>
                <c:pt idx="2">
                  <c:v>164</c:v>
                </c:pt>
                <c:pt idx="3">
                  <c:v>174</c:v>
                </c:pt>
              </c:numCache>
            </c:numRef>
          </c:val>
          <c:smooth val="0"/>
          <c:extLst>
            <c:ext xmlns:c16="http://schemas.microsoft.com/office/drawing/2014/chart" uri="{C3380CC4-5D6E-409C-BE32-E72D297353CC}">
              <c16:uniqueId val="{00000007-0907-1A4C-A11F-73C2425749BA}"/>
            </c:ext>
          </c:extLst>
        </c:ser>
        <c:ser>
          <c:idx val="9"/>
          <c:order val="6"/>
          <c:tx>
            <c:strRef>
              <c:f>Sheet1!$H$1</c:f>
              <c:strCache>
                <c:ptCount val="1"/>
                <c:pt idx="0">
                  <c:v>Skintimate</c:v>
                </c:pt>
              </c:strCache>
            </c:strRef>
          </c:tx>
          <c:spPr>
            <a:ln w="19050" cap="rnd">
              <a:solidFill>
                <a:srgbClr val="E5F4F3"/>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154</c:v>
                </c:pt>
                <c:pt idx="2">
                  <c:v>138</c:v>
                </c:pt>
                <c:pt idx="3">
                  <c:v>21</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370.8"/>
          <c:min val="16.8"/>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7</c:v>
                </c:pt>
                <c:pt idx="2">
                  <c:v>99</c:v>
                </c:pt>
                <c:pt idx="3">
                  <c:v>86</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Gillette Venu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10</c:v>
                </c:pt>
                <c:pt idx="2">
                  <c:v>119</c:v>
                </c:pt>
                <c:pt idx="3">
                  <c:v>119</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Hydro Silk</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7</c:v>
                </c:pt>
                <c:pt idx="2">
                  <c:v>114</c:v>
                </c:pt>
                <c:pt idx="3">
                  <c:v>109</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Intuition</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12</c:v>
                </c:pt>
                <c:pt idx="2">
                  <c:v>111</c:v>
                </c:pt>
                <c:pt idx="3">
                  <c:v>96</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Joy</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85</c:v>
                </c:pt>
                <c:pt idx="2">
                  <c:v>109</c:v>
                </c:pt>
                <c:pt idx="3">
                  <c:v>105</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Quattro</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16</c:v>
                </c:pt>
                <c:pt idx="2">
                  <c:v>111</c:v>
                </c:pt>
                <c:pt idx="3">
                  <c:v>91</c:v>
                </c:pt>
              </c:numCache>
            </c:numRef>
          </c:val>
          <c:smooth val="0"/>
          <c:extLst>
            <c:ext xmlns:c16="http://schemas.microsoft.com/office/drawing/2014/chart" uri="{C3380CC4-5D6E-409C-BE32-E72D297353CC}">
              <c16:uniqueId val="{00000003-F160-FB4E-B9E2-3D36233077E3}"/>
            </c:ext>
          </c:extLst>
        </c:ser>
        <c:ser>
          <c:idx val="9"/>
          <c:order val="6"/>
          <c:tx>
            <c:strRef>
              <c:f>Sheet1!$H$1</c:f>
              <c:strCache>
                <c:ptCount val="1"/>
                <c:pt idx="0">
                  <c:v>Skintimate</c:v>
                </c:pt>
              </c:strCache>
            </c:strRef>
          </c:tx>
          <c:spPr>
            <a:ln w="19050" cap="rnd">
              <a:solidFill>
                <a:srgbClr val="E5F4F3"/>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75</c:v>
                </c:pt>
                <c:pt idx="2">
                  <c:v>74</c:v>
                </c:pt>
                <c:pt idx="3">
                  <c:v>81</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2.79999999999998"/>
          <c:min val="59.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613,92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552,62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603,23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613924</c:v>
                </c:pt>
                <c:pt idx="1">
                  <c:v>554660</c:v>
                </c:pt>
                <c:pt idx="2">
                  <c:v>553597</c:v>
                </c:pt>
                <c:pt idx="3">
                  <c:v>530367</c:v>
                </c:pt>
                <c:pt idx="4">
                  <c:v>588811</c:v>
                </c:pt>
                <c:pt idx="5">
                  <c:v>564775</c:v>
                </c:pt>
                <c:pt idx="6">
                  <c:v>515509</c:v>
                </c:pt>
                <c:pt idx="7">
                  <c:v>599997</c:v>
                </c:pt>
                <c:pt idx="8">
                  <c:v>593983</c:v>
                </c:pt>
                <c:pt idx="9">
                  <c:v>623086</c:v>
                </c:pt>
                <c:pt idx="10">
                  <c:v>622904</c:v>
                </c:pt>
                <c:pt idx="11">
                  <c:v>646349</c:v>
                </c:pt>
                <c:pt idx="12">
                  <c:v>616839</c:v>
                </c:pt>
                <c:pt idx="13">
                  <c:v>552626</c:v>
                </c:pt>
                <c:pt idx="14">
                  <c:v>533111</c:v>
                </c:pt>
                <c:pt idx="15">
                  <c:v>506031</c:v>
                </c:pt>
                <c:pt idx="16">
                  <c:v>572892</c:v>
                </c:pt>
                <c:pt idx="17">
                  <c:v>519874</c:v>
                </c:pt>
                <c:pt idx="18">
                  <c:v>516583</c:v>
                </c:pt>
                <c:pt idx="19">
                  <c:v>596443</c:v>
                </c:pt>
                <c:pt idx="20">
                  <c:v>582529</c:v>
                </c:pt>
                <c:pt idx="21">
                  <c:v>615292</c:v>
                </c:pt>
                <c:pt idx="22">
                  <c:v>656336</c:v>
                </c:pt>
                <c:pt idx="23">
                  <c:v>639901</c:v>
                </c:pt>
                <c:pt idx="24">
                  <c:v>603237</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3.6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3.6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91</c:v>
                </c:pt>
                <c:pt idx="1">
                  <c:v>3.88</c:v>
                </c:pt>
                <c:pt idx="2">
                  <c:v>3.82</c:v>
                </c:pt>
                <c:pt idx="3">
                  <c:v>3.68</c:v>
                </c:pt>
                <c:pt idx="4">
                  <c:v>3.18</c:v>
                </c:pt>
                <c:pt idx="5">
                  <c:v>3.36</c:v>
                </c:pt>
                <c:pt idx="6">
                  <c:v>3.59</c:v>
                </c:pt>
                <c:pt idx="7">
                  <c:v>3.71</c:v>
                </c:pt>
                <c:pt idx="8">
                  <c:v>3.66</c:v>
                </c:pt>
                <c:pt idx="9">
                  <c:v>3.71</c:v>
                </c:pt>
                <c:pt idx="10">
                  <c:v>3.72</c:v>
                </c:pt>
                <c:pt idx="11">
                  <c:v>3.68</c:v>
                </c:pt>
                <c:pt idx="12">
                  <c:v>3.65</c:v>
                </c:pt>
                <c:pt idx="13">
                  <c:v>3.67</c:v>
                </c:pt>
                <c:pt idx="14">
                  <c:v>3.64</c:v>
                </c:pt>
                <c:pt idx="15">
                  <c:v>3.6</c:v>
                </c:pt>
                <c:pt idx="16">
                  <c:v>3.35</c:v>
                </c:pt>
                <c:pt idx="17">
                  <c:v>3.56</c:v>
                </c:pt>
                <c:pt idx="18">
                  <c:v>3.6</c:v>
                </c:pt>
                <c:pt idx="19">
                  <c:v>3.64</c:v>
                </c:pt>
                <c:pt idx="20">
                  <c:v>3.59</c:v>
                </c:pt>
                <c:pt idx="21">
                  <c:v>3.61</c:v>
                </c:pt>
                <c:pt idx="22">
                  <c:v>3.67</c:v>
                </c:pt>
                <c:pt idx="23">
                  <c:v>3.64</c:v>
                </c:pt>
                <c:pt idx="24">
                  <c:v>3.61</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Noxzema Base</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3</c:f>
              <c:numCache>
                <c:formatCode>General</c:formatCode>
                <c:ptCount val="2"/>
                <c:pt idx="0">
                  <c:v>100</c:v>
                </c:pt>
                <c:pt idx="1">
                  <c:v>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20.0"/>
          <c:min val="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400</c:v>
                </c:pt>
                <c:pt idx="2">
                  <c:v>412</c:v>
                </c:pt>
                <c:pt idx="3">
                  <c:v>178</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Noxzema Base</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3</c:f>
              <c:numCache>
                <c:formatCode>General</c:formatCode>
                <c:ptCount val="2"/>
                <c:pt idx="0">
                  <c:v>100</c:v>
                </c:pt>
                <c:pt idx="1">
                  <c:v>52</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494.4"/>
          <c:min val="41.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Flamingo</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1</c:v>
                </c:pt>
                <c:pt idx="2">
                  <c:v>94</c:v>
                </c:pt>
                <c:pt idx="3">
                  <c:v>109</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6</c:v>
                </c:pt>
                <c:pt idx="2">
                  <c:v>108</c:v>
                </c:pt>
                <c:pt idx="3">
                  <c:v>109</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8</c:v>
                </c:pt>
                <c:pt idx="2">
                  <c:v>97</c:v>
                </c:pt>
                <c:pt idx="3">
                  <c:v>95</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1</c:v>
                </c:pt>
                <c:pt idx="2">
                  <c:v>77</c:v>
                </c:pt>
                <c:pt idx="3">
                  <c:v>64</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Quattro</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86</c:v>
                </c:pt>
                <c:pt idx="2">
                  <c:v>71</c:v>
                </c:pt>
                <c:pt idx="3">
                  <c:v>72</c:v>
                </c:pt>
              </c:numCache>
            </c:numRef>
          </c:val>
          <c:smooth val="0"/>
          <c:extLst>
            <c:ext xmlns:c16="http://schemas.microsoft.com/office/drawing/2014/chart" uri="{C3380CC4-5D6E-409C-BE32-E72D297353CC}">
              <c16:uniqueId val="{00000007-0907-1A4C-A11F-73C2425749BA}"/>
            </c:ext>
          </c:extLst>
        </c:ser>
        <c:ser>
          <c:idx val="9"/>
          <c:order val="6"/>
          <c:tx>
            <c:strRef>
              <c:f>Sheet1!$H$1</c:f>
              <c:strCache>
                <c:ptCount val="1"/>
                <c:pt idx="0">
                  <c:v>Skintimate</c:v>
                </c:pt>
              </c:strCache>
            </c:strRef>
          </c:tx>
          <c:spPr>
            <a:ln w="19050" cap="rnd">
              <a:solidFill>
                <a:srgbClr val="E5F4F3"/>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122</c:v>
                </c:pt>
                <c:pt idx="2">
                  <c:v>38</c:v>
                </c:pt>
                <c:pt idx="3">
                  <c:v>3</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46.4"/>
          <c:min val="2.4000000000000004"/>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8</c:v>
                </c:pt>
                <c:pt idx="2">
                  <c:v>113</c:v>
                </c:pt>
                <c:pt idx="3">
                  <c:v>106</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Flamingo</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7</c:v>
                </c:pt>
                <c:pt idx="2">
                  <c:v>99</c:v>
                </c:pt>
                <c:pt idx="3">
                  <c:v>91</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2</c:v>
                </c:pt>
                <c:pt idx="2">
                  <c:v>110</c:v>
                </c:pt>
                <c:pt idx="3">
                  <c:v>97</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8</c:v>
                </c:pt>
                <c:pt idx="2">
                  <c:v>101</c:v>
                </c:pt>
                <c:pt idx="3">
                  <c:v>97</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5</c:v>
                </c:pt>
                <c:pt idx="2">
                  <c:v>116</c:v>
                </c:pt>
                <c:pt idx="3">
                  <c:v>117</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Quattro</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1</c:v>
                </c:pt>
                <c:pt idx="2">
                  <c:v>106</c:v>
                </c:pt>
                <c:pt idx="3">
                  <c:v>89</c:v>
                </c:pt>
              </c:numCache>
            </c:numRef>
          </c:val>
          <c:smooth val="0"/>
          <c:extLst>
            <c:ext xmlns:c16="http://schemas.microsoft.com/office/drawing/2014/chart" uri="{C3380CC4-5D6E-409C-BE32-E72D297353CC}">
              <c16:uniqueId val="{00000003-F160-FB4E-B9E2-3D36233077E3}"/>
            </c:ext>
          </c:extLst>
        </c:ser>
        <c:ser>
          <c:idx val="9"/>
          <c:order val="6"/>
          <c:tx>
            <c:strRef>
              <c:f>Sheet1!$H$1</c:f>
              <c:strCache>
                <c:ptCount val="1"/>
                <c:pt idx="0">
                  <c:v>Skintimate</c:v>
                </c:pt>
              </c:strCache>
            </c:strRef>
          </c:tx>
          <c:spPr>
            <a:ln w="19050" cap="rnd">
              <a:solidFill>
                <a:srgbClr val="E5F4F3"/>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103</c:v>
                </c:pt>
                <c:pt idx="2">
                  <c:v>111</c:v>
                </c:pt>
                <c:pt idx="3">
                  <c:v>9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0.4"/>
          <c:min val="71.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Flamingo</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7</c:v>
                </c:pt>
                <c:pt idx="2">
                  <c:v>123</c:v>
                </c:pt>
                <c:pt idx="3">
                  <c:v>132</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2</c:v>
                </c:pt>
                <c:pt idx="2">
                  <c:v>103</c:v>
                </c:pt>
                <c:pt idx="3">
                  <c:v>99</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78</c:v>
                </c:pt>
                <c:pt idx="2">
                  <c:v>70</c:v>
                </c:pt>
                <c:pt idx="3">
                  <c:v>67</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0</c:v>
                </c:pt>
                <c:pt idx="2">
                  <c:v>93</c:v>
                </c:pt>
                <c:pt idx="3">
                  <c:v>86</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Quattro</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6</c:v>
                </c:pt>
                <c:pt idx="2">
                  <c:v>82</c:v>
                </c:pt>
                <c:pt idx="3">
                  <c:v>59</c:v>
                </c:pt>
              </c:numCache>
            </c:numRef>
          </c:val>
          <c:smooth val="0"/>
          <c:extLst>
            <c:ext xmlns:c16="http://schemas.microsoft.com/office/drawing/2014/chart" uri="{C3380CC4-5D6E-409C-BE32-E72D297353CC}">
              <c16:uniqueId val="{00000007-0907-1A4C-A11F-73C2425749BA}"/>
            </c:ext>
          </c:extLst>
        </c:ser>
        <c:ser>
          <c:idx val="9"/>
          <c:order val="6"/>
          <c:tx>
            <c:strRef>
              <c:f>Sheet1!$H$1</c:f>
              <c:strCache>
                <c:ptCount val="1"/>
                <c:pt idx="0">
                  <c:v>Skintimate</c:v>
                </c:pt>
              </c:strCache>
            </c:strRef>
          </c:tx>
          <c:spPr>
            <a:ln w="19050" cap="rnd">
              <a:solidFill>
                <a:srgbClr val="E5F4F3"/>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159</c:v>
                </c:pt>
                <c:pt idx="2">
                  <c:v>9</c:v>
                </c:pt>
                <c:pt idx="3">
                  <c:v>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90.79999999999998"/>
          <c:min val="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2</c:v>
                </c:pt>
                <c:pt idx="2">
                  <c:v>102</c:v>
                </c:pt>
                <c:pt idx="3">
                  <c:v>98</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Flamingo</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4</c:v>
                </c:pt>
                <c:pt idx="2">
                  <c:v>105</c:v>
                </c:pt>
                <c:pt idx="3">
                  <c:v>103</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2</c:v>
                </c:pt>
                <c:pt idx="2">
                  <c:v>100</c:v>
                </c:pt>
                <c:pt idx="3">
                  <c:v>104</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7</c:v>
                </c:pt>
                <c:pt idx="2">
                  <c:v>111</c:v>
                </c:pt>
                <c:pt idx="3">
                  <c:v>104</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3</c:v>
                </c:pt>
                <c:pt idx="2">
                  <c:v>108</c:v>
                </c:pt>
                <c:pt idx="3">
                  <c:v>106</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Quattro</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0</c:v>
                </c:pt>
                <c:pt idx="2">
                  <c:v>101</c:v>
                </c:pt>
                <c:pt idx="3">
                  <c:v>70</c:v>
                </c:pt>
              </c:numCache>
            </c:numRef>
          </c:val>
          <c:smooth val="0"/>
          <c:extLst>
            <c:ext xmlns:c16="http://schemas.microsoft.com/office/drawing/2014/chart" uri="{C3380CC4-5D6E-409C-BE32-E72D297353CC}">
              <c16:uniqueId val="{00000003-F160-FB4E-B9E2-3D36233077E3}"/>
            </c:ext>
          </c:extLst>
        </c:ser>
        <c:ser>
          <c:idx val="9"/>
          <c:order val="6"/>
          <c:tx>
            <c:strRef>
              <c:f>Sheet1!$H$1</c:f>
              <c:strCache>
                <c:ptCount val="1"/>
                <c:pt idx="0">
                  <c:v>Skintimate</c:v>
                </c:pt>
              </c:strCache>
            </c:strRef>
          </c:tx>
          <c:spPr>
            <a:ln w="19050" cap="rnd">
              <a:solidFill>
                <a:srgbClr val="E5F4F3"/>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104</c:v>
                </c:pt>
                <c:pt idx="2">
                  <c:v>104</c:v>
                </c:pt>
                <c:pt idx="3">
                  <c:v>55</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3.2"/>
          <c:min val="44.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76</c:v>
                </c:pt>
                <c:pt idx="2">
                  <c:v>61</c:v>
                </c:pt>
                <c:pt idx="3">
                  <c:v>4</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20.0"/>
          <c:min val="3.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58</c:v>
                </c:pt>
                <c:pt idx="2">
                  <c:v>164</c:v>
                </c:pt>
                <c:pt idx="3">
                  <c:v>171</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45</c:v>
                </c:pt>
                <c:pt idx="2">
                  <c:v>146</c:v>
                </c:pt>
                <c:pt idx="3">
                  <c:v>88</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205.2"/>
          <c:min val="70.4"/>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Gillette Venu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6</c:v>
                </c:pt>
                <c:pt idx="2">
                  <c:v>113</c:v>
                </c:pt>
                <c:pt idx="3">
                  <c:v>134</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Hydro Silk</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70</c:v>
                </c:pt>
                <c:pt idx="2">
                  <c:v>72</c:v>
                </c:pt>
                <c:pt idx="3">
                  <c:v>5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Intuition</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78</c:v>
                </c:pt>
                <c:pt idx="2">
                  <c:v>79</c:v>
                </c:pt>
                <c:pt idx="3">
                  <c:v>66</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Joy</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11</c:v>
                </c:pt>
                <c:pt idx="2">
                  <c:v>106</c:v>
                </c:pt>
                <c:pt idx="3">
                  <c:v>119</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Pbg Pl</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3</c:v>
                </c:pt>
                <c:pt idx="2">
                  <c:v>94</c:v>
                </c:pt>
                <c:pt idx="3">
                  <c:v>85</c:v>
                </c:pt>
              </c:numCache>
            </c:numRef>
          </c:val>
          <c:smooth val="0"/>
          <c:extLst>
            <c:ext xmlns:c16="http://schemas.microsoft.com/office/drawing/2014/chart" uri="{C3380CC4-5D6E-409C-BE32-E72D297353CC}">
              <c16:uniqueId val="{00000007-0907-1A4C-A11F-73C2425749BA}"/>
            </c:ext>
          </c:extLst>
        </c:ser>
        <c:ser>
          <c:idx val="9"/>
          <c:order val="6"/>
          <c:tx>
            <c:strRef>
              <c:f>Sheet1!$H$1</c:f>
              <c:strCache>
                <c:ptCount val="1"/>
                <c:pt idx="0">
                  <c:v>Skintimate</c:v>
                </c:pt>
              </c:strCache>
            </c:strRef>
          </c:tx>
          <c:spPr>
            <a:ln w="19050" cap="rnd">
              <a:solidFill>
                <a:srgbClr val="E5F4F3"/>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2</c:v>
                </c:pt>
                <c:pt idx="2">
                  <c:v>0</c:v>
                </c:pt>
                <c:pt idx="3">
                  <c:v>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60.79999999999998"/>
          <c:min val="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27</c:v>
                </c:pt>
                <c:pt idx="2">
                  <c:v>133</c:v>
                </c:pt>
                <c:pt idx="3">
                  <c:v>132</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Gillette Venu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18</c:v>
                </c:pt>
                <c:pt idx="2">
                  <c:v>112</c:v>
                </c:pt>
                <c:pt idx="3">
                  <c:v>109</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Hydro Silk</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23</c:v>
                </c:pt>
                <c:pt idx="2">
                  <c:v>157</c:v>
                </c:pt>
                <c:pt idx="3">
                  <c:v>203</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Intuition</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25</c:v>
                </c:pt>
                <c:pt idx="2">
                  <c:v>131</c:v>
                </c:pt>
                <c:pt idx="3">
                  <c:v>129</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Joy</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0</c:v>
                </c:pt>
                <c:pt idx="2">
                  <c:v>102</c:v>
                </c:pt>
                <c:pt idx="3">
                  <c:v>82</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Pbg Pl</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8</c:v>
                </c:pt>
                <c:pt idx="2">
                  <c:v>99</c:v>
                </c:pt>
                <c:pt idx="3">
                  <c:v>100</c:v>
                </c:pt>
              </c:numCache>
            </c:numRef>
          </c:val>
          <c:smooth val="0"/>
          <c:extLst>
            <c:ext xmlns:c16="http://schemas.microsoft.com/office/drawing/2014/chart" uri="{C3380CC4-5D6E-409C-BE32-E72D297353CC}">
              <c16:uniqueId val="{00000003-F160-FB4E-B9E2-3D36233077E3}"/>
            </c:ext>
          </c:extLst>
        </c:ser>
        <c:ser>
          <c:idx val="9"/>
          <c:order val="6"/>
          <c:tx>
            <c:strRef>
              <c:f>Sheet1!$H$1</c:f>
              <c:strCache>
                <c:ptCount val="1"/>
                <c:pt idx="0">
                  <c:v>Skintimate</c:v>
                </c:pt>
              </c:strCache>
            </c:strRef>
          </c:tx>
          <c:spPr>
            <a:ln w="19050" cap="rnd">
              <a:solidFill>
                <a:srgbClr val="E5F4F3"/>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70</c:v>
                </c:pt>
                <c:pt idx="2">
                  <c:v>167</c:v>
                </c:pt>
                <c:pt idx="3">
                  <c:v>17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243.6"/>
          <c:min val="56.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915,98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893,54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2,056,06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1915984</c:v>
                </c:pt>
                <c:pt idx="1">
                  <c:v>1722747</c:v>
                </c:pt>
                <c:pt idx="2">
                  <c:v>1682685</c:v>
                </c:pt>
                <c:pt idx="3">
                  <c:v>1658219</c:v>
                </c:pt>
                <c:pt idx="4">
                  <c:v>2110212</c:v>
                </c:pt>
                <c:pt idx="5">
                  <c:v>1685693</c:v>
                </c:pt>
                <c:pt idx="6">
                  <c:v>1622254</c:v>
                </c:pt>
                <c:pt idx="7">
                  <c:v>2021302</c:v>
                </c:pt>
                <c:pt idx="8">
                  <c:v>1871627</c:v>
                </c:pt>
                <c:pt idx="9">
                  <c:v>1844400</c:v>
                </c:pt>
                <c:pt idx="10">
                  <c:v>1816065</c:v>
                </c:pt>
                <c:pt idx="11">
                  <c:v>1952265</c:v>
                </c:pt>
                <c:pt idx="12">
                  <c:v>2082803</c:v>
                </c:pt>
                <c:pt idx="13">
                  <c:v>1893546</c:v>
                </c:pt>
                <c:pt idx="14">
                  <c:v>1968075</c:v>
                </c:pt>
                <c:pt idx="15">
                  <c:v>1835422</c:v>
                </c:pt>
                <c:pt idx="16">
                  <c:v>2097127</c:v>
                </c:pt>
                <c:pt idx="17">
                  <c:v>1851496</c:v>
                </c:pt>
                <c:pt idx="18">
                  <c:v>1837201</c:v>
                </c:pt>
                <c:pt idx="19">
                  <c:v>1959208</c:v>
                </c:pt>
                <c:pt idx="20">
                  <c:v>1874155</c:v>
                </c:pt>
                <c:pt idx="21">
                  <c:v>1999993</c:v>
                </c:pt>
                <c:pt idx="22">
                  <c:v>2013170</c:v>
                </c:pt>
                <c:pt idx="23">
                  <c:v>2091396</c:v>
                </c:pt>
                <c:pt idx="24">
                  <c:v>2056066</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1.5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6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6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1.57</c:v>
                </c:pt>
                <c:pt idx="1">
                  <c:v>1.58</c:v>
                </c:pt>
                <c:pt idx="2">
                  <c:v>1.58</c:v>
                </c:pt>
                <c:pt idx="3">
                  <c:v>1.58</c:v>
                </c:pt>
                <c:pt idx="4">
                  <c:v>1.6</c:v>
                </c:pt>
                <c:pt idx="5">
                  <c:v>1.58</c:v>
                </c:pt>
                <c:pt idx="6">
                  <c:v>1.64</c:v>
                </c:pt>
                <c:pt idx="7">
                  <c:v>1.69</c:v>
                </c:pt>
                <c:pt idx="8">
                  <c:v>1.69</c:v>
                </c:pt>
                <c:pt idx="9">
                  <c:v>1.67</c:v>
                </c:pt>
                <c:pt idx="10">
                  <c:v>1.67</c:v>
                </c:pt>
                <c:pt idx="11">
                  <c:v>1.67</c:v>
                </c:pt>
                <c:pt idx="12">
                  <c:v>1.69</c:v>
                </c:pt>
                <c:pt idx="13">
                  <c:v>1.69</c:v>
                </c:pt>
                <c:pt idx="14">
                  <c:v>1.68</c:v>
                </c:pt>
                <c:pt idx="15">
                  <c:v>1.69</c:v>
                </c:pt>
                <c:pt idx="16">
                  <c:v>1.67</c:v>
                </c:pt>
                <c:pt idx="17">
                  <c:v>1.65</c:v>
                </c:pt>
                <c:pt idx="18">
                  <c:v>1.67</c:v>
                </c:pt>
                <c:pt idx="19">
                  <c:v>1.69</c:v>
                </c:pt>
                <c:pt idx="20">
                  <c:v>1.7</c:v>
                </c:pt>
                <c:pt idx="21">
                  <c:v>1.7</c:v>
                </c:pt>
                <c:pt idx="22">
                  <c:v>1.72</c:v>
                </c:pt>
                <c:pt idx="23">
                  <c:v>1.7</c:v>
                </c:pt>
                <c:pt idx="24">
                  <c:v>1.69</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Gillette Venu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1</c:v>
                </c:pt>
                <c:pt idx="2">
                  <c:v>87</c:v>
                </c:pt>
                <c:pt idx="3">
                  <c:v>89</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Hydro Silk</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86</c:v>
                </c:pt>
                <c:pt idx="2">
                  <c:v>87</c:v>
                </c:pt>
                <c:pt idx="3">
                  <c:v>69</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Intuition</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6</c:v>
                </c:pt>
                <c:pt idx="2">
                  <c:v>87</c:v>
                </c:pt>
                <c:pt idx="3">
                  <c:v>8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Joy</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3</c:v>
                </c:pt>
                <c:pt idx="2">
                  <c:v>89</c:v>
                </c:pt>
                <c:pt idx="3">
                  <c:v>79</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Pbg Pl</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0</c:v>
                </c:pt>
                <c:pt idx="2">
                  <c:v>94</c:v>
                </c:pt>
                <c:pt idx="3">
                  <c:v>105</c:v>
                </c:pt>
              </c:numCache>
            </c:numRef>
          </c:val>
          <c:smooth val="0"/>
          <c:extLst>
            <c:ext xmlns:c16="http://schemas.microsoft.com/office/drawing/2014/chart" uri="{C3380CC4-5D6E-409C-BE32-E72D297353CC}">
              <c16:uniqueId val="{00000007-0907-1A4C-A11F-73C2425749BA}"/>
            </c:ext>
          </c:extLst>
        </c:ser>
        <c:ser>
          <c:idx val="9"/>
          <c:order val="6"/>
          <c:tx>
            <c:strRef>
              <c:f>Sheet1!$H$1</c:f>
              <c:strCache>
                <c:ptCount val="1"/>
                <c:pt idx="0">
                  <c:v>Skintimate</c:v>
                </c:pt>
              </c:strCache>
            </c:strRef>
          </c:tx>
          <c:spPr>
            <a:ln w="19050" cap="rnd">
              <a:solidFill>
                <a:srgbClr val="E5F4F3"/>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28</c:v>
                </c:pt>
                <c:pt idx="2">
                  <c:v>2</c:v>
                </c:pt>
                <c:pt idx="3">
                  <c:v>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26.0"/>
          <c:min val="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1</c:v>
                </c:pt>
                <c:pt idx="2">
                  <c:v>101</c:v>
                </c:pt>
                <c:pt idx="3">
                  <c:v>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Gillette Venu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7</c:v>
                </c:pt>
                <c:pt idx="2">
                  <c:v>108</c:v>
                </c:pt>
                <c:pt idx="3">
                  <c:v>108</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Hydro Silk</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3</c:v>
                </c:pt>
                <c:pt idx="2">
                  <c:v>106</c:v>
                </c:pt>
                <c:pt idx="3">
                  <c:v>102</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Intuition</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3</c:v>
                </c:pt>
                <c:pt idx="2">
                  <c:v>112</c:v>
                </c:pt>
                <c:pt idx="3">
                  <c:v>112</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Joy</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1</c:v>
                </c:pt>
                <c:pt idx="2">
                  <c:v>103</c:v>
                </c:pt>
                <c:pt idx="3">
                  <c:v>103</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Pbg Pl</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7</c:v>
                </c:pt>
                <c:pt idx="2">
                  <c:v>99</c:v>
                </c:pt>
                <c:pt idx="3">
                  <c:v>99</c:v>
                </c:pt>
              </c:numCache>
            </c:numRef>
          </c:val>
          <c:smooth val="0"/>
          <c:extLst>
            <c:ext xmlns:c16="http://schemas.microsoft.com/office/drawing/2014/chart" uri="{C3380CC4-5D6E-409C-BE32-E72D297353CC}">
              <c16:uniqueId val="{00000003-F160-FB4E-B9E2-3D36233077E3}"/>
            </c:ext>
          </c:extLst>
        </c:ser>
        <c:ser>
          <c:idx val="9"/>
          <c:order val="6"/>
          <c:tx>
            <c:strRef>
              <c:f>Sheet1!$H$1</c:f>
              <c:strCache>
                <c:ptCount val="1"/>
                <c:pt idx="0">
                  <c:v>Skintimate</c:v>
                </c:pt>
              </c:strCache>
            </c:strRef>
          </c:tx>
          <c:spPr>
            <a:ln w="19050" cap="rnd">
              <a:solidFill>
                <a:srgbClr val="E5F4F3"/>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40</c:v>
                </c:pt>
                <c:pt idx="2">
                  <c:v>101</c:v>
                </c:pt>
                <c:pt idx="3">
                  <c:v>3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4.4"/>
          <c:min val="24.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30</c:v>
                </c:pt>
                <c:pt idx="2">
                  <c:v>13</c:v>
                </c:pt>
                <c:pt idx="3">
                  <c:v>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20.0"/>
          <c:min val="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19</c:v>
                </c:pt>
                <c:pt idx="2">
                  <c:v>124</c:v>
                </c:pt>
                <c:pt idx="3">
                  <c:v>116</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74</c:v>
                </c:pt>
                <c:pt idx="2">
                  <c:v>73</c:v>
                </c:pt>
                <c:pt idx="3">
                  <c:v>32</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8.79999999999998"/>
          <c:min val="25.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Gillette Venu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78</c:v>
                </c:pt>
                <c:pt idx="2">
                  <c:v>95</c:v>
                </c:pt>
                <c:pt idx="3">
                  <c:v>11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Hydro Silk</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84</c:v>
                </c:pt>
                <c:pt idx="2">
                  <c:v>75</c:v>
                </c:pt>
                <c:pt idx="3">
                  <c:v>56</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Intuition</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86</c:v>
                </c:pt>
                <c:pt idx="2">
                  <c:v>77</c:v>
                </c:pt>
                <c:pt idx="3">
                  <c:v>72</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Joy</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88</c:v>
                </c:pt>
                <c:pt idx="2">
                  <c:v>96</c:v>
                </c:pt>
                <c:pt idx="3">
                  <c:v>104</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Pbg Pl</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1</c:v>
                </c:pt>
                <c:pt idx="2">
                  <c:v>634</c:v>
                </c:pt>
                <c:pt idx="3">
                  <c:v>630</c:v>
                </c:pt>
              </c:numCache>
            </c:numRef>
          </c:val>
          <c:smooth val="0"/>
          <c:extLst>
            <c:ext xmlns:c16="http://schemas.microsoft.com/office/drawing/2014/chart" uri="{C3380CC4-5D6E-409C-BE32-E72D297353CC}">
              <c16:uniqueId val="{00000007-0907-1A4C-A11F-73C2425749BA}"/>
            </c:ext>
          </c:extLst>
        </c:ser>
        <c:ser>
          <c:idx val="9"/>
          <c:order val="6"/>
          <c:tx>
            <c:strRef>
              <c:f>Sheet1!$H$1</c:f>
              <c:strCache>
                <c:ptCount val="1"/>
                <c:pt idx="0">
                  <c:v>Skintimate</c:v>
                </c:pt>
              </c:strCache>
            </c:strRef>
          </c:tx>
          <c:spPr>
            <a:ln w="19050" cap="rnd">
              <a:solidFill>
                <a:srgbClr val="E5F4F3"/>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7</c:v>
                </c:pt>
                <c:pt idx="2">
                  <c:v>0</c:v>
                </c:pt>
                <c:pt idx="3">
                  <c:v>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760.8"/>
          <c:min val="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16</c:v>
                </c:pt>
                <c:pt idx="2">
                  <c:v>120</c:v>
                </c:pt>
                <c:pt idx="3">
                  <c:v>11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Gillette Venu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19</c:v>
                </c:pt>
                <c:pt idx="2">
                  <c:v>116</c:v>
                </c:pt>
                <c:pt idx="3">
                  <c:v>114</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Hydro Silk</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1</c:v>
                </c:pt>
                <c:pt idx="2">
                  <c:v>126</c:v>
                </c:pt>
                <c:pt idx="3">
                  <c:v>156</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Intuition</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15</c:v>
                </c:pt>
                <c:pt idx="2">
                  <c:v>122</c:v>
                </c:pt>
                <c:pt idx="3">
                  <c:v>119</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Joy</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0</c:v>
                </c:pt>
                <c:pt idx="2">
                  <c:v>101</c:v>
                </c:pt>
                <c:pt idx="3">
                  <c:v>86</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Pbg Pl</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2</c:v>
                </c:pt>
                <c:pt idx="2">
                  <c:v>103</c:v>
                </c:pt>
                <c:pt idx="3">
                  <c:v>103</c:v>
                </c:pt>
              </c:numCache>
            </c:numRef>
          </c:val>
          <c:smooth val="0"/>
          <c:extLst>
            <c:ext xmlns:c16="http://schemas.microsoft.com/office/drawing/2014/chart" uri="{C3380CC4-5D6E-409C-BE32-E72D297353CC}">
              <c16:uniqueId val="{00000003-F160-FB4E-B9E2-3D36233077E3}"/>
            </c:ext>
          </c:extLst>
        </c:ser>
        <c:ser>
          <c:idx val="9"/>
          <c:order val="6"/>
          <c:tx>
            <c:strRef>
              <c:f>Sheet1!$H$1</c:f>
              <c:strCache>
                <c:ptCount val="1"/>
                <c:pt idx="0">
                  <c:v>Skintimate</c:v>
                </c:pt>
              </c:strCache>
            </c:strRef>
          </c:tx>
          <c:spPr>
            <a:ln w="19050" cap="rnd">
              <a:solidFill>
                <a:srgbClr val="E5F4F3"/>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75</c:v>
                </c:pt>
                <c:pt idx="2">
                  <c:v>235</c:v>
                </c:pt>
                <c:pt idx="3">
                  <c:v>113</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282.0"/>
          <c:min val="6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Gillette Venu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88</c:v>
                </c:pt>
                <c:pt idx="2">
                  <c:v>78</c:v>
                </c:pt>
                <c:pt idx="3">
                  <c:v>81</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Hydro Silk</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89</c:v>
                </c:pt>
                <c:pt idx="2">
                  <c:v>77</c:v>
                </c:pt>
                <c:pt idx="3">
                  <c:v>64</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Intuition</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4</c:v>
                </c:pt>
                <c:pt idx="2">
                  <c:v>80</c:v>
                </c:pt>
                <c:pt idx="3">
                  <c:v>7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Joy</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0</c:v>
                </c:pt>
                <c:pt idx="2">
                  <c:v>89</c:v>
                </c:pt>
                <c:pt idx="3">
                  <c:v>81</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Pbg Pl</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11</c:v>
                </c:pt>
                <c:pt idx="2">
                  <c:v>584</c:v>
                </c:pt>
                <c:pt idx="3">
                  <c:v>749</c:v>
                </c:pt>
              </c:numCache>
            </c:numRef>
          </c:val>
          <c:smooth val="0"/>
          <c:extLst>
            <c:ext xmlns:c16="http://schemas.microsoft.com/office/drawing/2014/chart" uri="{C3380CC4-5D6E-409C-BE32-E72D297353CC}">
              <c16:uniqueId val="{00000007-0907-1A4C-A11F-73C2425749BA}"/>
            </c:ext>
          </c:extLst>
        </c:ser>
        <c:ser>
          <c:idx val="9"/>
          <c:order val="6"/>
          <c:tx>
            <c:strRef>
              <c:f>Sheet1!$H$1</c:f>
              <c:strCache>
                <c:ptCount val="1"/>
                <c:pt idx="0">
                  <c:v>Skintimate</c:v>
                </c:pt>
              </c:strCache>
            </c:strRef>
          </c:tx>
          <c:spPr>
            <a:ln w="19050" cap="rnd">
              <a:solidFill>
                <a:srgbClr val="E5F4F3"/>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4</c:f>
              <c:numCache>
                <c:formatCode>General</c:formatCode>
                <c:ptCount val="3"/>
                <c:pt idx="0">
                  <c:v>100</c:v>
                </c:pt>
                <c:pt idx="1">
                  <c:v>45</c:v>
                </c:pt>
                <c:pt idx="2">
                  <c:v>1</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898.8"/>
          <c:min val="0.8"/>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2</c:v>
                </c:pt>
                <c:pt idx="2">
                  <c:v>97</c:v>
                </c:pt>
                <c:pt idx="3">
                  <c:v>95</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Gillette Venu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12</c:v>
                </c:pt>
                <c:pt idx="2">
                  <c:v>113</c:v>
                </c:pt>
                <c:pt idx="3">
                  <c:v>116</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Hydro Silk</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4</c:v>
                </c:pt>
                <c:pt idx="2">
                  <c:v>109</c:v>
                </c:pt>
                <c:pt idx="3">
                  <c:v>107</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Intuition</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5</c:v>
                </c:pt>
                <c:pt idx="2">
                  <c:v>109</c:v>
                </c:pt>
                <c:pt idx="3">
                  <c:v>116</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Joy</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1</c:v>
                </c:pt>
                <c:pt idx="2">
                  <c:v>102</c:v>
                </c:pt>
                <c:pt idx="3">
                  <c:v>102</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Pbg Pl</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5</c:v>
                </c:pt>
                <c:pt idx="2">
                  <c:v>105</c:v>
                </c:pt>
                <c:pt idx="3">
                  <c:v>105</c:v>
                </c:pt>
              </c:numCache>
            </c:numRef>
          </c:val>
          <c:smooth val="0"/>
          <c:extLst>
            <c:ext xmlns:c16="http://schemas.microsoft.com/office/drawing/2014/chart" uri="{C3380CC4-5D6E-409C-BE32-E72D297353CC}">
              <c16:uniqueId val="{00000003-F160-FB4E-B9E2-3D36233077E3}"/>
            </c:ext>
          </c:extLst>
        </c:ser>
        <c:ser>
          <c:idx val="9"/>
          <c:order val="6"/>
          <c:tx>
            <c:strRef>
              <c:f>Sheet1!$H$1</c:f>
              <c:strCache>
                <c:ptCount val="1"/>
                <c:pt idx="0">
                  <c:v>Skintimate</c:v>
                </c:pt>
              </c:strCache>
            </c:strRef>
          </c:tx>
          <c:spPr>
            <a:ln w="19050" cap="rnd">
              <a:solidFill>
                <a:srgbClr val="E5F4F3"/>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4</c:f>
              <c:numCache>
                <c:formatCode>General</c:formatCode>
                <c:ptCount val="3"/>
                <c:pt idx="0">
                  <c:v>100</c:v>
                </c:pt>
                <c:pt idx="1">
                  <c:v>42</c:v>
                </c:pt>
                <c:pt idx="2">
                  <c:v>107</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9.2"/>
          <c:min val="33.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77</c:v>
                </c:pt>
                <c:pt idx="2">
                  <c:v>63</c:v>
                </c:pt>
                <c:pt idx="3">
                  <c:v>3</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7</c:v>
                </c:pt>
                <c:pt idx="2">
                  <c:v>8</c:v>
                </c:pt>
                <c:pt idx="3">
                  <c:v>19041</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Intuition</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3478786</c:v>
                </c:pt>
                <c:pt idx="2">
                  <c:v>1308638</c:v>
                </c:pt>
                <c:pt idx="3">
                  <c:v>323456</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bg Pl</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4</c:f>
              <c:numCache>
                <c:formatCode>General</c:formatCode>
                <c:ptCount val="3"/>
                <c:pt idx="0">
                  <c:v>100</c:v>
                </c:pt>
                <c:pt idx="1">
                  <c:v>35</c:v>
                </c:pt>
                <c:pt idx="2">
                  <c:v>22</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4174543.1999999997"/>
          <c:min val="2.4000000000000004"/>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66</c:v>
                </c:pt>
                <c:pt idx="2">
                  <c:v>168</c:v>
                </c:pt>
                <c:pt idx="3">
                  <c:v>171</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54</c:v>
                </c:pt>
                <c:pt idx="2">
                  <c:v>152</c:v>
                </c:pt>
                <c:pt idx="3">
                  <c:v>82</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69</c:v>
                </c:pt>
                <c:pt idx="2">
                  <c:v>81</c:v>
                </c:pt>
                <c:pt idx="3">
                  <c:v>53</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Intuition</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9</c:v>
                </c:pt>
                <c:pt idx="2">
                  <c:v>98</c:v>
                </c:pt>
                <c:pt idx="3">
                  <c:v>42</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bg Pl</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4</c:f>
              <c:numCache>
                <c:formatCode>General</c:formatCode>
                <c:ptCount val="3"/>
                <c:pt idx="0">
                  <c:v>100</c:v>
                </c:pt>
                <c:pt idx="1">
                  <c:v>111</c:v>
                </c:pt>
                <c:pt idx="2">
                  <c:v>167</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205.2"/>
          <c:min val="33.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3,051,16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0,617,99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2,548,61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13051166</c:v>
                </c:pt>
                <c:pt idx="1">
                  <c:v>11117421</c:v>
                </c:pt>
                <c:pt idx="2">
                  <c:v>11037472</c:v>
                </c:pt>
                <c:pt idx="3">
                  <c:v>10405147</c:v>
                </c:pt>
                <c:pt idx="4">
                  <c:v>11957947</c:v>
                </c:pt>
                <c:pt idx="5">
                  <c:v>9508870</c:v>
                </c:pt>
                <c:pt idx="6">
                  <c:v>9375641</c:v>
                </c:pt>
                <c:pt idx="7">
                  <c:v>10926867</c:v>
                </c:pt>
                <c:pt idx="8">
                  <c:v>10896790</c:v>
                </c:pt>
                <c:pt idx="9">
                  <c:v>12350420</c:v>
                </c:pt>
                <c:pt idx="10">
                  <c:v>13228403</c:v>
                </c:pt>
                <c:pt idx="11">
                  <c:v>13400638</c:v>
                </c:pt>
                <c:pt idx="12">
                  <c:v>12590554</c:v>
                </c:pt>
                <c:pt idx="13">
                  <c:v>10617990</c:v>
                </c:pt>
                <c:pt idx="14">
                  <c:v>10516229</c:v>
                </c:pt>
                <c:pt idx="15">
                  <c:v>10151875</c:v>
                </c:pt>
                <c:pt idx="16">
                  <c:v>12912626</c:v>
                </c:pt>
                <c:pt idx="17">
                  <c:v>9415689</c:v>
                </c:pt>
                <c:pt idx="18">
                  <c:v>9643876</c:v>
                </c:pt>
                <c:pt idx="19">
                  <c:v>10970084</c:v>
                </c:pt>
                <c:pt idx="20">
                  <c:v>10824809</c:v>
                </c:pt>
                <c:pt idx="21">
                  <c:v>12125850</c:v>
                </c:pt>
                <c:pt idx="22">
                  <c:v>13273572</c:v>
                </c:pt>
                <c:pt idx="23">
                  <c:v>13245543</c:v>
                </c:pt>
                <c:pt idx="24">
                  <c:v>12548618</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1.0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0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1.03</c:v>
                </c:pt>
                <c:pt idx="1">
                  <c:v>1.02</c:v>
                </c:pt>
                <c:pt idx="2">
                  <c:v>1.01</c:v>
                </c:pt>
                <c:pt idx="3">
                  <c:v>0.99</c:v>
                </c:pt>
                <c:pt idx="4">
                  <c:v>1.0</c:v>
                </c:pt>
                <c:pt idx="5">
                  <c:v>0.98</c:v>
                </c:pt>
                <c:pt idx="6">
                  <c:v>1.02</c:v>
                </c:pt>
                <c:pt idx="7">
                  <c:v>1.04</c:v>
                </c:pt>
                <c:pt idx="8">
                  <c:v>1.06</c:v>
                </c:pt>
                <c:pt idx="9">
                  <c:v>1.09</c:v>
                </c:pt>
                <c:pt idx="10">
                  <c:v>1.1</c:v>
                </c:pt>
                <c:pt idx="11">
                  <c:v>1.09</c:v>
                </c:pt>
                <c:pt idx="12">
                  <c:v>1.08</c:v>
                </c:pt>
                <c:pt idx="13">
                  <c:v>1.07</c:v>
                </c:pt>
                <c:pt idx="14">
                  <c:v>1.06</c:v>
                </c:pt>
                <c:pt idx="15">
                  <c:v>1.07</c:v>
                </c:pt>
                <c:pt idx="16">
                  <c:v>1.12</c:v>
                </c:pt>
                <c:pt idx="17">
                  <c:v>1.01</c:v>
                </c:pt>
                <c:pt idx="18">
                  <c:v>1.01</c:v>
                </c:pt>
                <c:pt idx="19">
                  <c:v>1.03</c:v>
                </c:pt>
                <c:pt idx="20">
                  <c:v>1.04</c:v>
                </c:pt>
                <c:pt idx="21">
                  <c:v>1.06</c:v>
                </c:pt>
                <c:pt idx="22">
                  <c:v>1.09</c:v>
                </c:pt>
                <c:pt idx="23">
                  <c:v>1.07</c:v>
                </c:pt>
                <c:pt idx="24">
                  <c:v>1.05</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Gillette Venu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1</c:v>
                </c:pt>
                <c:pt idx="2">
                  <c:v>111</c:v>
                </c:pt>
                <c:pt idx="3">
                  <c:v>123</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Hydro Silk</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65</c:v>
                </c:pt>
                <c:pt idx="2">
                  <c:v>65</c:v>
                </c:pt>
                <c:pt idx="3">
                  <c:v>47</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Intuition</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82</c:v>
                </c:pt>
                <c:pt idx="2">
                  <c:v>80</c:v>
                </c:pt>
                <c:pt idx="3">
                  <c:v>7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Joy</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7</c:v>
                </c:pt>
                <c:pt idx="2">
                  <c:v>97</c:v>
                </c:pt>
                <c:pt idx="3">
                  <c:v>105</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Pbg Pl</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71</c:v>
                </c:pt>
                <c:pt idx="2">
                  <c:v>71</c:v>
                </c:pt>
                <c:pt idx="3">
                  <c:v>66</c:v>
                </c:pt>
              </c:numCache>
            </c:numRef>
          </c:val>
          <c:smooth val="0"/>
          <c:extLst>
            <c:ext xmlns:c16="http://schemas.microsoft.com/office/drawing/2014/chart" uri="{C3380CC4-5D6E-409C-BE32-E72D297353CC}">
              <c16:uniqueId val="{00000007-0907-1A4C-A11F-73C2425749BA}"/>
            </c:ext>
          </c:extLst>
        </c:ser>
        <c:ser>
          <c:idx val="9"/>
          <c:order val="6"/>
          <c:tx>
            <c:strRef>
              <c:f>Sheet1!$H$1</c:f>
              <c:strCache>
                <c:ptCount val="1"/>
                <c:pt idx="0">
                  <c:v>Skintimate</c:v>
                </c:pt>
              </c:strCache>
            </c:strRef>
          </c:tx>
          <c:spPr>
            <a:ln w="19050" cap="rnd">
              <a:solidFill>
                <a:srgbClr val="E5F4F3"/>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7</c:v>
                </c:pt>
                <c:pt idx="2">
                  <c:v>0</c:v>
                </c:pt>
                <c:pt idx="3">
                  <c:v>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47.6"/>
          <c:min val="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23</c:v>
                </c:pt>
                <c:pt idx="2">
                  <c:v>128</c:v>
                </c:pt>
                <c:pt idx="3">
                  <c:v>128</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Gillette Venu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17</c:v>
                </c:pt>
                <c:pt idx="2">
                  <c:v>106</c:v>
                </c:pt>
                <c:pt idx="3">
                  <c:v>106</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Hydro Silk</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9</c:v>
                </c:pt>
                <c:pt idx="2">
                  <c:v>149</c:v>
                </c:pt>
                <c:pt idx="3">
                  <c:v>19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Intuition</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27</c:v>
                </c:pt>
                <c:pt idx="2">
                  <c:v>134</c:v>
                </c:pt>
                <c:pt idx="3">
                  <c:v>132</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Joy</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0</c:v>
                </c:pt>
                <c:pt idx="2">
                  <c:v>103</c:v>
                </c:pt>
                <c:pt idx="3">
                  <c:v>85</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Pbg Pl</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6</c:v>
                </c:pt>
                <c:pt idx="2">
                  <c:v>97</c:v>
                </c:pt>
                <c:pt idx="3">
                  <c:v>97</c:v>
                </c:pt>
              </c:numCache>
            </c:numRef>
          </c:val>
          <c:smooth val="0"/>
          <c:extLst>
            <c:ext xmlns:c16="http://schemas.microsoft.com/office/drawing/2014/chart" uri="{C3380CC4-5D6E-409C-BE32-E72D297353CC}">
              <c16:uniqueId val="{00000003-F160-FB4E-B9E2-3D36233077E3}"/>
            </c:ext>
          </c:extLst>
        </c:ser>
        <c:ser>
          <c:idx val="9"/>
          <c:order val="6"/>
          <c:tx>
            <c:strRef>
              <c:f>Sheet1!$H$1</c:f>
              <c:strCache>
                <c:ptCount val="1"/>
                <c:pt idx="0">
                  <c:v>Skintimate</c:v>
                </c:pt>
              </c:strCache>
            </c:strRef>
          </c:tx>
          <c:spPr>
            <a:ln w="19050" cap="rnd">
              <a:solidFill>
                <a:srgbClr val="E5F4F3"/>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60</c:v>
                </c:pt>
                <c:pt idx="2">
                  <c:v>127</c:v>
                </c:pt>
                <c:pt idx="3">
                  <c:v>159</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228.0"/>
          <c:min val="48.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Gillette Venu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1</c:v>
                </c:pt>
                <c:pt idx="2">
                  <c:v>84</c:v>
                </c:pt>
                <c:pt idx="3">
                  <c:v>86</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Hydro Silk</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85</c:v>
                </c:pt>
                <c:pt idx="2">
                  <c:v>85</c:v>
                </c:pt>
                <c:pt idx="3">
                  <c:v>68</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Intuition</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1</c:v>
                </c:pt>
                <c:pt idx="2">
                  <c:v>89</c:v>
                </c:pt>
                <c:pt idx="3">
                  <c:v>78</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Joy</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0</c:v>
                </c:pt>
                <c:pt idx="2">
                  <c:v>86</c:v>
                </c:pt>
                <c:pt idx="3">
                  <c:v>77</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Pbg Pl</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75</c:v>
                </c:pt>
                <c:pt idx="2">
                  <c:v>74</c:v>
                </c:pt>
                <c:pt idx="3">
                  <c:v>80</c:v>
                </c:pt>
              </c:numCache>
            </c:numRef>
          </c:val>
          <c:smooth val="0"/>
          <c:extLst>
            <c:ext xmlns:c16="http://schemas.microsoft.com/office/drawing/2014/chart" uri="{C3380CC4-5D6E-409C-BE32-E72D297353CC}">
              <c16:uniqueId val="{00000007-0907-1A4C-A11F-73C2425749BA}"/>
            </c:ext>
          </c:extLst>
        </c:ser>
        <c:ser>
          <c:idx val="9"/>
          <c:order val="6"/>
          <c:tx>
            <c:strRef>
              <c:f>Sheet1!$H$1</c:f>
              <c:strCache>
                <c:ptCount val="1"/>
                <c:pt idx="0">
                  <c:v>Skintimate</c:v>
                </c:pt>
              </c:strCache>
            </c:strRef>
          </c:tx>
          <c:spPr>
            <a:ln w="19050" cap="rnd">
              <a:solidFill>
                <a:srgbClr val="E5F4F3"/>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23</c:v>
                </c:pt>
                <c:pt idx="2">
                  <c:v>0</c:v>
                </c:pt>
                <c:pt idx="3">
                  <c:v>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21.19999999999999"/>
          <c:min val="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2</c:v>
                </c:pt>
                <c:pt idx="2">
                  <c:v>102</c:v>
                </c:pt>
                <c:pt idx="3">
                  <c:v>100</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Gillette Venu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8</c:v>
                </c:pt>
                <c:pt idx="2">
                  <c:v>109</c:v>
                </c:pt>
                <c:pt idx="3">
                  <c:v>11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Hydro Silk</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4</c:v>
                </c:pt>
                <c:pt idx="2">
                  <c:v>105</c:v>
                </c:pt>
                <c:pt idx="3">
                  <c:v>102</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Intuition</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6</c:v>
                </c:pt>
                <c:pt idx="2">
                  <c:v>114</c:v>
                </c:pt>
                <c:pt idx="3">
                  <c:v>114</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Joy</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1</c:v>
                </c:pt>
                <c:pt idx="2">
                  <c:v>103</c:v>
                </c:pt>
                <c:pt idx="3">
                  <c:v>103</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Pbg Pl</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3</c:v>
                </c:pt>
                <c:pt idx="2">
                  <c:v>94</c:v>
                </c:pt>
                <c:pt idx="3">
                  <c:v>93</c:v>
                </c:pt>
              </c:numCache>
            </c:numRef>
          </c:val>
          <c:smooth val="0"/>
          <c:extLst>
            <c:ext xmlns:c16="http://schemas.microsoft.com/office/drawing/2014/chart" uri="{C3380CC4-5D6E-409C-BE32-E72D297353CC}">
              <c16:uniqueId val="{00000003-F160-FB4E-B9E2-3D36233077E3}"/>
            </c:ext>
          </c:extLst>
        </c:ser>
        <c:ser>
          <c:idx val="9"/>
          <c:order val="6"/>
          <c:tx>
            <c:strRef>
              <c:f>Sheet1!$H$1</c:f>
              <c:strCache>
                <c:ptCount val="1"/>
                <c:pt idx="0">
                  <c:v>Skintimate</c:v>
                </c:pt>
              </c:strCache>
            </c:strRef>
          </c:tx>
          <c:spPr>
            <a:ln w="19050" cap="rnd">
              <a:solidFill>
                <a:srgbClr val="E5F4F3"/>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41</c:v>
                </c:pt>
                <c:pt idx="2">
                  <c:v>73</c:v>
                </c:pt>
                <c:pt idx="3">
                  <c:v>61</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6.79999999999998"/>
          <c:min val="32.800000000000004"/>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0</c:v>
                </c:pt>
                <c:pt idx="2">
                  <c:v>100</c:v>
                </c:pt>
                <c:pt idx="3">
                  <c:v>83</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4</c:f>
              <c:numCache>
                <c:formatCode>General</c:formatCode>
                <c:ptCount val="3"/>
                <c:pt idx="0">
                  <c:v>100</c:v>
                </c:pt>
                <c:pt idx="1">
                  <c:v>17</c:v>
                </c:pt>
                <c:pt idx="2">
                  <c:v>31</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20.0"/>
          <c:min val="13.60000000000000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26</c:v>
                </c:pt>
                <c:pt idx="2">
                  <c:v>136</c:v>
                </c:pt>
                <c:pt idx="3">
                  <c:v>124</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26</c:v>
                </c:pt>
                <c:pt idx="2">
                  <c:v>136</c:v>
                </c:pt>
                <c:pt idx="3">
                  <c:v>122</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4</c:f>
              <c:numCache>
                <c:formatCode>General</c:formatCode>
                <c:ptCount val="3"/>
                <c:pt idx="0">
                  <c:v>100</c:v>
                </c:pt>
                <c:pt idx="1">
                  <c:v>99</c:v>
                </c:pt>
                <c:pt idx="2">
                  <c:v>249</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298.8"/>
          <c:min val="79.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Flamingo</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37</c:v>
                </c:pt>
                <c:pt idx="2">
                  <c:v>180</c:v>
                </c:pt>
                <c:pt idx="3">
                  <c:v>255</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2</c:v>
                </c:pt>
                <c:pt idx="2">
                  <c:v>92</c:v>
                </c:pt>
                <c:pt idx="3">
                  <c:v>85</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43</c:v>
                </c:pt>
                <c:pt idx="2">
                  <c:v>120</c:v>
                </c:pt>
                <c:pt idx="3">
                  <c:v>128</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9</c:v>
                </c:pt>
                <c:pt idx="2">
                  <c:v>110</c:v>
                </c:pt>
                <c:pt idx="3">
                  <c:v>10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Quattro</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5</c:v>
                </c:pt>
                <c:pt idx="2">
                  <c:v>73</c:v>
                </c:pt>
                <c:pt idx="3">
                  <c:v>93</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306.0"/>
          <c:min val="58.40000000000000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11</c:v>
                </c:pt>
                <c:pt idx="2">
                  <c:v>98</c:v>
                </c:pt>
                <c:pt idx="3">
                  <c:v>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Flamingo</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0</c:v>
                </c:pt>
                <c:pt idx="2">
                  <c:v>100</c:v>
                </c:pt>
                <c:pt idx="3">
                  <c:v>104</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7</c:v>
                </c:pt>
                <c:pt idx="2">
                  <c:v>121</c:v>
                </c:pt>
                <c:pt idx="3">
                  <c:v>111</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22</c:v>
                </c:pt>
                <c:pt idx="2">
                  <c:v>105</c:v>
                </c:pt>
                <c:pt idx="3">
                  <c:v>104</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2</c:v>
                </c:pt>
                <c:pt idx="2">
                  <c:v>92</c:v>
                </c:pt>
                <c:pt idx="3">
                  <c:v>92</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Quattro</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28</c:v>
                </c:pt>
                <c:pt idx="2">
                  <c:v>118</c:v>
                </c:pt>
                <c:pt idx="3">
                  <c:v>99</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3.6"/>
          <c:min val="73.6000000000000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Flamingo</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7</c:v>
                </c:pt>
                <c:pt idx="2">
                  <c:v>182</c:v>
                </c:pt>
                <c:pt idx="3">
                  <c:v>384</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241</c:v>
                </c:pt>
                <c:pt idx="2">
                  <c:v>271</c:v>
                </c:pt>
                <c:pt idx="3">
                  <c:v>268</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48</c:v>
                </c:pt>
                <c:pt idx="2">
                  <c:v>22</c:v>
                </c:pt>
                <c:pt idx="3">
                  <c:v>19</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89</c:v>
                </c:pt>
                <c:pt idx="2">
                  <c:v>90</c:v>
                </c:pt>
                <c:pt idx="3">
                  <c:v>7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Joy</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54</c:v>
                </c:pt>
                <c:pt idx="2">
                  <c:v>35</c:v>
                </c:pt>
                <c:pt idx="3">
                  <c:v>36</c:v>
                </c:pt>
              </c:numCache>
            </c:numRef>
          </c:val>
          <c:smooth val="0"/>
          <c:extLst>
            <c:ext xmlns:c16="http://schemas.microsoft.com/office/drawing/2014/chart" uri="{C3380CC4-5D6E-409C-BE32-E72D297353CC}">
              <c16:uniqueId val="{00000007-0907-1A4C-A11F-73C2425749BA}"/>
            </c:ext>
          </c:extLst>
        </c:ser>
        <c:ser>
          <c:idx val="9"/>
          <c:order val="6"/>
          <c:tx>
            <c:strRef>
              <c:f>Sheet1!$H$1</c:f>
              <c:strCache>
                <c:ptCount val="1"/>
                <c:pt idx="0">
                  <c:v>Quattro</c:v>
                </c:pt>
              </c:strCache>
            </c:strRef>
          </c:tx>
          <c:spPr>
            <a:ln w="19050" cap="rnd">
              <a:solidFill>
                <a:srgbClr val="FFFF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57</c:v>
                </c:pt>
                <c:pt idx="2">
                  <c:v>79</c:v>
                </c:pt>
                <c:pt idx="3">
                  <c:v>65</c:v>
                </c:pt>
              </c:numCache>
            </c:numRef>
          </c:val>
          <c:smooth val="0"/>
          <c:extLst>
            <c:ext xmlns:c16="http://schemas.microsoft.com/office/drawing/2014/chart" uri="{C3380CC4-5D6E-409C-BE32-E72D297353CC}">
              <c16:uniqueId val="{00000007-0907-1A4C-A11F-73C2425749BA}"/>
            </c:ext>
          </c:extLst>
        </c:ser>
        <c:ser>
          <c:idx val="10"/>
          <c:order val="7"/>
          <c:tx>
            <c:strRef>
              <c:f>Sheet1!$I$1</c:f>
              <c:strCache>
                <c:ptCount val="1"/>
                <c:pt idx="0">
                  <c:v>Skintimate</c:v>
                </c:pt>
              </c:strCache>
            </c:strRef>
          </c:tx>
          <c:spPr>
            <a:ln w="19050" cap="rnd">
              <a:solidFill>
                <a:srgbClr val="306181"/>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I$2:$I$5</c:f>
              <c:numCache>
                <c:formatCode>General</c:formatCode>
                <c:ptCount val="4"/>
                <c:pt idx="0">
                  <c:v>100</c:v>
                </c:pt>
                <c:pt idx="1">
                  <c:v>140</c:v>
                </c:pt>
                <c:pt idx="2">
                  <c:v>92</c:v>
                </c:pt>
                <c:pt idx="3">
                  <c:v>235</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460.79999999999995"/>
          <c:min val="15.20000000000000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13</c:v>
                </c:pt>
                <c:pt idx="2">
                  <c:v>110</c:v>
                </c:pt>
                <c:pt idx="3">
                  <c:v>101</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Flamingo</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67</c:v>
                </c:pt>
                <c:pt idx="2">
                  <c:v>58</c:v>
                </c:pt>
                <c:pt idx="3">
                  <c:v>52</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0</c:v>
                </c:pt>
                <c:pt idx="2">
                  <c:v>99</c:v>
                </c:pt>
                <c:pt idx="3">
                  <c:v>95</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7</c:v>
                </c:pt>
                <c:pt idx="2">
                  <c:v>101</c:v>
                </c:pt>
                <c:pt idx="3">
                  <c:v>99</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3</c:v>
                </c:pt>
                <c:pt idx="2">
                  <c:v>94</c:v>
                </c:pt>
                <c:pt idx="3">
                  <c:v>91</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Joy</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9</c:v>
                </c:pt>
                <c:pt idx="2">
                  <c:v>109</c:v>
                </c:pt>
                <c:pt idx="3">
                  <c:v>107</c:v>
                </c:pt>
              </c:numCache>
            </c:numRef>
          </c:val>
          <c:smooth val="0"/>
          <c:extLst>
            <c:ext xmlns:c16="http://schemas.microsoft.com/office/drawing/2014/chart" uri="{C3380CC4-5D6E-409C-BE32-E72D297353CC}">
              <c16:uniqueId val="{00000003-F160-FB4E-B9E2-3D36233077E3}"/>
            </c:ext>
          </c:extLst>
        </c:ser>
        <c:ser>
          <c:idx val="9"/>
          <c:order val="6"/>
          <c:tx>
            <c:strRef>
              <c:f>Sheet1!$H$1</c:f>
              <c:strCache>
                <c:ptCount val="1"/>
                <c:pt idx="0">
                  <c:v>Quattro</c:v>
                </c:pt>
              </c:strCache>
            </c:strRef>
          </c:tx>
          <c:spPr>
            <a:ln w="19050" cap="rnd">
              <a:solidFill>
                <a:srgbClr val="FFFF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115</c:v>
                </c:pt>
                <c:pt idx="2">
                  <c:v>91</c:v>
                </c:pt>
                <c:pt idx="3">
                  <c:v>80</c:v>
                </c:pt>
              </c:numCache>
            </c:numRef>
          </c:val>
          <c:smooth val="0"/>
          <c:extLst>
            <c:ext xmlns:c16="http://schemas.microsoft.com/office/drawing/2014/chart" uri="{C3380CC4-5D6E-409C-BE32-E72D297353CC}">
              <c16:uniqueId val="{00000003-F160-FB4E-B9E2-3D36233077E3}"/>
            </c:ext>
          </c:extLst>
        </c:ser>
        <c:ser>
          <c:idx val="10"/>
          <c:order val="7"/>
          <c:tx>
            <c:strRef>
              <c:f>Sheet1!$I$1</c:f>
              <c:strCache>
                <c:ptCount val="1"/>
                <c:pt idx="0">
                  <c:v>Skintimate</c:v>
                </c:pt>
              </c:strCache>
            </c:strRef>
          </c:tx>
          <c:spPr>
            <a:ln w="19050" cap="rnd">
              <a:solidFill>
                <a:srgbClr val="306181"/>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I$2:$I$5</c:f>
              <c:numCache>
                <c:formatCode>General</c:formatCode>
                <c:ptCount val="4"/>
                <c:pt idx="0">
                  <c:v>100</c:v>
                </c:pt>
                <c:pt idx="1">
                  <c:v>80</c:v>
                </c:pt>
                <c:pt idx="2">
                  <c:v>74</c:v>
                </c:pt>
                <c:pt idx="3">
                  <c:v>71</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8.0"/>
          <c:min val="41.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4,405,40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1,704,00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4,261,74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14405409</c:v>
                </c:pt>
                <c:pt idx="1">
                  <c:v>11923598</c:v>
                </c:pt>
                <c:pt idx="2">
                  <c:v>12040663</c:v>
                </c:pt>
                <c:pt idx="3">
                  <c:v>11512283</c:v>
                </c:pt>
                <c:pt idx="4">
                  <c:v>14011211</c:v>
                </c:pt>
                <c:pt idx="5">
                  <c:v>10629486</c:v>
                </c:pt>
                <c:pt idx="6">
                  <c:v>10557844</c:v>
                </c:pt>
                <c:pt idx="7">
                  <c:v>12339773</c:v>
                </c:pt>
                <c:pt idx="8">
                  <c:v>12057610</c:v>
                </c:pt>
                <c:pt idx="9">
                  <c:v>13456899</c:v>
                </c:pt>
                <c:pt idx="10">
                  <c:v>13988013</c:v>
                </c:pt>
                <c:pt idx="11">
                  <c:v>14743096</c:v>
                </c:pt>
                <c:pt idx="12">
                  <c:v>14375920</c:v>
                </c:pt>
                <c:pt idx="13">
                  <c:v>11704003</c:v>
                </c:pt>
                <c:pt idx="14">
                  <c:v>11752943</c:v>
                </c:pt>
                <c:pt idx="15">
                  <c:v>11791595</c:v>
                </c:pt>
                <c:pt idx="16">
                  <c:v>16466623</c:v>
                </c:pt>
                <c:pt idx="17">
                  <c:v>10519423</c:v>
                </c:pt>
                <c:pt idx="18">
                  <c:v>11287871</c:v>
                </c:pt>
                <c:pt idx="19">
                  <c:v>12925698</c:v>
                </c:pt>
                <c:pt idx="20">
                  <c:v>12068517</c:v>
                </c:pt>
                <c:pt idx="21">
                  <c:v>13279324</c:v>
                </c:pt>
                <c:pt idx="22">
                  <c:v>14227592</c:v>
                </c:pt>
                <c:pt idx="23">
                  <c:v>14589149</c:v>
                </c:pt>
                <c:pt idx="24">
                  <c:v>14261740</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7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3.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3.6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76</c:v>
                </c:pt>
                <c:pt idx="1">
                  <c:v>3.73</c:v>
                </c:pt>
                <c:pt idx="2">
                  <c:v>3.38</c:v>
                </c:pt>
                <c:pt idx="3">
                  <c:v>3.28</c:v>
                </c:pt>
                <c:pt idx="4">
                  <c:v>3.13</c:v>
                </c:pt>
                <c:pt idx="5">
                  <c:v>3.53</c:v>
                </c:pt>
                <c:pt idx="6">
                  <c:v>3.65</c:v>
                </c:pt>
                <c:pt idx="7">
                  <c:v>3.68</c:v>
                </c:pt>
                <c:pt idx="8">
                  <c:v>3.69</c:v>
                </c:pt>
                <c:pt idx="9">
                  <c:v>3.74</c:v>
                </c:pt>
                <c:pt idx="10">
                  <c:v>3.72</c:v>
                </c:pt>
                <c:pt idx="11">
                  <c:v>3.68</c:v>
                </c:pt>
                <c:pt idx="12">
                  <c:v>3.64</c:v>
                </c:pt>
                <c:pt idx="13">
                  <c:v>3.64</c:v>
                </c:pt>
                <c:pt idx="14">
                  <c:v>3.35</c:v>
                </c:pt>
                <c:pt idx="15">
                  <c:v>3.29</c:v>
                </c:pt>
                <c:pt idx="16">
                  <c:v>3.27</c:v>
                </c:pt>
                <c:pt idx="17">
                  <c:v>3.48</c:v>
                </c:pt>
                <c:pt idx="18">
                  <c:v>3.63</c:v>
                </c:pt>
                <c:pt idx="19">
                  <c:v>3.67</c:v>
                </c:pt>
                <c:pt idx="20">
                  <c:v>3.61</c:v>
                </c:pt>
                <c:pt idx="21">
                  <c:v>3.63</c:v>
                </c:pt>
                <c:pt idx="22">
                  <c:v>3.68</c:v>
                </c:pt>
                <c:pt idx="23">
                  <c:v>3.67</c:v>
                </c:pt>
                <c:pt idx="24">
                  <c:v>3.66</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3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Hydro Silk</c:v>
                </c:pt>
              </c:strCache>
            </c:strRef>
          </c:tx>
          <c:spPr>
            <a:ln w="19050" cap="rnd">
              <a:solidFill>
                <a:srgbClr val="FFBFB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202</c:v>
                </c:pt>
                <c:pt idx="2">
                  <c:v>253</c:v>
                </c:pt>
                <c:pt idx="3">
                  <c:v>217</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Japonesqu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1</c:v>
                </c:pt>
                <c:pt idx="2">
                  <c:v>108</c:v>
                </c:pt>
                <c:pt idx="3">
                  <c:v>108</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Rem P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85</c:v>
                </c:pt>
                <c:pt idx="2">
                  <c:v>68</c:v>
                </c:pt>
                <c:pt idx="3">
                  <c:v>64</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Revlon</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8</c:v>
                </c:pt>
                <c:pt idx="2">
                  <c:v>112</c:v>
                </c:pt>
                <c:pt idx="3">
                  <c:v>109</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Universal Razor</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29</c:v>
                </c:pt>
                <c:pt idx="2">
                  <c:v>123</c:v>
                </c:pt>
                <c:pt idx="3">
                  <c:v>109</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303.59999999999997"/>
          <c:min val="51.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13</c:v>
                </c:pt>
                <c:pt idx="2">
                  <c:v>123</c:v>
                </c:pt>
                <c:pt idx="3">
                  <c:v>12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Hydro Silk</c:v>
                </c:pt>
              </c:strCache>
            </c:strRef>
          </c:tx>
          <c:spPr>
            <a:ln w="19050" cap="rnd">
              <a:solidFill>
                <a:srgbClr val="FFBFB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14</c:v>
                </c:pt>
                <c:pt idx="2">
                  <c:v>114</c:v>
                </c:pt>
                <c:pt idx="3">
                  <c:v>115</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Japonesqu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6</c:v>
                </c:pt>
                <c:pt idx="2">
                  <c:v>105</c:v>
                </c:pt>
                <c:pt idx="3">
                  <c:v>104</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Rem P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4</c:v>
                </c:pt>
                <c:pt idx="2">
                  <c:v>101</c:v>
                </c:pt>
                <c:pt idx="3">
                  <c:v>104</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Revlon</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4</c:v>
                </c:pt>
                <c:pt idx="2">
                  <c:v>109</c:v>
                </c:pt>
                <c:pt idx="3">
                  <c:v>109</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Universal Razor</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2</c:v>
                </c:pt>
                <c:pt idx="2">
                  <c:v>103</c:v>
                </c:pt>
                <c:pt idx="3">
                  <c:v>102</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4.79999999999998"/>
          <c:min val="8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ilky Touch</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88</c:v>
                </c:pt>
                <c:pt idx="2">
                  <c:v>86</c:v>
                </c:pt>
                <c:pt idx="3">
                  <c:v>8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Daisy</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86</c:v>
                </c:pt>
                <c:pt idx="2">
                  <c:v>81</c:v>
                </c:pt>
                <c:pt idx="3">
                  <c:v>67</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34</c:v>
                </c:pt>
                <c:pt idx="2">
                  <c:v>142</c:v>
                </c:pt>
                <c:pt idx="3">
                  <c:v>167</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bg Pl</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89</c:v>
                </c:pt>
                <c:pt idx="2">
                  <c:v>81</c:v>
                </c:pt>
                <c:pt idx="3">
                  <c:v>68</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Rem Pl</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20</c:v>
                </c:pt>
                <c:pt idx="2">
                  <c:v>143</c:v>
                </c:pt>
                <c:pt idx="3">
                  <c:v>136</c:v>
                </c:pt>
              </c:numCache>
            </c:numRef>
          </c:val>
          <c:smooth val="0"/>
          <c:extLst>
            <c:ext xmlns:c16="http://schemas.microsoft.com/office/drawing/2014/chart" uri="{C3380CC4-5D6E-409C-BE32-E72D297353CC}">
              <c16:uniqueId val="{00000007-0907-1A4C-A11F-73C2425749BA}"/>
            </c:ext>
          </c:extLst>
        </c:ser>
        <c:ser>
          <c:idx val="9"/>
          <c:order val="6"/>
          <c:tx>
            <c:strRef>
              <c:f>Sheet1!$H$1</c:f>
              <c:strCache>
                <c:ptCount val="1"/>
                <c:pt idx="0">
                  <c:v>Skintimate</c:v>
                </c:pt>
              </c:strCache>
            </c:strRef>
          </c:tx>
          <c:spPr>
            <a:ln w="19050" cap="rnd">
              <a:solidFill>
                <a:srgbClr val="E5F4F3"/>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82</c:v>
                </c:pt>
                <c:pt idx="2">
                  <c:v>47</c:v>
                </c:pt>
                <c:pt idx="3">
                  <c:v>26</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200.4"/>
          <c:min val="20.8"/>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11</c:v>
                </c:pt>
                <c:pt idx="2">
                  <c:v>114</c:v>
                </c:pt>
                <c:pt idx="3">
                  <c:v>121</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ilky Touch</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2</c:v>
                </c:pt>
                <c:pt idx="2">
                  <c:v>101</c:v>
                </c:pt>
                <c:pt idx="3">
                  <c:v>99</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Daisy</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6</c:v>
                </c:pt>
                <c:pt idx="2">
                  <c:v>108</c:v>
                </c:pt>
                <c:pt idx="3">
                  <c:v>108</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61</c:v>
                </c:pt>
                <c:pt idx="2">
                  <c:v>56</c:v>
                </c:pt>
                <c:pt idx="3">
                  <c:v>57</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bg Pl</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8</c:v>
                </c:pt>
                <c:pt idx="2">
                  <c:v>115</c:v>
                </c:pt>
                <c:pt idx="3">
                  <c:v>118</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Rem Pl</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5</c:v>
                </c:pt>
                <c:pt idx="2">
                  <c:v>113</c:v>
                </c:pt>
                <c:pt idx="3">
                  <c:v>120</c:v>
                </c:pt>
              </c:numCache>
            </c:numRef>
          </c:val>
          <c:smooth val="0"/>
          <c:extLst>
            <c:ext xmlns:c16="http://schemas.microsoft.com/office/drawing/2014/chart" uri="{C3380CC4-5D6E-409C-BE32-E72D297353CC}">
              <c16:uniqueId val="{00000003-F160-FB4E-B9E2-3D36233077E3}"/>
            </c:ext>
          </c:extLst>
        </c:ser>
        <c:ser>
          <c:idx val="9"/>
          <c:order val="6"/>
          <c:tx>
            <c:strRef>
              <c:f>Sheet1!$H$1</c:f>
              <c:strCache>
                <c:ptCount val="1"/>
                <c:pt idx="0">
                  <c:v>Skintimate</c:v>
                </c:pt>
              </c:strCache>
            </c:strRef>
          </c:tx>
          <c:spPr>
            <a:ln w="19050" cap="rnd">
              <a:solidFill>
                <a:srgbClr val="E5F4F3"/>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98</c:v>
                </c:pt>
                <c:pt idx="2">
                  <c:v>97</c:v>
                </c:pt>
                <c:pt idx="3">
                  <c:v>12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5.2"/>
          <c:min val="44.800000000000004"/>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10</c:v>
                </c:pt>
                <c:pt idx="2">
                  <c:v>100</c:v>
                </c:pt>
                <c:pt idx="3">
                  <c:v>9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0</c:v>
                </c:pt>
                <c:pt idx="2">
                  <c:v>105</c:v>
                </c:pt>
                <c:pt idx="3">
                  <c:v>107</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61</c:v>
                </c:pt>
                <c:pt idx="2">
                  <c:v>30</c:v>
                </c:pt>
                <c:pt idx="3">
                  <c:v>137</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6083100</c:v>
                </c:pt>
                <c:pt idx="2">
                  <c:v>2063310</c:v>
                </c:pt>
                <c:pt idx="3">
                  <c:v>319921</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Pbg Pl</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7</c:v>
                </c:pt>
                <c:pt idx="2">
                  <c:v>111</c:v>
                </c:pt>
                <c:pt idx="3">
                  <c:v>113</c:v>
                </c:pt>
              </c:numCache>
            </c:numRef>
          </c:val>
          <c:smooth val="0"/>
          <c:extLst>
            <c:ext xmlns:c16="http://schemas.microsoft.com/office/drawing/2014/chart" uri="{C3380CC4-5D6E-409C-BE32-E72D297353CC}">
              <c16:uniqueId val="{00000007-0907-1A4C-A11F-73C2425749BA}"/>
            </c:ext>
          </c:extLst>
        </c:ser>
        <c:ser>
          <c:idx val="9"/>
          <c:order val="6"/>
          <c:tx>
            <c:strRef>
              <c:f>Sheet1!$H$1</c:f>
              <c:strCache>
                <c:ptCount val="1"/>
                <c:pt idx="0">
                  <c:v>Rem Pl</c:v>
                </c:pt>
              </c:strCache>
            </c:strRef>
          </c:tx>
          <c:spPr>
            <a:ln w="19050" cap="rnd">
              <a:solidFill>
                <a:srgbClr val="FFFF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115</c:v>
                </c:pt>
                <c:pt idx="2">
                  <c:v>121</c:v>
                </c:pt>
                <c:pt idx="3">
                  <c:v>127</c:v>
                </c:pt>
              </c:numCache>
            </c:numRef>
          </c:val>
          <c:smooth val="0"/>
          <c:extLst>
            <c:ext xmlns:c16="http://schemas.microsoft.com/office/drawing/2014/chart" uri="{C3380CC4-5D6E-409C-BE32-E72D297353CC}">
              <c16:uniqueId val="{00000007-0907-1A4C-A11F-73C2425749BA}"/>
            </c:ext>
          </c:extLst>
        </c:ser>
        <c:ser>
          <c:idx val="10"/>
          <c:order val="7"/>
          <c:tx>
            <c:strRef>
              <c:f>Sheet1!$I$1</c:f>
              <c:strCache>
                <c:ptCount val="1"/>
                <c:pt idx="0">
                  <c:v>Schick Classic Women</c:v>
                </c:pt>
              </c:strCache>
            </c:strRef>
          </c:tx>
          <c:spPr>
            <a:ln w="19050" cap="rnd">
              <a:solidFill>
                <a:srgbClr val="00206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I$2:$I$5</c:f>
              <c:numCache>
                <c:formatCode>General</c:formatCode>
                <c:ptCount val="4"/>
                <c:pt idx="0">
                  <c:v>100</c:v>
                </c:pt>
                <c:pt idx="1">
                  <c:v>55</c:v>
                </c:pt>
                <c:pt idx="2">
                  <c:v>34</c:v>
                </c:pt>
                <c:pt idx="3">
                  <c:v>17</c:v>
                </c:pt>
              </c:numCache>
            </c:numRef>
          </c:val>
          <c:smooth val="0"/>
          <c:extLst>
            <c:ext xmlns:c16="http://schemas.microsoft.com/office/drawing/2014/chart" uri="{C3380CC4-5D6E-409C-BE32-E72D297353CC}">
              <c16:uniqueId val="{00000007-0907-1A4C-A11F-73C2425749BA}"/>
            </c:ext>
          </c:extLst>
        </c:ser>
        <c:ser>
          <c:idx val="11"/>
          <c:order val="8"/>
          <c:tx>
            <c:strRef>
              <c:f>Sheet1!$J$1</c:f>
              <c:strCache>
                <c:ptCount val="1"/>
                <c:pt idx="0">
                  <c:v>Skintimate</c:v>
                </c:pt>
              </c:strCache>
            </c:strRef>
          </c:tx>
          <c:spPr>
            <a:ln w="19050" cap="rnd">
              <a:solidFill>
                <a:srgbClr val="6DA5C9"/>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J$2:$J$5</c:f>
              <c:numCache>
                <c:formatCode>General</c:formatCode>
                <c:ptCount val="4"/>
                <c:pt idx="0">
                  <c:v>100</c:v>
                </c:pt>
                <c:pt idx="1">
                  <c:v>28</c:v>
                </c:pt>
                <c:pt idx="2">
                  <c:v>2</c:v>
                </c:pt>
                <c:pt idx="3">
                  <c:v>1</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7299720.0"/>
          <c:min val="0.8"/>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5</c:v>
                </c:pt>
                <c:pt idx="2">
                  <c:v>114</c:v>
                </c:pt>
                <c:pt idx="3">
                  <c:v>115</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4</c:v>
                </c:pt>
                <c:pt idx="2">
                  <c:v>112</c:v>
                </c:pt>
                <c:pt idx="3">
                  <c:v>11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5</c:v>
                </c:pt>
                <c:pt idx="2">
                  <c:v>111</c:v>
                </c:pt>
                <c:pt idx="3">
                  <c:v>109</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10</c:v>
                </c:pt>
                <c:pt idx="2">
                  <c:v>136</c:v>
                </c:pt>
                <c:pt idx="3">
                  <c:v>88</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1</c:v>
                </c:pt>
                <c:pt idx="2">
                  <c:v>95</c:v>
                </c:pt>
                <c:pt idx="3">
                  <c:v>68</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Pbg Pl</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11</c:v>
                </c:pt>
                <c:pt idx="2">
                  <c:v>121</c:v>
                </c:pt>
                <c:pt idx="3">
                  <c:v>121</c:v>
                </c:pt>
              </c:numCache>
            </c:numRef>
          </c:val>
          <c:smooth val="0"/>
          <c:extLst>
            <c:ext xmlns:c16="http://schemas.microsoft.com/office/drawing/2014/chart" uri="{C3380CC4-5D6E-409C-BE32-E72D297353CC}">
              <c16:uniqueId val="{00000003-F160-FB4E-B9E2-3D36233077E3}"/>
            </c:ext>
          </c:extLst>
        </c:ser>
        <c:ser>
          <c:idx val="9"/>
          <c:order val="6"/>
          <c:tx>
            <c:strRef>
              <c:f>Sheet1!$H$1</c:f>
              <c:strCache>
                <c:ptCount val="1"/>
                <c:pt idx="0">
                  <c:v>Rem Pl</c:v>
                </c:pt>
              </c:strCache>
            </c:strRef>
          </c:tx>
          <c:spPr>
            <a:ln w="19050" cap="rnd">
              <a:solidFill>
                <a:srgbClr val="FFFF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102</c:v>
                </c:pt>
                <c:pt idx="2">
                  <c:v>90</c:v>
                </c:pt>
                <c:pt idx="3">
                  <c:v>78</c:v>
                </c:pt>
              </c:numCache>
            </c:numRef>
          </c:val>
          <c:smooth val="0"/>
          <c:extLst>
            <c:ext xmlns:c16="http://schemas.microsoft.com/office/drawing/2014/chart" uri="{C3380CC4-5D6E-409C-BE32-E72D297353CC}">
              <c16:uniqueId val="{00000003-F160-FB4E-B9E2-3D36233077E3}"/>
            </c:ext>
          </c:extLst>
        </c:ser>
        <c:ser>
          <c:idx val="10"/>
          <c:order val="7"/>
          <c:tx>
            <c:strRef>
              <c:f>Sheet1!$I$1</c:f>
              <c:strCache>
                <c:ptCount val="1"/>
                <c:pt idx="0">
                  <c:v>Schick Classic Women</c:v>
                </c:pt>
              </c:strCache>
            </c:strRef>
          </c:tx>
          <c:spPr>
            <a:ln w="19050" cap="rnd">
              <a:solidFill>
                <a:srgbClr val="00206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I$2:$I$5</c:f>
              <c:numCache>
                <c:formatCode>General</c:formatCode>
                <c:ptCount val="4"/>
                <c:pt idx="0">
                  <c:v>100</c:v>
                </c:pt>
                <c:pt idx="1">
                  <c:v>91</c:v>
                </c:pt>
                <c:pt idx="2">
                  <c:v>125</c:v>
                </c:pt>
                <c:pt idx="3">
                  <c:v>76</c:v>
                </c:pt>
              </c:numCache>
            </c:numRef>
          </c:val>
          <c:smooth val="0"/>
          <c:extLst>
            <c:ext xmlns:c16="http://schemas.microsoft.com/office/drawing/2014/chart" uri="{C3380CC4-5D6E-409C-BE32-E72D297353CC}">
              <c16:uniqueId val="{00000003-F160-FB4E-B9E2-3D36233077E3}"/>
            </c:ext>
          </c:extLst>
        </c:ser>
        <c:ser>
          <c:idx val="11"/>
          <c:order val="8"/>
          <c:tx>
            <c:strRef>
              <c:f>Sheet1!$J$1</c:f>
              <c:strCache>
                <c:ptCount val="1"/>
                <c:pt idx="0">
                  <c:v>Skintimate</c:v>
                </c:pt>
              </c:strCache>
            </c:strRef>
          </c:tx>
          <c:spPr>
            <a:ln w="19050" cap="rnd">
              <a:solidFill>
                <a:srgbClr val="6DA5C9"/>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J$2:$J$5</c:f>
              <c:numCache>
                <c:formatCode>General</c:formatCode>
                <c:ptCount val="4"/>
                <c:pt idx="0">
                  <c:v>100</c:v>
                </c:pt>
                <c:pt idx="1">
                  <c:v>93</c:v>
                </c:pt>
                <c:pt idx="2">
                  <c:v>130</c:v>
                </c:pt>
                <c:pt idx="3">
                  <c:v>247</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296.4"/>
          <c:min val="54.40000000000000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11</c:v>
                </c:pt>
                <c:pt idx="2">
                  <c:v>128</c:v>
                </c:pt>
                <c:pt idx="3">
                  <c:v>137</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Intuition</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3</c:v>
                </c:pt>
                <c:pt idx="2">
                  <c:v>107</c:v>
                </c:pt>
                <c:pt idx="3">
                  <c:v>11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Pbg P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5</c:v>
                </c:pt>
                <c:pt idx="2">
                  <c:v>88</c:v>
                </c:pt>
                <c:pt idx="3">
                  <c:v>83</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Quattro</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2</c:v>
                </c:pt>
                <c:pt idx="2">
                  <c:v>88</c:v>
                </c:pt>
                <c:pt idx="3">
                  <c:v>81</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69</c:v>
                </c:pt>
                <c:pt idx="2">
                  <c:v>62</c:v>
                </c:pt>
                <c:pt idx="3">
                  <c:v>54</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64.4"/>
          <c:min val="43.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19</c:v>
                </c:pt>
                <c:pt idx="2">
                  <c:v>125</c:v>
                </c:pt>
                <c:pt idx="3">
                  <c:v>122</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34</c:v>
                </c:pt>
                <c:pt idx="2">
                  <c:v>143</c:v>
                </c:pt>
                <c:pt idx="3">
                  <c:v>141</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Intuition</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3</c:v>
                </c:pt>
                <c:pt idx="2">
                  <c:v>120</c:v>
                </c:pt>
                <c:pt idx="3">
                  <c:v>115</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Pbg P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2</c:v>
                </c:pt>
                <c:pt idx="2">
                  <c:v>96</c:v>
                </c:pt>
                <c:pt idx="3">
                  <c:v>99</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Quattro</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7</c:v>
                </c:pt>
                <c:pt idx="2">
                  <c:v>112</c:v>
                </c:pt>
                <c:pt idx="3">
                  <c:v>93</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11</c:v>
                </c:pt>
                <c:pt idx="2">
                  <c:v>113</c:v>
                </c:pt>
                <c:pt idx="3">
                  <c:v>11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71.6"/>
          <c:min val="73.6000000000000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83</c:v>
                </c:pt>
                <c:pt idx="2">
                  <c:v>78</c:v>
                </c:pt>
                <c:pt idx="3">
                  <c:v>68</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Flamingo</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0</c:v>
                </c:pt>
                <c:pt idx="2">
                  <c:v>117</c:v>
                </c:pt>
                <c:pt idx="3">
                  <c:v>116</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5</c:v>
                </c:pt>
                <c:pt idx="2">
                  <c:v>84</c:v>
                </c:pt>
                <c:pt idx="3">
                  <c:v>88</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Hydro Silk</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84</c:v>
                </c:pt>
                <c:pt idx="2">
                  <c:v>79</c:v>
                </c:pt>
                <c:pt idx="3">
                  <c:v>6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Intuition</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1</c:v>
                </c:pt>
                <c:pt idx="2">
                  <c:v>101</c:v>
                </c:pt>
                <c:pt idx="3">
                  <c:v>78</c:v>
                </c:pt>
              </c:numCache>
            </c:numRef>
          </c:val>
          <c:smooth val="0"/>
          <c:extLst>
            <c:ext xmlns:c16="http://schemas.microsoft.com/office/drawing/2014/chart" uri="{C3380CC4-5D6E-409C-BE32-E72D297353CC}">
              <c16:uniqueId val="{00000007-0907-1A4C-A11F-73C2425749BA}"/>
            </c:ext>
          </c:extLst>
        </c:ser>
        <c:ser>
          <c:idx val="9"/>
          <c:order val="6"/>
          <c:tx>
            <c:strRef>
              <c:f>Sheet1!$H$1</c:f>
              <c:strCache>
                <c:ptCount val="1"/>
                <c:pt idx="0">
                  <c:v>Pbg Pl</c:v>
                </c:pt>
              </c:strCache>
            </c:strRef>
          </c:tx>
          <c:spPr>
            <a:ln w="19050" cap="rnd">
              <a:solidFill>
                <a:srgbClr val="FFFF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96</c:v>
                </c:pt>
                <c:pt idx="2">
                  <c:v>99</c:v>
                </c:pt>
                <c:pt idx="3">
                  <c:v>106</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40.4"/>
          <c:min val="48.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6</c:v>
                </c:pt>
                <c:pt idx="2">
                  <c:v>104</c:v>
                </c:pt>
                <c:pt idx="3">
                  <c:v>103</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26</c:v>
                </c:pt>
                <c:pt idx="2">
                  <c:v>132</c:v>
                </c:pt>
                <c:pt idx="3">
                  <c:v>152</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Flamingo</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6</c:v>
                </c:pt>
                <c:pt idx="2">
                  <c:v>104</c:v>
                </c:pt>
                <c:pt idx="3">
                  <c:v>99</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7</c:v>
                </c:pt>
                <c:pt idx="2">
                  <c:v>108</c:v>
                </c:pt>
                <c:pt idx="3">
                  <c:v>108</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Hydro Silk</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10</c:v>
                </c:pt>
                <c:pt idx="2">
                  <c:v>120</c:v>
                </c:pt>
                <c:pt idx="3">
                  <c:v>123</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Intuition</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8</c:v>
                </c:pt>
                <c:pt idx="2">
                  <c:v>88</c:v>
                </c:pt>
                <c:pt idx="3">
                  <c:v>86</c:v>
                </c:pt>
              </c:numCache>
            </c:numRef>
          </c:val>
          <c:smooth val="0"/>
          <c:extLst>
            <c:ext xmlns:c16="http://schemas.microsoft.com/office/drawing/2014/chart" uri="{C3380CC4-5D6E-409C-BE32-E72D297353CC}">
              <c16:uniqueId val="{00000003-F160-FB4E-B9E2-3D36233077E3}"/>
            </c:ext>
          </c:extLst>
        </c:ser>
        <c:ser>
          <c:idx val="9"/>
          <c:order val="6"/>
          <c:tx>
            <c:strRef>
              <c:f>Sheet1!$H$1</c:f>
              <c:strCache>
                <c:ptCount val="1"/>
                <c:pt idx="0">
                  <c:v>Pbg Pl</c:v>
                </c:pt>
              </c:strCache>
            </c:strRef>
          </c:tx>
          <c:spPr>
            <a:ln w="19050" cap="rnd">
              <a:solidFill>
                <a:srgbClr val="FFFF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97</c:v>
                </c:pt>
                <c:pt idx="2">
                  <c:v>103</c:v>
                </c:pt>
                <c:pt idx="3">
                  <c:v>106</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82.4"/>
          <c:min val="68.8"/>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300,77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99,59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299,79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300771</c:v>
                </c:pt>
                <c:pt idx="1">
                  <c:v>250440</c:v>
                </c:pt>
                <c:pt idx="2">
                  <c:v>273983</c:v>
                </c:pt>
                <c:pt idx="3">
                  <c:v>258440</c:v>
                </c:pt>
                <c:pt idx="4">
                  <c:v>275419</c:v>
                </c:pt>
                <c:pt idx="5">
                  <c:v>274715</c:v>
                </c:pt>
                <c:pt idx="6">
                  <c:v>253928</c:v>
                </c:pt>
                <c:pt idx="7">
                  <c:v>253504</c:v>
                </c:pt>
                <c:pt idx="8">
                  <c:v>242374</c:v>
                </c:pt>
                <c:pt idx="9">
                  <c:v>290925</c:v>
                </c:pt>
                <c:pt idx="10">
                  <c:v>462119</c:v>
                </c:pt>
                <c:pt idx="11">
                  <c:v>421541</c:v>
                </c:pt>
                <c:pt idx="12">
                  <c:v>290730</c:v>
                </c:pt>
                <c:pt idx="13">
                  <c:v>299595</c:v>
                </c:pt>
                <c:pt idx="14">
                  <c:v>401777</c:v>
                </c:pt>
                <c:pt idx="15">
                  <c:v>298111</c:v>
                </c:pt>
                <c:pt idx="16">
                  <c:v>295481</c:v>
                </c:pt>
                <c:pt idx="17">
                  <c:v>286275</c:v>
                </c:pt>
                <c:pt idx="18">
                  <c:v>266672</c:v>
                </c:pt>
                <c:pt idx="19">
                  <c:v>577944</c:v>
                </c:pt>
                <c:pt idx="20">
                  <c:v>520441</c:v>
                </c:pt>
                <c:pt idx="21">
                  <c:v>334895</c:v>
                </c:pt>
                <c:pt idx="22">
                  <c:v>328553</c:v>
                </c:pt>
                <c:pt idx="23">
                  <c:v>343448</c:v>
                </c:pt>
                <c:pt idx="24">
                  <c:v>29979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1.8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7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1.8</c:v>
                </c:pt>
                <c:pt idx="1">
                  <c:v>1.73</c:v>
                </c:pt>
                <c:pt idx="2">
                  <c:v>1.8</c:v>
                </c:pt>
                <c:pt idx="3">
                  <c:v>1.59</c:v>
                </c:pt>
                <c:pt idx="4">
                  <c:v>1.68</c:v>
                </c:pt>
                <c:pt idx="5">
                  <c:v>1.56</c:v>
                </c:pt>
                <c:pt idx="6">
                  <c:v>1.6</c:v>
                </c:pt>
                <c:pt idx="7">
                  <c:v>1.72</c:v>
                </c:pt>
                <c:pt idx="8">
                  <c:v>1.83</c:v>
                </c:pt>
                <c:pt idx="9">
                  <c:v>1.76</c:v>
                </c:pt>
                <c:pt idx="10">
                  <c:v>1.69</c:v>
                </c:pt>
                <c:pt idx="11">
                  <c:v>1.72</c:v>
                </c:pt>
                <c:pt idx="12">
                  <c:v>1.82</c:v>
                </c:pt>
                <c:pt idx="13">
                  <c:v>1.77</c:v>
                </c:pt>
                <c:pt idx="14">
                  <c:v>1.67</c:v>
                </c:pt>
                <c:pt idx="15">
                  <c:v>1.49</c:v>
                </c:pt>
                <c:pt idx="16">
                  <c:v>1.71</c:v>
                </c:pt>
                <c:pt idx="17">
                  <c:v>1.75</c:v>
                </c:pt>
                <c:pt idx="18">
                  <c:v>1.76</c:v>
                </c:pt>
                <c:pt idx="19">
                  <c:v>1.71</c:v>
                </c:pt>
                <c:pt idx="20">
                  <c:v>1.74</c:v>
                </c:pt>
                <c:pt idx="21">
                  <c:v>1.74</c:v>
                </c:pt>
                <c:pt idx="22">
                  <c:v>1.72</c:v>
                </c:pt>
                <c:pt idx="23">
                  <c:v>1.74</c:v>
                </c:pt>
                <c:pt idx="24">
                  <c:v>1.75</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m P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30</c:v>
                </c:pt>
                <c:pt idx="2">
                  <c:v>142</c:v>
                </c:pt>
                <c:pt idx="3">
                  <c:v>159</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90.79999999999998"/>
          <c:min val="8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95</c:v>
                </c:pt>
                <c:pt idx="2">
                  <c:v>89</c:v>
                </c:pt>
                <c:pt idx="3">
                  <c:v>80</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m P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2</c:v>
                </c:pt>
                <c:pt idx="2">
                  <c:v>90</c:v>
                </c:pt>
                <c:pt idx="3">
                  <c:v>87</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0.0"/>
          <c:min val="64.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Gillette Venu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28</c:v>
                </c:pt>
                <c:pt idx="2">
                  <c:v>140</c:v>
                </c:pt>
                <c:pt idx="3">
                  <c:v>161</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Intuition</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22</c:v>
                </c:pt>
                <c:pt idx="2">
                  <c:v>63</c:v>
                </c:pt>
                <c:pt idx="3">
                  <c:v>2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Noxzema Base</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39</c:v>
                </c:pt>
                <c:pt idx="2">
                  <c:v>23</c:v>
                </c:pt>
                <c:pt idx="3">
                  <c:v>25</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93.2"/>
          <c:min val="16.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87</c:v>
                </c:pt>
                <c:pt idx="2">
                  <c:v>139</c:v>
                </c:pt>
                <c:pt idx="3">
                  <c:v>147</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Gillette Venu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63</c:v>
                </c:pt>
                <c:pt idx="2">
                  <c:v>126</c:v>
                </c:pt>
                <c:pt idx="3">
                  <c:v>12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Intuition</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25</c:v>
                </c:pt>
                <c:pt idx="2">
                  <c:v>90</c:v>
                </c:pt>
                <c:pt idx="3">
                  <c:v>11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Noxzema Base</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4</c:v>
                </c:pt>
                <c:pt idx="2">
                  <c:v>119</c:v>
                </c:pt>
                <c:pt idx="3">
                  <c:v>123</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95.6"/>
          <c:min val="69.6000000000000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All Other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67</c:v>
                </c:pt>
                <c:pt idx="2">
                  <c:v>179</c:v>
                </c:pt>
                <c:pt idx="3">
                  <c:v>93</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Universal Razor Ind: All Other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38</c:v>
                </c:pt>
                <c:pt idx="2">
                  <c:v>16</c:v>
                </c:pt>
                <c:pt idx="3">
                  <c:v>2</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214.79999999999998"/>
          <c:min val="1.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63</c:v>
                </c:pt>
                <c:pt idx="2">
                  <c:v>49</c:v>
                </c:pt>
                <c:pt idx="3">
                  <c:v>77</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All Other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1</c:v>
                </c:pt>
                <c:pt idx="2">
                  <c:v>73</c:v>
                </c:pt>
                <c:pt idx="3">
                  <c:v>89</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Universal Razor Ind: All Other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82</c:v>
                </c:pt>
                <c:pt idx="2">
                  <c:v>70</c:v>
                </c:pt>
                <c:pt idx="3">
                  <c:v>63</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0.0"/>
          <c:min val="39.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ilky Touch</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7</c:v>
                </c:pt>
                <c:pt idx="2">
                  <c:v>92</c:v>
                </c:pt>
                <c:pt idx="3">
                  <c:v>8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Daisy</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89</c:v>
                </c:pt>
                <c:pt idx="2">
                  <c:v>81</c:v>
                </c:pt>
                <c:pt idx="3">
                  <c:v>68</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10</c:v>
                </c:pt>
                <c:pt idx="2">
                  <c:v>114</c:v>
                </c:pt>
                <c:pt idx="3">
                  <c:v>127</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Silk Effects</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74</c:v>
                </c:pt>
                <c:pt idx="2">
                  <c:v>61</c:v>
                </c:pt>
                <c:pt idx="3">
                  <c:v>39</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658</c:v>
                </c:pt>
                <c:pt idx="2">
                  <c:v>2576</c:v>
                </c:pt>
                <c:pt idx="3">
                  <c:v>1348</c:v>
                </c:pt>
              </c:numCache>
            </c:numRef>
          </c:val>
          <c:smooth val="0"/>
          <c:extLst>
            <c:ext xmlns:c16="http://schemas.microsoft.com/office/drawing/2014/chart" uri="{C3380CC4-5D6E-409C-BE32-E72D297353CC}">
              <c16:uniqueId val="{00000007-0907-1A4C-A11F-73C2425749BA}"/>
            </c:ext>
          </c:extLst>
        </c:ser>
        <c:ser>
          <c:idx val="9"/>
          <c:order val="6"/>
          <c:tx>
            <c:strRef>
              <c:f>Sheet1!$H$1</c:f>
              <c:strCache>
                <c:ptCount val="1"/>
                <c:pt idx="0">
                  <c:v>St2/Slim Twin</c:v>
                </c:pt>
              </c:strCache>
            </c:strRef>
          </c:tx>
          <c:spPr>
            <a:ln w="19050" cap="rnd">
              <a:solidFill>
                <a:srgbClr val="FFFF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67</c:v>
                </c:pt>
                <c:pt idx="2">
                  <c:v>66</c:v>
                </c:pt>
                <c:pt idx="3">
                  <c:v>55</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3091.2"/>
          <c:min val="31.200000000000003"/>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18</c:v>
                </c:pt>
                <c:pt idx="2">
                  <c:v>113</c:v>
                </c:pt>
                <c:pt idx="3">
                  <c:v>127</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ilky Touch</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14</c:v>
                </c:pt>
                <c:pt idx="2">
                  <c:v>105</c:v>
                </c:pt>
                <c:pt idx="3">
                  <c:v>108</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Daisy</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1</c:v>
                </c:pt>
                <c:pt idx="2">
                  <c:v>117</c:v>
                </c:pt>
                <c:pt idx="3">
                  <c:v>119</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9</c:v>
                </c:pt>
                <c:pt idx="2">
                  <c:v>78</c:v>
                </c:pt>
                <c:pt idx="3">
                  <c:v>67</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Silk Effects</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83</c:v>
                </c:pt>
                <c:pt idx="2">
                  <c:v>82</c:v>
                </c:pt>
                <c:pt idx="3">
                  <c:v>84</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1</c:v>
                </c:pt>
                <c:pt idx="2">
                  <c:v>6</c:v>
                </c:pt>
                <c:pt idx="3">
                  <c:v>8</c:v>
                </c:pt>
              </c:numCache>
            </c:numRef>
          </c:val>
          <c:smooth val="0"/>
          <c:extLst>
            <c:ext xmlns:c16="http://schemas.microsoft.com/office/drawing/2014/chart" uri="{C3380CC4-5D6E-409C-BE32-E72D297353CC}">
              <c16:uniqueId val="{00000003-F160-FB4E-B9E2-3D36233077E3}"/>
            </c:ext>
          </c:extLst>
        </c:ser>
        <c:ser>
          <c:idx val="9"/>
          <c:order val="6"/>
          <c:tx>
            <c:strRef>
              <c:f>Sheet1!$H$1</c:f>
              <c:strCache>
                <c:ptCount val="1"/>
                <c:pt idx="0">
                  <c:v>St2/Slim Twin</c:v>
                </c:pt>
              </c:strCache>
            </c:strRef>
          </c:tx>
          <c:spPr>
            <a:ln w="19050" cap="rnd">
              <a:solidFill>
                <a:srgbClr val="FFFF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118</c:v>
                </c:pt>
                <c:pt idx="2">
                  <c:v>143</c:v>
                </c:pt>
                <c:pt idx="3">
                  <c:v>16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96.79999999999998"/>
          <c:min val="4.80000000000000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24</c:v>
                </c:pt>
                <c:pt idx="2">
                  <c:v>110</c:v>
                </c:pt>
                <c:pt idx="3">
                  <c:v>96</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5</c:v>
                </c:pt>
                <c:pt idx="2">
                  <c:v>98</c:v>
                </c:pt>
                <c:pt idx="3">
                  <c:v>10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0</c:v>
                </c:pt>
                <c:pt idx="2">
                  <c:v>69</c:v>
                </c:pt>
                <c:pt idx="3">
                  <c:v>676</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Skintimate</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254</c:v>
                </c:pt>
                <c:pt idx="2">
                  <c:v>306</c:v>
                </c:pt>
                <c:pt idx="3">
                  <c:v>469</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Xtreme</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222</c:v>
                </c:pt>
                <c:pt idx="2">
                  <c:v>212</c:v>
                </c:pt>
                <c:pt idx="3">
                  <c:v>134</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811.1999999999999"/>
          <c:min val="55.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96</c:v>
                </c:pt>
                <c:pt idx="2">
                  <c:v>110</c:v>
                </c:pt>
                <c:pt idx="3">
                  <c:v>112</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1</c:v>
                </c:pt>
                <c:pt idx="2">
                  <c:v>110</c:v>
                </c:pt>
                <c:pt idx="3">
                  <c:v>113</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7</c:v>
                </c:pt>
                <c:pt idx="2">
                  <c:v>113</c:v>
                </c:pt>
                <c:pt idx="3">
                  <c:v>11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2</c:v>
                </c:pt>
                <c:pt idx="2">
                  <c:v>73</c:v>
                </c:pt>
                <c:pt idx="3">
                  <c:v>88</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Skintimate</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8</c:v>
                </c:pt>
                <c:pt idx="2">
                  <c:v>113</c:v>
                </c:pt>
                <c:pt idx="3">
                  <c:v>123</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Xtreme</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78</c:v>
                </c:pt>
                <c:pt idx="2">
                  <c:v>69</c:v>
                </c:pt>
                <c:pt idx="3">
                  <c:v>58</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7.6"/>
          <c:min val="46.40000000000000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924,3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941,33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2,245,11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1924382</c:v>
                </c:pt>
                <c:pt idx="1">
                  <c:v>1669661</c:v>
                </c:pt>
                <c:pt idx="2">
                  <c:v>1634574</c:v>
                </c:pt>
                <c:pt idx="3">
                  <c:v>1650697</c:v>
                </c:pt>
                <c:pt idx="4">
                  <c:v>1721092</c:v>
                </c:pt>
                <c:pt idx="5">
                  <c:v>1844050</c:v>
                </c:pt>
                <c:pt idx="6">
                  <c:v>1723467</c:v>
                </c:pt>
                <c:pt idx="7">
                  <c:v>1846104</c:v>
                </c:pt>
                <c:pt idx="8">
                  <c:v>1753291</c:v>
                </c:pt>
                <c:pt idx="9">
                  <c:v>1953906</c:v>
                </c:pt>
                <c:pt idx="10">
                  <c:v>1980711</c:v>
                </c:pt>
                <c:pt idx="11">
                  <c:v>2399332</c:v>
                </c:pt>
                <c:pt idx="12">
                  <c:v>2304584</c:v>
                </c:pt>
                <c:pt idx="13">
                  <c:v>1941330</c:v>
                </c:pt>
                <c:pt idx="14">
                  <c:v>1896934</c:v>
                </c:pt>
                <c:pt idx="15">
                  <c:v>1904263</c:v>
                </c:pt>
                <c:pt idx="16">
                  <c:v>1925246</c:v>
                </c:pt>
                <c:pt idx="17">
                  <c:v>1941617</c:v>
                </c:pt>
                <c:pt idx="18">
                  <c:v>2094575</c:v>
                </c:pt>
                <c:pt idx="19">
                  <c:v>2307219</c:v>
                </c:pt>
                <c:pt idx="20">
                  <c:v>2315575</c:v>
                </c:pt>
                <c:pt idx="21">
                  <c:v>2465268</c:v>
                </c:pt>
                <c:pt idx="22">
                  <c:v>2441059</c:v>
                </c:pt>
                <c:pt idx="23">
                  <c:v>2525208</c:v>
                </c:pt>
                <c:pt idx="24">
                  <c:v>2245114</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2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2.9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25</c:v>
                </c:pt>
                <c:pt idx="1">
                  <c:v>3.14</c:v>
                </c:pt>
                <c:pt idx="2">
                  <c:v>3.11</c:v>
                </c:pt>
                <c:pt idx="3">
                  <c:v>3.14</c:v>
                </c:pt>
                <c:pt idx="4">
                  <c:v>3.21</c:v>
                </c:pt>
                <c:pt idx="5">
                  <c:v>3.26</c:v>
                </c:pt>
                <c:pt idx="6">
                  <c:v>3.29</c:v>
                </c:pt>
                <c:pt idx="7">
                  <c:v>3.02</c:v>
                </c:pt>
                <c:pt idx="8">
                  <c:v>2.98</c:v>
                </c:pt>
                <c:pt idx="9">
                  <c:v>2.88</c:v>
                </c:pt>
                <c:pt idx="10">
                  <c:v>2.97</c:v>
                </c:pt>
                <c:pt idx="11">
                  <c:v>2.95</c:v>
                </c:pt>
                <c:pt idx="12">
                  <c:v>2.9</c:v>
                </c:pt>
                <c:pt idx="13">
                  <c:v>2.74</c:v>
                </c:pt>
                <c:pt idx="14">
                  <c:v>2.66</c:v>
                </c:pt>
                <c:pt idx="15">
                  <c:v>2.64</c:v>
                </c:pt>
                <c:pt idx="16">
                  <c:v>2.7</c:v>
                </c:pt>
                <c:pt idx="17">
                  <c:v>2.68</c:v>
                </c:pt>
                <c:pt idx="18">
                  <c:v>2.68</c:v>
                </c:pt>
                <c:pt idx="19">
                  <c:v>2.88</c:v>
                </c:pt>
                <c:pt idx="20">
                  <c:v>2.8</c:v>
                </c:pt>
                <c:pt idx="21">
                  <c:v>2.8</c:v>
                </c:pt>
                <c:pt idx="22">
                  <c:v>2.92</c:v>
                </c:pt>
                <c:pt idx="23">
                  <c:v>2.85</c:v>
                </c:pt>
                <c:pt idx="24">
                  <c:v>2.96</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3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Amazon</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982</c:v>
                </c:pt>
                <c:pt idx="2">
                  <c:v>1758</c:v>
                </c:pt>
                <c:pt idx="3">
                  <c:v>1569</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Bic Solei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42</c:v>
                </c:pt>
                <c:pt idx="2">
                  <c:v>204</c:v>
                </c:pt>
                <c:pt idx="3">
                  <c:v>22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Intuition</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0</c:v>
                </c:pt>
                <c:pt idx="2">
                  <c:v>94</c:v>
                </c:pt>
                <c:pt idx="3">
                  <c:v>97</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Quattro</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88</c:v>
                </c:pt>
                <c:pt idx="2">
                  <c:v>83</c:v>
                </c:pt>
                <c:pt idx="3">
                  <c:v>7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39</c:v>
                </c:pt>
                <c:pt idx="2">
                  <c:v>146</c:v>
                </c:pt>
                <c:pt idx="3">
                  <c:v>121</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2378.4"/>
          <c:min val="56.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7</c:v>
                </c:pt>
                <c:pt idx="2">
                  <c:v>102</c:v>
                </c:pt>
                <c:pt idx="3">
                  <c:v>96</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Amazon</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2</c:v>
                </c:pt>
                <c:pt idx="2">
                  <c:v>103</c:v>
                </c:pt>
                <c:pt idx="3">
                  <c:v>94</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Bic Solei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5</c:v>
                </c:pt>
                <c:pt idx="2">
                  <c:v>110</c:v>
                </c:pt>
                <c:pt idx="3">
                  <c:v>107</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Intuition</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8</c:v>
                </c:pt>
                <c:pt idx="2">
                  <c:v>102</c:v>
                </c:pt>
                <c:pt idx="3">
                  <c:v>98</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Quattro</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13</c:v>
                </c:pt>
                <c:pt idx="2">
                  <c:v>115</c:v>
                </c:pt>
                <c:pt idx="3">
                  <c:v>98</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84</c:v>
                </c:pt>
                <c:pt idx="2">
                  <c:v>80</c:v>
                </c:pt>
                <c:pt idx="3">
                  <c:v>83</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8.0"/>
          <c:min val="64.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Amazon</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61</c:v>
                </c:pt>
                <c:pt idx="2">
                  <c:v>183</c:v>
                </c:pt>
                <c:pt idx="3">
                  <c:v>161</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Flamingo</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92</c:v>
                </c:pt>
                <c:pt idx="2">
                  <c:v>402</c:v>
                </c:pt>
                <c:pt idx="3">
                  <c:v>544</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0</c:v>
                </c:pt>
                <c:pt idx="2">
                  <c:v>82</c:v>
                </c:pt>
                <c:pt idx="3">
                  <c:v>77</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Hydro Silk</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12</c:v>
                </c:pt>
                <c:pt idx="2">
                  <c:v>108</c:v>
                </c:pt>
                <c:pt idx="3">
                  <c:v>105</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Intuition</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1</c:v>
                </c:pt>
                <c:pt idx="2">
                  <c:v>79</c:v>
                </c:pt>
                <c:pt idx="3">
                  <c:v>54</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652.8"/>
          <c:min val="43.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97</c:v>
                </c:pt>
                <c:pt idx="2">
                  <c:v>89</c:v>
                </c:pt>
                <c:pt idx="3">
                  <c:v>83</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Amazon</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7</c:v>
                </c:pt>
                <c:pt idx="2">
                  <c:v>105</c:v>
                </c:pt>
                <c:pt idx="3">
                  <c:v>102</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Flamingo</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82</c:v>
                </c:pt>
                <c:pt idx="2">
                  <c:v>73</c:v>
                </c:pt>
                <c:pt idx="3">
                  <c:v>7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6</c:v>
                </c:pt>
                <c:pt idx="2">
                  <c:v>111</c:v>
                </c:pt>
                <c:pt idx="3">
                  <c:v>113</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Hydro Silk</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10</c:v>
                </c:pt>
                <c:pt idx="2">
                  <c:v>115</c:v>
                </c:pt>
                <c:pt idx="3">
                  <c:v>113</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Intuition</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8</c:v>
                </c:pt>
                <c:pt idx="2">
                  <c:v>88</c:v>
                </c:pt>
                <c:pt idx="3">
                  <c:v>86</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8.0"/>
          <c:min val="56.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m P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82</c:v>
                </c:pt>
                <c:pt idx="2">
                  <c:v>357</c:v>
                </c:pt>
                <c:pt idx="3">
                  <c:v>32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428.4"/>
          <c:min val="8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97</c:v>
                </c:pt>
                <c:pt idx="2">
                  <c:v>82</c:v>
                </c:pt>
                <c:pt idx="3">
                  <c:v>63</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m P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9</c:v>
                </c:pt>
                <c:pt idx="2">
                  <c:v>92</c:v>
                </c:pt>
                <c:pt idx="3">
                  <c:v>83</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0.0"/>
          <c:min val="50.40000000000000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Gillette Venu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40</c:v>
                </c:pt>
                <c:pt idx="2">
                  <c:v>139</c:v>
                </c:pt>
                <c:pt idx="3">
                  <c:v>14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Intuition</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49</c:v>
                </c:pt>
                <c:pt idx="2">
                  <c:v>43</c:v>
                </c:pt>
                <c:pt idx="3">
                  <c:v>38</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Noxzema Base</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1</c:v>
                </c:pt>
                <c:pt idx="2">
                  <c:v>102</c:v>
                </c:pt>
                <c:pt idx="3">
                  <c:v>72</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68.0"/>
          <c:min val="30.40000000000000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14</c:v>
                </c:pt>
                <c:pt idx="2">
                  <c:v>110</c:v>
                </c:pt>
                <c:pt idx="3">
                  <c:v>10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Gillette Venu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2</c:v>
                </c:pt>
                <c:pt idx="2">
                  <c:v>89</c:v>
                </c:pt>
                <c:pt idx="3">
                  <c:v>77</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Intuition</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25</c:v>
                </c:pt>
                <c:pt idx="2">
                  <c:v>136</c:v>
                </c:pt>
                <c:pt idx="3">
                  <c:v>121</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Noxzema Base</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8</c:v>
                </c:pt>
                <c:pt idx="2">
                  <c:v>123</c:v>
                </c:pt>
                <c:pt idx="3">
                  <c:v>102</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63.2"/>
          <c:min val="61.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Clio</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19</c:v>
                </c:pt>
                <c:pt idx="2">
                  <c:v>159</c:v>
                </c:pt>
                <c:pt idx="3">
                  <c:v>133</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Finishing Touch Flawles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67</c:v>
                </c:pt>
                <c:pt idx="2">
                  <c:v>14</c:v>
                </c:pt>
                <c:pt idx="3">
                  <c:v>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90</c:v>
                </c:pt>
                <c:pt idx="2">
                  <c:v>192</c:v>
                </c:pt>
                <c:pt idx="3">
                  <c:v>146</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Revlon</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78</c:v>
                </c:pt>
                <c:pt idx="2">
                  <c:v>132</c:v>
                </c:pt>
                <c:pt idx="3">
                  <c:v>68</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Universal Razor</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70</c:v>
                </c:pt>
                <c:pt idx="2">
                  <c:v>64</c:v>
                </c:pt>
                <c:pt idx="3">
                  <c:v>6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230.39999999999998"/>
          <c:min val="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8</c:v>
                </c:pt>
                <c:pt idx="2">
                  <c:v>106</c:v>
                </c:pt>
                <c:pt idx="3">
                  <c:v>112</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Clio</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9</c:v>
                </c:pt>
                <c:pt idx="2">
                  <c:v>91</c:v>
                </c:pt>
                <c:pt idx="3">
                  <c:v>102</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Finishing Touch Flawles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0</c:v>
                </c:pt>
                <c:pt idx="2">
                  <c:v>132</c:v>
                </c:pt>
                <c:pt idx="3">
                  <c:v>147</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22</c:v>
                </c:pt>
                <c:pt idx="2">
                  <c:v>129</c:v>
                </c:pt>
                <c:pt idx="3">
                  <c:v>131</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Revlon</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3</c:v>
                </c:pt>
                <c:pt idx="2">
                  <c:v>96</c:v>
                </c:pt>
                <c:pt idx="3">
                  <c:v>87</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Universal Razor</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6</c:v>
                </c:pt>
                <c:pt idx="2">
                  <c:v>102</c:v>
                </c:pt>
                <c:pt idx="3">
                  <c:v>108</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76.4"/>
          <c:min val="69.6000000000000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702,56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536,82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342,04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702561</c:v>
                </c:pt>
                <c:pt idx="1">
                  <c:v>706038</c:v>
                </c:pt>
                <c:pt idx="2">
                  <c:v>1008345</c:v>
                </c:pt>
                <c:pt idx="3">
                  <c:v>948061</c:v>
                </c:pt>
                <c:pt idx="4">
                  <c:v>1118036</c:v>
                </c:pt>
                <c:pt idx="5">
                  <c:v>624787</c:v>
                </c:pt>
                <c:pt idx="6">
                  <c:v>687755</c:v>
                </c:pt>
                <c:pt idx="7">
                  <c:v>819593</c:v>
                </c:pt>
                <c:pt idx="8">
                  <c:v>692923</c:v>
                </c:pt>
                <c:pt idx="9">
                  <c:v>730730</c:v>
                </c:pt>
                <c:pt idx="10">
                  <c:v>625753</c:v>
                </c:pt>
                <c:pt idx="11">
                  <c:v>644098</c:v>
                </c:pt>
                <c:pt idx="12">
                  <c:v>722603</c:v>
                </c:pt>
                <c:pt idx="13">
                  <c:v>536823</c:v>
                </c:pt>
                <c:pt idx="14">
                  <c:v>852131</c:v>
                </c:pt>
                <c:pt idx="15">
                  <c:v>916935</c:v>
                </c:pt>
                <c:pt idx="16">
                  <c:v>921677</c:v>
                </c:pt>
                <c:pt idx="17">
                  <c:v>348378</c:v>
                </c:pt>
                <c:pt idx="18">
                  <c:v>336596</c:v>
                </c:pt>
                <c:pt idx="19">
                  <c:v>343304</c:v>
                </c:pt>
                <c:pt idx="20">
                  <c:v>403838</c:v>
                </c:pt>
                <c:pt idx="21">
                  <c:v>371199</c:v>
                </c:pt>
                <c:pt idx="22">
                  <c:v>345639</c:v>
                </c:pt>
                <c:pt idx="23">
                  <c:v>338690</c:v>
                </c:pt>
                <c:pt idx="24">
                  <c:v>342043</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1.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7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6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1.64</c:v>
                </c:pt>
                <c:pt idx="1">
                  <c:v>1.54</c:v>
                </c:pt>
                <c:pt idx="2">
                  <c:v>1.24</c:v>
                </c:pt>
                <c:pt idx="3">
                  <c:v>1.21</c:v>
                </c:pt>
                <c:pt idx="4">
                  <c:v>1.11</c:v>
                </c:pt>
                <c:pt idx="5">
                  <c:v>1.41</c:v>
                </c:pt>
                <c:pt idx="6">
                  <c:v>1.2</c:v>
                </c:pt>
                <c:pt idx="7">
                  <c:v>1.01</c:v>
                </c:pt>
                <c:pt idx="8">
                  <c:v>1.58</c:v>
                </c:pt>
                <c:pt idx="9">
                  <c:v>1.5</c:v>
                </c:pt>
                <c:pt idx="10">
                  <c:v>1.7</c:v>
                </c:pt>
                <c:pt idx="11">
                  <c:v>1.78</c:v>
                </c:pt>
                <c:pt idx="12">
                  <c:v>1.75</c:v>
                </c:pt>
                <c:pt idx="13">
                  <c:v>1.78</c:v>
                </c:pt>
                <c:pt idx="14">
                  <c:v>1.31</c:v>
                </c:pt>
                <c:pt idx="15">
                  <c:v>1.22</c:v>
                </c:pt>
                <c:pt idx="16">
                  <c:v>1.13</c:v>
                </c:pt>
                <c:pt idx="17">
                  <c:v>1.4</c:v>
                </c:pt>
                <c:pt idx="18">
                  <c:v>1.4</c:v>
                </c:pt>
                <c:pt idx="19">
                  <c:v>1.43</c:v>
                </c:pt>
                <c:pt idx="20">
                  <c:v>1.6</c:v>
                </c:pt>
                <c:pt idx="21">
                  <c:v>1.53</c:v>
                </c:pt>
                <c:pt idx="22">
                  <c:v>1.55</c:v>
                </c:pt>
                <c:pt idx="23">
                  <c:v>1.61</c:v>
                </c:pt>
                <c:pt idx="24">
                  <c:v>1.6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3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ilky Touch</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35</c:v>
                </c:pt>
                <c:pt idx="2">
                  <c:v>128</c:v>
                </c:pt>
                <c:pt idx="3">
                  <c:v>29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Daisy</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71</c:v>
                </c:pt>
                <c:pt idx="2">
                  <c:v>66</c:v>
                </c:pt>
                <c:pt idx="3">
                  <c:v>51</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41</c:v>
                </c:pt>
                <c:pt idx="2">
                  <c:v>143</c:v>
                </c:pt>
                <c:pt idx="3">
                  <c:v>164</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bg: All Others</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4</c:f>
              <c:numCache>
                <c:formatCode>General</c:formatCode>
                <c:ptCount val="3"/>
                <c:pt idx="0">
                  <c:v>100</c:v>
                </c:pt>
                <c:pt idx="1">
                  <c:v>84</c:v>
                </c:pt>
                <c:pt idx="2">
                  <c:v>7</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4</c:f>
              <c:numCache>
                <c:formatCode>General</c:formatCode>
                <c:ptCount val="3"/>
                <c:pt idx="0">
                  <c:v>100</c:v>
                </c:pt>
                <c:pt idx="1">
                  <c:v>55</c:v>
                </c:pt>
                <c:pt idx="2">
                  <c:v>5</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348.0"/>
          <c:min val="4.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77</c:v>
                </c:pt>
                <c:pt idx="2">
                  <c:v>91</c:v>
                </c:pt>
                <c:pt idx="3">
                  <c:v>131</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ilky Touch</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1</c:v>
                </c:pt>
                <c:pt idx="2">
                  <c:v>86</c:v>
                </c:pt>
                <c:pt idx="3">
                  <c:v>82</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Daisy</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0</c:v>
                </c:pt>
                <c:pt idx="2">
                  <c:v>86</c:v>
                </c:pt>
                <c:pt idx="3">
                  <c:v>92</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31</c:v>
                </c:pt>
                <c:pt idx="2">
                  <c:v>45</c:v>
                </c:pt>
                <c:pt idx="3">
                  <c:v>81</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bg: All Others</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4</c:f>
              <c:numCache>
                <c:formatCode>General</c:formatCode>
                <c:ptCount val="3"/>
                <c:pt idx="0">
                  <c:v>100</c:v>
                </c:pt>
                <c:pt idx="1">
                  <c:v>98</c:v>
                </c:pt>
                <c:pt idx="2">
                  <c:v>51</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4</c:f>
              <c:numCache>
                <c:formatCode>General</c:formatCode>
                <c:ptCount val="3"/>
                <c:pt idx="0">
                  <c:v>100</c:v>
                </c:pt>
                <c:pt idx="1">
                  <c:v>165</c:v>
                </c:pt>
                <c:pt idx="2">
                  <c:v>16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98.0"/>
          <c:min val="24.8"/>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240</c:v>
                </c:pt>
                <c:pt idx="2">
                  <c:v>261</c:v>
                </c:pt>
                <c:pt idx="3">
                  <c:v>186</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7</c:v>
                </c:pt>
                <c:pt idx="2">
                  <c:v>112</c:v>
                </c:pt>
                <c:pt idx="3">
                  <c:v>109</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79</c:v>
                </c:pt>
                <c:pt idx="2">
                  <c:v>41</c:v>
                </c:pt>
                <c:pt idx="3">
                  <c:v>121</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bg: All Others</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4</c:f>
              <c:numCache>
                <c:formatCode>General</c:formatCode>
                <c:ptCount val="3"/>
                <c:pt idx="0">
                  <c:v>100</c:v>
                </c:pt>
                <c:pt idx="1">
                  <c:v>91</c:v>
                </c:pt>
                <c:pt idx="2">
                  <c:v>11</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28</c:v>
                </c:pt>
                <c:pt idx="2">
                  <c:v>2</c:v>
                </c:pt>
                <c:pt idx="3">
                  <c:v>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313.2"/>
          <c:min val="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17</c:v>
                </c:pt>
                <c:pt idx="2">
                  <c:v>120</c:v>
                </c:pt>
                <c:pt idx="3">
                  <c:v>102</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7</c:v>
                </c:pt>
                <c:pt idx="2">
                  <c:v>101</c:v>
                </c:pt>
                <c:pt idx="3">
                  <c:v>106</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1</c:v>
                </c:pt>
                <c:pt idx="2">
                  <c:v>110</c:v>
                </c:pt>
                <c:pt idx="3">
                  <c:v>92</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18</c:v>
                </c:pt>
                <c:pt idx="2">
                  <c:v>129</c:v>
                </c:pt>
                <c:pt idx="3">
                  <c:v>81</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bg: All Others</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4</c:f>
              <c:numCache>
                <c:formatCode>General</c:formatCode>
                <c:ptCount val="3"/>
                <c:pt idx="0">
                  <c:v>100</c:v>
                </c:pt>
                <c:pt idx="1">
                  <c:v>92</c:v>
                </c:pt>
                <c:pt idx="2">
                  <c:v>51</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9</c:v>
                </c:pt>
                <c:pt idx="2">
                  <c:v>116</c:v>
                </c:pt>
                <c:pt idx="3">
                  <c:v>12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4.79999999999998"/>
          <c:min val="40.800000000000004"/>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810</c:v>
                </c:pt>
                <c:pt idx="2">
                  <c:v>1670</c:v>
                </c:pt>
                <c:pt idx="3">
                  <c:v>2294</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Intuition</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9</c:v>
                </c:pt>
                <c:pt idx="2">
                  <c:v>112</c:v>
                </c:pt>
                <c:pt idx="3">
                  <c:v>124</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Noxzema Base</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3</c:f>
              <c:numCache>
                <c:formatCode>General</c:formatCode>
                <c:ptCount val="2"/>
                <c:pt idx="0">
                  <c:v>100</c:v>
                </c:pt>
                <c:pt idx="1">
                  <c:v>6</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Quattro</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4</c:v>
                </c:pt>
                <c:pt idx="2">
                  <c:v>95</c:v>
                </c:pt>
                <c:pt idx="3">
                  <c:v>102</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89</c:v>
                </c:pt>
                <c:pt idx="2">
                  <c:v>87</c:v>
                </c:pt>
                <c:pt idx="3">
                  <c:v>71</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2752.7999999999997"/>
          <c:min val="4.80000000000000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15</c:v>
                </c:pt>
                <c:pt idx="2">
                  <c:v>116</c:v>
                </c:pt>
                <c:pt idx="3">
                  <c:v>11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85</c:v>
                </c:pt>
                <c:pt idx="2">
                  <c:v>84</c:v>
                </c:pt>
                <c:pt idx="3">
                  <c:v>84</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Intuition</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4</c:v>
                </c:pt>
                <c:pt idx="2">
                  <c:v>110</c:v>
                </c:pt>
                <c:pt idx="3">
                  <c:v>108</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Noxzema Base</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3</c:f>
              <c:numCache>
                <c:formatCode>General</c:formatCode>
                <c:ptCount val="2"/>
                <c:pt idx="0">
                  <c:v>100</c:v>
                </c:pt>
                <c:pt idx="1">
                  <c:v>52</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Quattro</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1</c:v>
                </c:pt>
                <c:pt idx="2">
                  <c:v>104</c:v>
                </c:pt>
                <c:pt idx="3">
                  <c:v>82</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15</c:v>
                </c:pt>
                <c:pt idx="2">
                  <c:v>112</c:v>
                </c:pt>
                <c:pt idx="3">
                  <c:v>11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2.79999999999998"/>
          <c:min val="41.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Flamingo</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4</c:v>
                </c:pt>
                <c:pt idx="2">
                  <c:v>108</c:v>
                </c:pt>
                <c:pt idx="3">
                  <c:v>115</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1</c:v>
                </c:pt>
                <c:pt idx="2">
                  <c:v>87</c:v>
                </c:pt>
                <c:pt idx="3">
                  <c:v>85</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7</c:v>
                </c:pt>
                <c:pt idx="2">
                  <c:v>105</c:v>
                </c:pt>
                <c:pt idx="3">
                  <c:v>84</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30</c:v>
                </c:pt>
                <c:pt idx="2">
                  <c:v>5</c:v>
                </c:pt>
                <c:pt idx="3">
                  <c:v>1</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Joy</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86</c:v>
                </c:pt>
                <c:pt idx="2">
                  <c:v>6</c:v>
                </c:pt>
                <c:pt idx="3">
                  <c:v>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38.0"/>
          <c:min val="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4</c:v>
                </c:pt>
                <c:pt idx="2">
                  <c:v>101</c:v>
                </c:pt>
                <c:pt idx="3">
                  <c:v>97</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Flamingo</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3</c:v>
                </c:pt>
                <c:pt idx="2">
                  <c:v>100</c:v>
                </c:pt>
                <c:pt idx="3">
                  <c:v>96</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8</c:v>
                </c:pt>
                <c:pt idx="2">
                  <c:v>108</c:v>
                </c:pt>
                <c:pt idx="3">
                  <c:v>108</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7</c:v>
                </c:pt>
                <c:pt idx="2">
                  <c:v>95</c:v>
                </c:pt>
                <c:pt idx="3">
                  <c:v>102</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1</c:v>
                </c:pt>
                <c:pt idx="2">
                  <c:v>105</c:v>
                </c:pt>
                <c:pt idx="3">
                  <c:v>103</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Joy</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7</c:v>
                </c:pt>
                <c:pt idx="2">
                  <c:v>54</c:v>
                </c:pt>
                <c:pt idx="3">
                  <c:v>6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9.6"/>
          <c:min val="43.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Noxzema Base</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3</c:v>
                </c:pt>
                <c:pt idx="2">
                  <c:v>0</c:v>
                </c:pt>
                <c:pt idx="3">
                  <c:v>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20.0"/>
          <c:min val="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282</c:v>
                </c:pt>
                <c:pt idx="2">
                  <c:v>1517</c:v>
                </c:pt>
                <c:pt idx="3">
                  <c:v>96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Noxzema Base</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83</c:v>
                </c:pt>
                <c:pt idx="2">
                  <c:v>99</c:v>
                </c:pt>
                <c:pt idx="3">
                  <c:v>109</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820.3999999999999"/>
          <c:min val="66.4"/>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30,617,81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6,630,92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34,705,97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30617810</c:v>
                </c:pt>
                <c:pt idx="1">
                  <c:v>25116503</c:v>
                </c:pt>
                <c:pt idx="2">
                  <c:v>23516720</c:v>
                </c:pt>
                <c:pt idx="3">
                  <c:v>23424855</c:v>
                </c:pt>
                <c:pt idx="4">
                  <c:v>28027927</c:v>
                </c:pt>
                <c:pt idx="5">
                  <c:v>23058657</c:v>
                </c:pt>
                <c:pt idx="6">
                  <c:v>22873490</c:v>
                </c:pt>
                <c:pt idx="7">
                  <c:v>27801003</c:v>
                </c:pt>
                <c:pt idx="8">
                  <c:v>28150190</c:v>
                </c:pt>
                <c:pt idx="9">
                  <c:v>31311093</c:v>
                </c:pt>
                <c:pt idx="10">
                  <c:v>31889496</c:v>
                </c:pt>
                <c:pt idx="11">
                  <c:v>34433779</c:v>
                </c:pt>
                <c:pt idx="12">
                  <c:v>33708148</c:v>
                </c:pt>
                <c:pt idx="13">
                  <c:v>26630921</c:v>
                </c:pt>
                <c:pt idx="14">
                  <c:v>24394173</c:v>
                </c:pt>
                <c:pt idx="15">
                  <c:v>23829672</c:v>
                </c:pt>
                <c:pt idx="16">
                  <c:v>31309371</c:v>
                </c:pt>
                <c:pt idx="17">
                  <c:v>23151797</c:v>
                </c:pt>
                <c:pt idx="18">
                  <c:v>24538303</c:v>
                </c:pt>
                <c:pt idx="19">
                  <c:v>28699688</c:v>
                </c:pt>
                <c:pt idx="20">
                  <c:v>27749573</c:v>
                </c:pt>
                <c:pt idx="21">
                  <c:v>31503625</c:v>
                </c:pt>
                <c:pt idx="22">
                  <c:v>32603223</c:v>
                </c:pt>
                <c:pt idx="23">
                  <c:v>35260512</c:v>
                </c:pt>
                <c:pt idx="24">
                  <c:v>34705972</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4.6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4.4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4.4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4.61</c:v>
                </c:pt>
                <c:pt idx="1">
                  <c:v>4.38</c:v>
                </c:pt>
                <c:pt idx="2">
                  <c:v>4.33</c:v>
                </c:pt>
                <c:pt idx="3">
                  <c:v>4.07</c:v>
                </c:pt>
                <c:pt idx="4">
                  <c:v>3.97</c:v>
                </c:pt>
                <c:pt idx="5">
                  <c:v>4.45</c:v>
                </c:pt>
                <c:pt idx="6">
                  <c:v>4.51</c:v>
                </c:pt>
                <c:pt idx="7">
                  <c:v>4.7</c:v>
                </c:pt>
                <c:pt idx="8">
                  <c:v>4.74</c:v>
                </c:pt>
                <c:pt idx="9">
                  <c:v>4.68</c:v>
                </c:pt>
                <c:pt idx="10">
                  <c:v>4.79</c:v>
                </c:pt>
                <c:pt idx="11">
                  <c:v>4.53</c:v>
                </c:pt>
                <c:pt idx="12">
                  <c:v>4.48</c:v>
                </c:pt>
                <c:pt idx="13">
                  <c:v>4.4</c:v>
                </c:pt>
                <c:pt idx="14">
                  <c:v>4.43</c:v>
                </c:pt>
                <c:pt idx="15">
                  <c:v>4.27</c:v>
                </c:pt>
                <c:pt idx="16">
                  <c:v>4.17</c:v>
                </c:pt>
                <c:pt idx="17">
                  <c:v>4.34</c:v>
                </c:pt>
                <c:pt idx="18">
                  <c:v>4.33</c:v>
                </c:pt>
                <c:pt idx="19">
                  <c:v>4.53</c:v>
                </c:pt>
                <c:pt idx="20">
                  <c:v>4.48</c:v>
                </c:pt>
                <c:pt idx="21">
                  <c:v>4.37</c:v>
                </c:pt>
                <c:pt idx="22">
                  <c:v>4.61</c:v>
                </c:pt>
                <c:pt idx="23">
                  <c:v>4.52</c:v>
                </c:pt>
                <c:pt idx="24">
                  <c:v>4.46</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3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Evribeauty</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44</c:v>
                </c:pt>
                <c:pt idx="2">
                  <c:v>36</c:v>
                </c:pt>
                <c:pt idx="3">
                  <c:v>37</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Hydro Silk</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621773</c:v>
                </c:pt>
                <c:pt idx="2">
                  <c:v>997396</c:v>
                </c:pt>
                <c:pt idx="3">
                  <c:v>858927</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Rem P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68</c:v>
                </c:pt>
                <c:pt idx="2">
                  <c:v>62</c:v>
                </c:pt>
                <c:pt idx="3">
                  <c:v>65</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Revlon</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5</c:v>
                </c:pt>
                <c:pt idx="2">
                  <c:v>87</c:v>
                </c:pt>
                <c:pt idx="3">
                  <c:v>106</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Universal Razor</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58</c:v>
                </c:pt>
                <c:pt idx="2">
                  <c:v>162</c:v>
                </c:pt>
                <c:pt idx="3">
                  <c:v>146</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196875.2"/>
          <c:min val="28.8"/>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19</c:v>
                </c:pt>
                <c:pt idx="2">
                  <c:v>127</c:v>
                </c:pt>
                <c:pt idx="3">
                  <c:v>128</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Evribeauty</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4</c:v>
                </c:pt>
                <c:pt idx="2">
                  <c:v>107</c:v>
                </c:pt>
                <c:pt idx="3">
                  <c:v>106</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Hydro Silk</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21</c:v>
                </c:pt>
                <c:pt idx="2">
                  <c:v>122</c:v>
                </c:pt>
                <c:pt idx="3">
                  <c:v>122</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Rem P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2</c:v>
                </c:pt>
                <c:pt idx="2">
                  <c:v>106</c:v>
                </c:pt>
                <c:pt idx="3">
                  <c:v>11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Revlon</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6</c:v>
                </c:pt>
                <c:pt idx="2">
                  <c:v>114</c:v>
                </c:pt>
                <c:pt idx="3">
                  <c:v>12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Universal Razor</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2</c:v>
                </c:pt>
                <c:pt idx="2">
                  <c:v>104</c:v>
                </c:pt>
                <c:pt idx="3">
                  <c:v>102</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3.6"/>
          <c:min val="8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ilky Touch</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87</c:v>
                </c:pt>
                <c:pt idx="2">
                  <c:v>85</c:v>
                </c:pt>
                <c:pt idx="3">
                  <c:v>82</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Daisy</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1</c:v>
                </c:pt>
                <c:pt idx="2">
                  <c:v>86</c:v>
                </c:pt>
                <c:pt idx="3">
                  <c:v>72</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39</c:v>
                </c:pt>
                <c:pt idx="2">
                  <c:v>152</c:v>
                </c:pt>
                <c:pt idx="3">
                  <c:v>177</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bg Pl</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4</c:v>
                </c:pt>
                <c:pt idx="2">
                  <c:v>82</c:v>
                </c:pt>
                <c:pt idx="3">
                  <c:v>68</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Pbg: All Others</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9</c:v>
                </c:pt>
                <c:pt idx="2">
                  <c:v>155</c:v>
                </c:pt>
                <c:pt idx="3">
                  <c:v>144</c:v>
                </c:pt>
              </c:numCache>
            </c:numRef>
          </c:val>
          <c:smooth val="0"/>
          <c:extLst>
            <c:ext xmlns:c16="http://schemas.microsoft.com/office/drawing/2014/chart" uri="{C3380CC4-5D6E-409C-BE32-E72D297353CC}">
              <c16:uniqueId val="{00000007-0907-1A4C-A11F-73C2425749BA}"/>
            </c:ext>
          </c:extLst>
        </c:ser>
        <c:ser>
          <c:idx val="9"/>
          <c:order val="6"/>
          <c:tx>
            <c:strRef>
              <c:f>Sheet1!$H$1</c:f>
              <c:strCache>
                <c:ptCount val="1"/>
                <c:pt idx="0">
                  <c:v>Skintimate</c:v>
                </c:pt>
              </c:strCache>
            </c:strRef>
          </c:tx>
          <c:spPr>
            <a:ln w="19050" cap="rnd">
              <a:solidFill>
                <a:srgbClr val="E5F4F3"/>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115</c:v>
                </c:pt>
                <c:pt idx="2">
                  <c:v>109</c:v>
                </c:pt>
                <c:pt idx="3">
                  <c:v>83</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212.4"/>
          <c:min val="54.40000000000000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8</c:v>
                </c:pt>
                <c:pt idx="2">
                  <c:v>112</c:v>
                </c:pt>
                <c:pt idx="3">
                  <c:v>117</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ilky Touch</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0</c:v>
                </c:pt>
                <c:pt idx="2">
                  <c:v>98</c:v>
                </c:pt>
                <c:pt idx="3">
                  <c:v>95</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Daisy</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4</c:v>
                </c:pt>
                <c:pt idx="2">
                  <c:v>116</c:v>
                </c:pt>
                <c:pt idx="3">
                  <c:v>116</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26</c:v>
                </c:pt>
                <c:pt idx="2">
                  <c:v>25</c:v>
                </c:pt>
                <c:pt idx="3">
                  <c:v>26</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bg Pl</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11</c:v>
                </c:pt>
                <c:pt idx="2">
                  <c:v>122</c:v>
                </c:pt>
                <c:pt idx="3">
                  <c:v>126</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Pbg: All Others</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5</c:v>
                </c:pt>
                <c:pt idx="2">
                  <c:v>112</c:v>
                </c:pt>
                <c:pt idx="3">
                  <c:v>113</c:v>
                </c:pt>
              </c:numCache>
            </c:numRef>
          </c:val>
          <c:smooth val="0"/>
          <c:extLst>
            <c:ext xmlns:c16="http://schemas.microsoft.com/office/drawing/2014/chart" uri="{C3380CC4-5D6E-409C-BE32-E72D297353CC}">
              <c16:uniqueId val="{00000003-F160-FB4E-B9E2-3D36233077E3}"/>
            </c:ext>
          </c:extLst>
        </c:ser>
        <c:ser>
          <c:idx val="9"/>
          <c:order val="6"/>
          <c:tx>
            <c:strRef>
              <c:f>Sheet1!$H$1</c:f>
              <c:strCache>
                <c:ptCount val="1"/>
                <c:pt idx="0">
                  <c:v>Skintimate</c:v>
                </c:pt>
              </c:strCache>
            </c:strRef>
          </c:tx>
          <c:spPr>
            <a:ln w="19050" cap="rnd">
              <a:solidFill>
                <a:srgbClr val="E5F4F3"/>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100</c:v>
                </c:pt>
                <c:pt idx="2">
                  <c:v>114</c:v>
                </c:pt>
                <c:pt idx="3">
                  <c:v>12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1.2"/>
          <c:min val="2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38</c:v>
                </c:pt>
                <c:pt idx="2">
                  <c:v>124</c:v>
                </c:pt>
                <c:pt idx="3">
                  <c:v>111</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5</c:v>
                </c:pt>
                <c:pt idx="2">
                  <c:v>102</c:v>
                </c:pt>
                <c:pt idx="3">
                  <c:v>105</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86</c:v>
                </c:pt>
                <c:pt idx="2">
                  <c:v>49</c:v>
                </c:pt>
                <c:pt idx="3">
                  <c:v>2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3883383</c:v>
                </c:pt>
                <c:pt idx="2">
                  <c:v>1801100</c:v>
                </c:pt>
                <c:pt idx="3">
                  <c:v>13110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Joy</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60</c:v>
                </c:pt>
                <c:pt idx="2">
                  <c:v>3</c:v>
                </c:pt>
                <c:pt idx="3">
                  <c:v>0</c:v>
                </c:pt>
              </c:numCache>
            </c:numRef>
          </c:val>
          <c:smooth val="0"/>
          <c:extLst>
            <c:ext xmlns:c16="http://schemas.microsoft.com/office/drawing/2014/chart" uri="{C3380CC4-5D6E-409C-BE32-E72D297353CC}">
              <c16:uniqueId val="{00000007-0907-1A4C-A11F-73C2425749BA}"/>
            </c:ext>
          </c:extLst>
        </c:ser>
        <c:ser>
          <c:idx val="9"/>
          <c:order val="6"/>
          <c:tx>
            <c:strRef>
              <c:f>Sheet1!$H$1</c:f>
              <c:strCache>
                <c:ptCount val="1"/>
                <c:pt idx="0">
                  <c:v>Pbg Pl</c:v>
                </c:pt>
              </c:strCache>
            </c:strRef>
          </c:tx>
          <c:spPr>
            <a:ln w="19050" cap="rnd">
              <a:solidFill>
                <a:srgbClr val="FFFF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106</c:v>
                </c:pt>
                <c:pt idx="2">
                  <c:v>109</c:v>
                </c:pt>
                <c:pt idx="3">
                  <c:v>125</c:v>
                </c:pt>
              </c:numCache>
            </c:numRef>
          </c:val>
          <c:smooth val="0"/>
          <c:extLst>
            <c:ext xmlns:c16="http://schemas.microsoft.com/office/drawing/2014/chart" uri="{C3380CC4-5D6E-409C-BE32-E72D297353CC}">
              <c16:uniqueId val="{00000007-0907-1A4C-A11F-73C2425749BA}"/>
            </c:ext>
          </c:extLst>
        </c:ser>
        <c:ser>
          <c:idx val="10"/>
          <c:order val="7"/>
          <c:tx>
            <c:strRef>
              <c:f>Sheet1!$I$1</c:f>
              <c:strCache>
                <c:ptCount val="1"/>
                <c:pt idx="0">
                  <c:v>Skintimate</c:v>
                </c:pt>
              </c:strCache>
            </c:strRef>
          </c:tx>
          <c:spPr>
            <a:ln w="19050" cap="rnd">
              <a:solidFill>
                <a:srgbClr val="306181"/>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I$2:$I$5</c:f>
              <c:numCache>
                <c:formatCode>General</c:formatCode>
                <c:ptCount val="4"/>
                <c:pt idx="0">
                  <c:v>100</c:v>
                </c:pt>
                <c:pt idx="1">
                  <c:v>6</c:v>
                </c:pt>
                <c:pt idx="2">
                  <c:v>0</c:v>
                </c:pt>
                <c:pt idx="3">
                  <c:v>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4660059.6"/>
          <c:min val="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1</c:v>
                </c:pt>
                <c:pt idx="2">
                  <c:v>112</c:v>
                </c:pt>
                <c:pt idx="3">
                  <c:v>113</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7</c:v>
                </c:pt>
                <c:pt idx="2">
                  <c:v>105</c:v>
                </c:pt>
                <c:pt idx="3">
                  <c:v>102</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4</c:v>
                </c:pt>
                <c:pt idx="2">
                  <c:v>111</c:v>
                </c:pt>
                <c:pt idx="3">
                  <c:v>113</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5</c:v>
                </c:pt>
                <c:pt idx="2">
                  <c:v>76</c:v>
                </c:pt>
                <c:pt idx="3">
                  <c:v>89</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9</c:v>
                </c:pt>
                <c:pt idx="2">
                  <c:v>98</c:v>
                </c:pt>
                <c:pt idx="3">
                  <c:v>41</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Joy</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6</c:v>
                </c:pt>
                <c:pt idx="2">
                  <c:v>57</c:v>
                </c:pt>
                <c:pt idx="3">
                  <c:v>78</c:v>
                </c:pt>
              </c:numCache>
            </c:numRef>
          </c:val>
          <c:smooth val="0"/>
          <c:extLst>
            <c:ext xmlns:c16="http://schemas.microsoft.com/office/drawing/2014/chart" uri="{C3380CC4-5D6E-409C-BE32-E72D297353CC}">
              <c16:uniqueId val="{00000003-F160-FB4E-B9E2-3D36233077E3}"/>
            </c:ext>
          </c:extLst>
        </c:ser>
        <c:ser>
          <c:idx val="9"/>
          <c:order val="6"/>
          <c:tx>
            <c:strRef>
              <c:f>Sheet1!$H$1</c:f>
              <c:strCache>
                <c:ptCount val="1"/>
                <c:pt idx="0">
                  <c:v>Pbg Pl</c:v>
                </c:pt>
              </c:strCache>
            </c:strRef>
          </c:tx>
          <c:spPr>
            <a:ln w="19050" cap="rnd">
              <a:solidFill>
                <a:srgbClr val="FFFF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107</c:v>
                </c:pt>
                <c:pt idx="2">
                  <c:v>121</c:v>
                </c:pt>
                <c:pt idx="3">
                  <c:v>122</c:v>
                </c:pt>
              </c:numCache>
            </c:numRef>
          </c:val>
          <c:smooth val="0"/>
          <c:extLst>
            <c:ext xmlns:c16="http://schemas.microsoft.com/office/drawing/2014/chart" uri="{C3380CC4-5D6E-409C-BE32-E72D297353CC}">
              <c16:uniqueId val="{00000003-F160-FB4E-B9E2-3D36233077E3}"/>
            </c:ext>
          </c:extLst>
        </c:ser>
        <c:ser>
          <c:idx val="10"/>
          <c:order val="7"/>
          <c:tx>
            <c:strRef>
              <c:f>Sheet1!$I$1</c:f>
              <c:strCache>
                <c:ptCount val="1"/>
                <c:pt idx="0">
                  <c:v>Skintimate</c:v>
                </c:pt>
              </c:strCache>
            </c:strRef>
          </c:tx>
          <c:spPr>
            <a:ln w="19050" cap="rnd">
              <a:solidFill>
                <a:srgbClr val="306181"/>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I$2:$I$5</c:f>
              <c:numCache>
                <c:formatCode>General</c:formatCode>
                <c:ptCount val="4"/>
                <c:pt idx="0">
                  <c:v>100</c:v>
                </c:pt>
                <c:pt idx="1">
                  <c:v>65</c:v>
                </c:pt>
                <c:pt idx="2">
                  <c:v>84</c:v>
                </c:pt>
                <c:pt idx="3">
                  <c:v>76</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6.4"/>
          <c:min val="32.800000000000004"/>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8</c:v>
                </c:pt>
                <c:pt idx="2">
                  <c:v>93</c:v>
                </c:pt>
                <c:pt idx="3">
                  <c:v>108</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Intuition</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30</c:v>
                </c:pt>
                <c:pt idx="2">
                  <c:v>117</c:v>
                </c:pt>
                <c:pt idx="3">
                  <c:v>125</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Pbg P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5</c:v>
                </c:pt>
                <c:pt idx="2">
                  <c:v>99</c:v>
                </c:pt>
                <c:pt idx="3">
                  <c:v>95</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Quattro</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75</c:v>
                </c:pt>
                <c:pt idx="2">
                  <c:v>28</c:v>
                </c:pt>
                <c:pt idx="3">
                  <c:v>3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48</c:v>
                </c:pt>
                <c:pt idx="2">
                  <c:v>40</c:v>
                </c:pt>
                <c:pt idx="3">
                  <c:v>24</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56.0"/>
          <c:min val="19.200000000000003"/>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23</c:v>
                </c:pt>
                <c:pt idx="2">
                  <c:v>133</c:v>
                </c:pt>
                <c:pt idx="3">
                  <c:v>137</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46</c:v>
                </c:pt>
                <c:pt idx="2">
                  <c:v>160</c:v>
                </c:pt>
                <c:pt idx="3">
                  <c:v>16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Intuition</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6</c:v>
                </c:pt>
                <c:pt idx="2">
                  <c:v>126</c:v>
                </c:pt>
                <c:pt idx="3">
                  <c:v>121</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Pbg P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86</c:v>
                </c:pt>
                <c:pt idx="2">
                  <c:v>91</c:v>
                </c:pt>
                <c:pt idx="3">
                  <c:v>96</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Quattro</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0</c:v>
                </c:pt>
                <c:pt idx="2">
                  <c:v>109</c:v>
                </c:pt>
                <c:pt idx="3">
                  <c:v>113</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0</c:v>
                </c:pt>
                <c:pt idx="2">
                  <c:v>100</c:v>
                </c:pt>
                <c:pt idx="3">
                  <c:v>101</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92.0"/>
          <c:min val="68.8"/>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73</c:v>
                </c:pt>
                <c:pt idx="2">
                  <c:v>83</c:v>
                </c:pt>
                <c:pt idx="3">
                  <c:v>62</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87</c:v>
                </c:pt>
                <c:pt idx="2">
                  <c:v>75</c:v>
                </c:pt>
                <c:pt idx="3">
                  <c:v>91</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70</c:v>
                </c:pt>
                <c:pt idx="2">
                  <c:v>71</c:v>
                </c:pt>
                <c:pt idx="3">
                  <c:v>49</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75</c:v>
                </c:pt>
                <c:pt idx="2">
                  <c:v>31</c:v>
                </c:pt>
                <c:pt idx="3">
                  <c:v>26</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Joy</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1</c:v>
                </c:pt>
                <c:pt idx="2">
                  <c:v>88</c:v>
                </c:pt>
                <c:pt idx="3">
                  <c:v>82</c:v>
                </c:pt>
              </c:numCache>
            </c:numRef>
          </c:val>
          <c:smooth val="0"/>
          <c:extLst>
            <c:ext xmlns:c16="http://schemas.microsoft.com/office/drawing/2014/chart" uri="{C3380CC4-5D6E-409C-BE32-E72D297353CC}">
              <c16:uniqueId val="{00000007-0907-1A4C-A11F-73C2425749BA}"/>
            </c:ext>
          </c:extLst>
        </c:ser>
        <c:ser>
          <c:idx val="9"/>
          <c:order val="6"/>
          <c:tx>
            <c:strRef>
              <c:f>Sheet1!$H$1</c:f>
              <c:strCache>
                <c:ptCount val="1"/>
                <c:pt idx="0">
                  <c:v>Pbg Pl</c:v>
                </c:pt>
              </c:strCache>
            </c:strRef>
          </c:tx>
          <c:spPr>
            <a:ln w="19050" cap="rnd">
              <a:solidFill>
                <a:srgbClr val="FFFF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93</c:v>
                </c:pt>
                <c:pt idx="2">
                  <c:v>102</c:v>
                </c:pt>
                <c:pt idx="3">
                  <c:v>116</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39.2"/>
          <c:min val="20.8"/>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13</c:v>
                </c:pt>
                <c:pt idx="2">
                  <c:v>109</c:v>
                </c:pt>
                <c:pt idx="3">
                  <c:v>111</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32</c:v>
                </c:pt>
                <c:pt idx="2">
                  <c:v>138</c:v>
                </c:pt>
                <c:pt idx="3">
                  <c:v>175</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1</c:v>
                </c:pt>
                <c:pt idx="2">
                  <c:v>113</c:v>
                </c:pt>
                <c:pt idx="3">
                  <c:v>113</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8</c:v>
                </c:pt>
                <c:pt idx="2">
                  <c:v>117</c:v>
                </c:pt>
                <c:pt idx="3">
                  <c:v>125</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80</c:v>
                </c:pt>
                <c:pt idx="2">
                  <c:v>65</c:v>
                </c:pt>
                <c:pt idx="3">
                  <c:v>72</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Joy</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1</c:v>
                </c:pt>
                <c:pt idx="2">
                  <c:v>102</c:v>
                </c:pt>
                <c:pt idx="3">
                  <c:v>100</c:v>
                </c:pt>
              </c:numCache>
            </c:numRef>
          </c:val>
          <c:smooth val="0"/>
          <c:extLst>
            <c:ext xmlns:c16="http://schemas.microsoft.com/office/drawing/2014/chart" uri="{C3380CC4-5D6E-409C-BE32-E72D297353CC}">
              <c16:uniqueId val="{00000003-F160-FB4E-B9E2-3D36233077E3}"/>
            </c:ext>
          </c:extLst>
        </c:ser>
        <c:ser>
          <c:idx val="9"/>
          <c:order val="6"/>
          <c:tx>
            <c:strRef>
              <c:f>Sheet1!$H$1</c:f>
              <c:strCache>
                <c:ptCount val="1"/>
                <c:pt idx="0">
                  <c:v>Pbg Pl</c:v>
                </c:pt>
              </c:strCache>
            </c:strRef>
          </c:tx>
          <c:spPr>
            <a:ln w="19050" cap="rnd">
              <a:solidFill>
                <a:srgbClr val="FFFF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103</c:v>
                </c:pt>
                <c:pt idx="2">
                  <c:v>106</c:v>
                </c:pt>
                <c:pt idx="3">
                  <c:v>108</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210.0"/>
          <c:min val="52.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35,757,66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9,407,42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34,783,37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35757662</c:v>
                </c:pt>
                <c:pt idx="1">
                  <c:v>30078268</c:v>
                </c:pt>
                <c:pt idx="2">
                  <c:v>30082031</c:v>
                </c:pt>
                <c:pt idx="3">
                  <c:v>28633465</c:v>
                </c:pt>
                <c:pt idx="4">
                  <c:v>33961822</c:v>
                </c:pt>
                <c:pt idx="5">
                  <c:v>26632796</c:v>
                </c:pt>
                <c:pt idx="6">
                  <c:v>26105017</c:v>
                </c:pt>
                <c:pt idx="7">
                  <c:v>30565648</c:v>
                </c:pt>
                <c:pt idx="8">
                  <c:v>30217251</c:v>
                </c:pt>
                <c:pt idx="9">
                  <c:v>33437249</c:v>
                </c:pt>
                <c:pt idx="10">
                  <c:v>35092374</c:v>
                </c:pt>
                <c:pt idx="11">
                  <c:v>36544273</c:v>
                </c:pt>
                <c:pt idx="12">
                  <c:v>35257059</c:v>
                </c:pt>
                <c:pt idx="13">
                  <c:v>29407428</c:v>
                </c:pt>
                <c:pt idx="14">
                  <c:v>29377745</c:v>
                </c:pt>
                <c:pt idx="15">
                  <c:v>28665311</c:v>
                </c:pt>
                <c:pt idx="16">
                  <c:v>37483805</c:v>
                </c:pt>
                <c:pt idx="17">
                  <c:v>26404233</c:v>
                </c:pt>
                <c:pt idx="18">
                  <c:v>27424595</c:v>
                </c:pt>
                <c:pt idx="19">
                  <c:v>31145895</c:v>
                </c:pt>
                <c:pt idx="20">
                  <c:v>29906290</c:v>
                </c:pt>
                <c:pt idx="21">
                  <c:v>32972821</c:v>
                </c:pt>
                <c:pt idx="22">
                  <c:v>35619236</c:v>
                </c:pt>
                <c:pt idx="23">
                  <c:v>36154601</c:v>
                </c:pt>
                <c:pt idx="24">
                  <c:v>34783372</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1.6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6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6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1.63</c:v>
                </c:pt>
                <c:pt idx="1">
                  <c:v>1.59</c:v>
                </c:pt>
                <c:pt idx="2">
                  <c:v>1.56</c:v>
                </c:pt>
                <c:pt idx="3">
                  <c:v>1.54</c:v>
                </c:pt>
                <c:pt idx="4">
                  <c:v>1.55</c:v>
                </c:pt>
                <c:pt idx="5">
                  <c:v>1.55</c:v>
                </c:pt>
                <c:pt idx="6">
                  <c:v>1.61</c:v>
                </c:pt>
                <c:pt idx="7">
                  <c:v>1.64</c:v>
                </c:pt>
                <c:pt idx="8">
                  <c:v>1.66</c:v>
                </c:pt>
                <c:pt idx="9">
                  <c:v>1.69</c:v>
                </c:pt>
                <c:pt idx="10">
                  <c:v>1.69</c:v>
                </c:pt>
                <c:pt idx="11">
                  <c:v>1.69</c:v>
                </c:pt>
                <c:pt idx="12">
                  <c:v>1.69</c:v>
                </c:pt>
                <c:pt idx="13">
                  <c:v>1.66</c:v>
                </c:pt>
                <c:pt idx="14">
                  <c:v>1.62</c:v>
                </c:pt>
                <c:pt idx="15">
                  <c:v>1.64</c:v>
                </c:pt>
                <c:pt idx="16">
                  <c:v>1.72</c:v>
                </c:pt>
                <c:pt idx="17">
                  <c:v>1.59</c:v>
                </c:pt>
                <c:pt idx="18">
                  <c:v>1.62</c:v>
                </c:pt>
                <c:pt idx="19">
                  <c:v>1.65</c:v>
                </c:pt>
                <c:pt idx="20">
                  <c:v>1.63</c:v>
                </c:pt>
                <c:pt idx="21">
                  <c:v>1.65</c:v>
                </c:pt>
                <c:pt idx="22">
                  <c:v>1.67</c:v>
                </c:pt>
                <c:pt idx="23">
                  <c:v>1.67</c:v>
                </c:pt>
                <c:pt idx="24">
                  <c:v>1.65</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30,453,41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7,078,23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32,926,29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30453413</c:v>
                </c:pt>
                <c:pt idx="1">
                  <c:v>26074342</c:v>
                </c:pt>
                <c:pt idx="2">
                  <c:v>25087296</c:v>
                </c:pt>
                <c:pt idx="3">
                  <c:v>22669428</c:v>
                </c:pt>
                <c:pt idx="4">
                  <c:v>25426389</c:v>
                </c:pt>
                <c:pt idx="5">
                  <c:v>24747401</c:v>
                </c:pt>
                <c:pt idx="6">
                  <c:v>22965212</c:v>
                </c:pt>
                <c:pt idx="7">
                  <c:v>26427181</c:v>
                </c:pt>
                <c:pt idx="8">
                  <c:v>26120960</c:v>
                </c:pt>
                <c:pt idx="9">
                  <c:v>28805355</c:v>
                </c:pt>
                <c:pt idx="10">
                  <c:v>30235324</c:v>
                </c:pt>
                <c:pt idx="11">
                  <c:v>32320133</c:v>
                </c:pt>
                <c:pt idx="12">
                  <c:v>31990326</c:v>
                </c:pt>
                <c:pt idx="13">
                  <c:v>27078234</c:v>
                </c:pt>
                <c:pt idx="14">
                  <c:v>26049214</c:v>
                </c:pt>
                <c:pt idx="15">
                  <c:v>23974464</c:v>
                </c:pt>
                <c:pt idx="16">
                  <c:v>26806588</c:v>
                </c:pt>
                <c:pt idx="17">
                  <c:v>24999436</c:v>
                </c:pt>
                <c:pt idx="18">
                  <c:v>24339323</c:v>
                </c:pt>
                <c:pt idx="19">
                  <c:v>27733064</c:v>
                </c:pt>
                <c:pt idx="20">
                  <c:v>26506760</c:v>
                </c:pt>
                <c:pt idx="21">
                  <c:v>29859039</c:v>
                </c:pt>
                <c:pt idx="22">
                  <c:v>31710704</c:v>
                </c:pt>
                <c:pt idx="23">
                  <c:v>33155432</c:v>
                </c:pt>
                <c:pt idx="24">
                  <c:v>32926294</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3.2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3.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38</c:v>
                </c:pt>
                <c:pt idx="1">
                  <c:v>3.4</c:v>
                </c:pt>
                <c:pt idx="2">
                  <c:v>3.42</c:v>
                </c:pt>
                <c:pt idx="3">
                  <c:v>3.41</c:v>
                </c:pt>
                <c:pt idx="4">
                  <c:v>3.4</c:v>
                </c:pt>
                <c:pt idx="5">
                  <c:v>3.36</c:v>
                </c:pt>
                <c:pt idx="6">
                  <c:v>3.35</c:v>
                </c:pt>
                <c:pt idx="7">
                  <c:v>3.33</c:v>
                </c:pt>
                <c:pt idx="8">
                  <c:v>3.36</c:v>
                </c:pt>
                <c:pt idx="9">
                  <c:v>3.35</c:v>
                </c:pt>
                <c:pt idx="10">
                  <c:v>3.36</c:v>
                </c:pt>
                <c:pt idx="11">
                  <c:v>3.33</c:v>
                </c:pt>
                <c:pt idx="12">
                  <c:v>3.29</c:v>
                </c:pt>
                <c:pt idx="13">
                  <c:v>3.28</c:v>
                </c:pt>
                <c:pt idx="14">
                  <c:v>3.25</c:v>
                </c:pt>
                <c:pt idx="15">
                  <c:v>3.24</c:v>
                </c:pt>
                <c:pt idx="16">
                  <c:v>3.2</c:v>
                </c:pt>
                <c:pt idx="17">
                  <c:v>3.17</c:v>
                </c:pt>
                <c:pt idx="18">
                  <c:v>3.16</c:v>
                </c:pt>
                <c:pt idx="19">
                  <c:v>3.13</c:v>
                </c:pt>
                <c:pt idx="20">
                  <c:v>3.13</c:v>
                </c:pt>
                <c:pt idx="21">
                  <c:v>3.15</c:v>
                </c:pt>
                <c:pt idx="22">
                  <c:v>3.17</c:v>
                </c:pt>
                <c:pt idx="23">
                  <c:v>3.12</c:v>
                </c:pt>
                <c:pt idx="24">
                  <c:v>3.12</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4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20.0"/>
          <c:min val="8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434</c:v>
                </c:pt>
                <c:pt idx="2">
                  <c:v>468</c:v>
                </c:pt>
                <c:pt idx="3">
                  <c:v>468</c:v>
                </c:pt>
              </c:numCache>
            </c:numRef>
          </c:val>
          <c:smooth val="0"/>
          <c:extLst>
            <c:ext xmlns:c16="http://schemas.microsoft.com/office/drawing/2014/chart" uri="{C3380CC4-5D6E-409C-BE32-E72D297353CC}">
              <c16:uniqueId val="{00000001-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561.6"/>
          <c:min val="8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Gillette Venu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34</c:v>
                </c:pt>
                <c:pt idx="2">
                  <c:v>63</c:v>
                </c:pt>
                <c:pt idx="3">
                  <c:v>10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Intuition</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4</c:f>
              <c:numCache>
                <c:formatCode>General</c:formatCode>
                <c:ptCount val="3"/>
                <c:pt idx="0">
                  <c:v>100</c:v>
                </c:pt>
                <c:pt idx="1">
                  <c:v>1538</c:v>
                </c:pt>
                <c:pt idx="2">
                  <c:v>81</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845.6"/>
          <c:min val="27.200000000000003"/>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29</c:v>
                </c:pt>
                <c:pt idx="2">
                  <c:v>69</c:v>
                </c:pt>
                <c:pt idx="3">
                  <c:v>54</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Gillette Venu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382</c:v>
                </c:pt>
                <c:pt idx="2">
                  <c:v>50</c:v>
                </c:pt>
                <c:pt idx="3">
                  <c:v>36</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Intuition</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4</c:f>
              <c:numCache>
                <c:formatCode>General</c:formatCode>
                <c:ptCount val="3"/>
                <c:pt idx="0">
                  <c:v>100</c:v>
                </c:pt>
                <c:pt idx="1">
                  <c:v>898</c:v>
                </c:pt>
                <c:pt idx="2">
                  <c:v>299</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077.6"/>
          <c:min val="23.200000000000003"/>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All Other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84</c:v>
                </c:pt>
                <c:pt idx="2">
                  <c:v>65</c:v>
                </c:pt>
                <c:pt idx="3">
                  <c:v>10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20.0"/>
          <c:min val="52.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2</c:v>
                </c:pt>
                <c:pt idx="2">
                  <c:v>97</c:v>
                </c:pt>
                <c:pt idx="3">
                  <c:v>8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All Other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1</c:v>
                </c:pt>
                <c:pt idx="2">
                  <c:v>73</c:v>
                </c:pt>
                <c:pt idx="3">
                  <c:v>89</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2.39999999999999"/>
          <c:min val="58.40000000000000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ilky Touch</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19</c:v>
                </c:pt>
                <c:pt idx="2">
                  <c:v>98</c:v>
                </c:pt>
                <c:pt idx="3">
                  <c:v>68</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Daisy</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7</c:v>
                </c:pt>
                <c:pt idx="2">
                  <c:v>80</c:v>
                </c:pt>
                <c:pt idx="3">
                  <c:v>54</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70</c:v>
                </c:pt>
                <c:pt idx="2">
                  <c:v>138</c:v>
                </c:pt>
                <c:pt idx="3">
                  <c:v>216</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Noxzema Base</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891</c:v>
                </c:pt>
                <c:pt idx="2">
                  <c:v>768</c:v>
                </c:pt>
                <c:pt idx="3">
                  <c:v>562</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Silk Effects</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77</c:v>
                </c:pt>
                <c:pt idx="2">
                  <c:v>38</c:v>
                </c:pt>
                <c:pt idx="3">
                  <c:v>4</c:v>
                </c:pt>
              </c:numCache>
            </c:numRef>
          </c:val>
          <c:smooth val="0"/>
          <c:extLst>
            <c:ext xmlns:c16="http://schemas.microsoft.com/office/drawing/2014/chart" uri="{C3380CC4-5D6E-409C-BE32-E72D297353CC}">
              <c16:uniqueId val="{00000007-0907-1A4C-A11F-73C2425749BA}"/>
            </c:ext>
          </c:extLst>
        </c:ser>
        <c:ser>
          <c:idx val="9"/>
          <c:order val="6"/>
          <c:tx>
            <c:strRef>
              <c:f>Sheet1!$H$1</c:f>
              <c:strCache>
                <c:ptCount val="1"/>
                <c:pt idx="0">
                  <c:v>Skintimate</c:v>
                </c:pt>
              </c:strCache>
            </c:strRef>
          </c:tx>
          <c:spPr>
            <a:ln w="19050" cap="rnd">
              <a:solidFill>
                <a:srgbClr val="E5F4F3"/>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4</c:f>
              <c:numCache>
                <c:formatCode>General</c:formatCode>
                <c:ptCount val="3"/>
                <c:pt idx="0">
                  <c:v>100</c:v>
                </c:pt>
                <c:pt idx="1">
                  <c:v>112</c:v>
                </c:pt>
                <c:pt idx="2">
                  <c:v>3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069.2"/>
          <c:min val="3.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99</c:v>
                </c:pt>
                <c:pt idx="2">
                  <c:v>113</c:v>
                </c:pt>
                <c:pt idx="3">
                  <c:v>156</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ilky Touch</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16</c:v>
                </c:pt>
                <c:pt idx="2">
                  <c:v>109</c:v>
                </c:pt>
                <c:pt idx="3">
                  <c:v>112</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Daisy</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0</c:v>
                </c:pt>
                <c:pt idx="2">
                  <c:v>117</c:v>
                </c:pt>
                <c:pt idx="3">
                  <c:v>118</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1</c:v>
                </c:pt>
                <c:pt idx="2">
                  <c:v>79</c:v>
                </c:pt>
                <c:pt idx="3">
                  <c:v>91</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Noxzema Base</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Silk Effects</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83</c:v>
                </c:pt>
                <c:pt idx="2">
                  <c:v>85</c:v>
                </c:pt>
                <c:pt idx="3">
                  <c:v>83</c:v>
                </c:pt>
              </c:numCache>
            </c:numRef>
          </c:val>
          <c:smooth val="0"/>
          <c:extLst>
            <c:ext xmlns:c16="http://schemas.microsoft.com/office/drawing/2014/chart" uri="{C3380CC4-5D6E-409C-BE32-E72D297353CC}">
              <c16:uniqueId val="{00000003-F160-FB4E-B9E2-3D36233077E3}"/>
            </c:ext>
          </c:extLst>
        </c:ser>
        <c:ser>
          <c:idx val="9"/>
          <c:order val="6"/>
          <c:tx>
            <c:strRef>
              <c:f>Sheet1!$H$1</c:f>
              <c:strCache>
                <c:ptCount val="1"/>
                <c:pt idx="0">
                  <c:v>Skintimate</c:v>
                </c:pt>
              </c:strCache>
            </c:strRef>
          </c:tx>
          <c:spPr>
            <a:ln w="19050" cap="rnd">
              <a:solidFill>
                <a:srgbClr val="E5F4F3"/>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4</c:f>
              <c:numCache>
                <c:formatCode>General</c:formatCode>
                <c:ptCount val="3"/>
                <c:pt idx="0">
                  <c:v>100</c:v>
                </c:pt>
                <c:pt idx="1">
                  <c:v>109</c:v>
                </c:pt>
                <c:pt idx="2">
                  <c:v>22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264.0"/>
          <c:min val="63.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22</c:v>
                </c:pt>
                <c:pt idx="2">
                  <c:v>103</c:v>
                </c:pt>
                <c:pt idx="3">
                  <c:v>85</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6</c:v>
                </c:pt>
                <c:pt idx="2">
                  <c:v>99</c:v>
                </c:pt>
                <c:pt idx="3">
                  <c:v>101</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81</c:v>
                </c:pt>
                <c:pt idx="2">
                  <c:v>22</c:v>
                </c:pt>
                <c:pt idx="3">
                  <c:v>1499</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Skintimate</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1</c:v>
                </c:pt>
                <c:pt idx="2">
                  <c:v>5</c:v>
                </c:pt>
                <c:pt idx="3">
                  <c:v>6</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798.8"/>
          <c:min val="4.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97</c:v>
                </c:pt>
                <c:pt idx="2">
                  <c:v>112</c:v>
                </c:pt>
                <c:pt idx="3">
                  <c:v>114</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0</c:v>
                </c:pt>
                <c:pt idx="2">
                  <c:v>110</c:v>
                </c:pt>
                <c:pt idx="3">
                  <c:v>112</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7</c:v>
                </c:pt>
                <c:pt idx="2">
                  <c:v>113</c:v>
                </c:pt>
                <c:pt idx="3">
                  <c:v>11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1</c:v>
                </c:pt>
                <c:pt idx="2">
                  <c:v>64</c:v>
                </c:pt>
                <c:pt idx="3">
                  <c:v>84</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Skintimate</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7</c:v>
                </c:pt>
                <c:pt idx="2">
                  <c:v>102</c:v>
                </c:pt>
                <c:pt idx="3">
                  <c:v>127</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2.4"/>
          <c:min val="51.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9,70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4,57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69,29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29709</c:v>
                </c:pt>
                <c:pt idx="1">
                  <c:v>47150</c:v>
                </c:pt>
                <c:pt idx="2">
                  <c:v>27491</c:v>
                </c:pt>
                <c:pt idx="3">
                  <c:v>28107</c:v>
                </c:pt>
                <c:pt idx="4">
                  <c:v>30199</c:v>
                </c:pt>
                <c:pt idx="5">
                  <c:v>38185</c:v>
                </c:pt>
                <c:pt idx="6">
                  <c:v>57598</c:v>
                </c:pt>
                <c:pt idx="7">
                  <c:v>47794</c:v>
                </c:pt>
                <c:pt idx="8">
                  <c:v>61090</c:v>
                </c:pt>
                <c:pt idx="9">
                  <c:v>122947</c:v>
                </c:pt>
                <c:pt idx="10">
                  <c:v>40223</c:v>
                </c:pt>
                <c:pt idx="11">
                  <c:v>49339</c:v>
                </c:pt>
                <c:pt idx="12">
                  <c:v>28328</c:v>
                </c:pt>
                <c:pt idx="13">
                  <c:v>24576</c:v>
                </c:pt>
                <c:pt idx="14">
                  <c:v>25462</c:v>
                </c:pt>
                <c:pt idx="15">
                  <c:v>23893</c:v>
                </c:pt>
                <c:pt idx="16">
                  <c:v>24284</c:v>
                </c:pt>
                <c:pt idx="17">
                  <c:v>39677</c:v>
                </c:pt>
                <c:pt idx="18">
                  <c:v>24226</c:v>
                </c:pt>
                <c:pt idx="19">
                  <c:v>27252</c:v>
                </c:pt>
                <c:pt idx="20">
                  <c:v>28888</c:v>
                </c:pt>
                <c:pt idx="21">
                  <c:v>30108</c:v>
                </c:pt>
                <c:pt idx="22">
                  <c:v>34577</c:v>
                </c:pt>
                <c:pt idx="23">
                  <c:v>33419</c:v>
                </c:pt>
                <c:pt idx="24">
                  <c:v>69298</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1.8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0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8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1.88</c:v>
                </c:pt>
                <c:pt idx="1">
                  <c:v>1.53</c:v>
                </c:pt>
                <c:pt idx="2">
                  <c:v>1.78</c:v>
                </c:pt>
                <c:pt idx="3">
                  <c:v>1.66</c:v>
                </c:pt>
                <c:pt idx="4">
                  <c:v>1.53</c:v>
                </c:pt>
                <c:pt idx="5">
                  <c:v>1.77</c:v>
                </c:pt>
                <c:pt idx="6">
                  <c:v>1.73</c:v>
                </c:pt>
                <c:pt idx="7">
                  <c:v>1.31</c:v>
                </c:pt>
                <c:pt idx="8">
                  <c:v>1.26</c:v>
                </c:pt>
                <c:pt idx="9">
                  <c:v>1.61</c:v>
                </c:pt>
                <c:pt idx="10">
                  <c:v>1.66</c:v>
                </c:pt>
                <c:pt idx="11">
                  <c:v>1.65</c:v>
                </c:pt>
                <c:pt idx="12">
                  <c:v>1.94</c:v>
                </c:pt>
                <c:pt idx="13">
                  <c:v>2.03</c:v>
                </c:pt>
                <c:pt idx="14">
                  <c:v>2.18</c:v>
                </c:pt>
                <c:pt idx="15">
                  <c:v>2.13</c:v>
                </c:pt>
                <c:pt idx="16">
                  <c:v>2.0</c:v>
                </c:pt>
                <c:pt idx="17">
                  <c:v>1.86</c:v>
                </c:pt>
                <c:pt idx="18">
                  <c:v>1.91</c:v>
                </c:pt>
                <c:pt idx="19">
                  <c:v>2.02</c:v>
                </c:pt>
                <c:pt idx="20">
                  <c:v>1.94</c:v>
                </c:pt>
                <c:pt idx="21">
                  <c:v>1.9</c:v>
                </c:pt>
                <c:pt idx="22">
                  <c:v>1.9</c:v>
                </c:pt>
                <c:pt idx="23">
                  <c:v>1.92</c:v>
                </c:pt>
                <c:pt idx="24">
                  <c:v>1.87</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4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Amazon</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827</c:v>
                </c:pt>
                <c:pt idx="2">
                  <c:v>1530</c:v>
                </c:pt>
                <c:pt idx="3">
                  <c:v>1335</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Bic Solei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1</c:v>
                </c:pt>
                <c:pt idx="2">
                  <c:v>171</c:v>
                </c:pt>
                <c:pt idx="3">
                  <c:v>179</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Intuition</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0</c:v>
                </c:pt>
                <c:pt idx="2">
                  <c:v>100</c:v>
                </c:pt>
                <c:pt idx="3">
                  <c:v>108</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Quattro</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4</c:v>
                </c:pt>
                <c:pt idx="2">
                  <c:v>82</c:v>
                </c:pt>
                <c:pt idx="3">
                  <c:v>65</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43</c:v>
                </c:pt>
                <c:pt idx="2">
                  <c:v>149</c:v>
                </c:pt>
                <c:pt idx="3">
                  <c:v>68</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2192.4"/>
          <c:min val="52.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8</c:v>
                </c:pt>
                <c:pt idx="2">
                  <c:v>111</c:v>
                </c:pt>
                <c:pt idx="3">
                  <c:v>100</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Amazon</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1</c:v>
                </c:pt>
                <c:pt idx="2">
                  <c:v>101</c:v>
                </c:pt>
                <c:pt idx="3">
                  <c:v>103</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Bic Solei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9</c:v>
                </c:pt>
                <c:pt idx="2">
                  <c:v>105</c:v>
                </c:pt>
                <c:pt idx="3">
                  <c:v>93</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Intuition</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9</c:v>
                </c:pt>
                <c:pt idx="2">
                  <c:v>112</c:v>
                </c:pt>
                <c:pt idx="3">
                  <c:v>99</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Quattro</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12</c:v>
                </c:pt>
                <c:pt idx="2">
                  <c:v>123</c:v>
                </c:pt>
                <c:pt idx="3">
                  <c:v>106</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82</c:v>
                </c:pt>
                <c:pt idx="2">
                  <c:v>79</c:v>
                </c:pt>
                <c:pt idx="3">
                  <c:v>9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7.6"/>
          <c:min val="63.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Amazon</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68</c:v>
                </c:pt>
                <c:pt idx="2">
                  <c:v>186</c:v>
                </c:pt>
                <c:pt idx="3">
                  <c:v>168</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86</c:v>
                </c:pt>
                <c:pt idx="2">
                  <c:v>76</c:v>
                </c:pt>
                <c:pt idx="3">
                  <c:v>68</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23</c:v>
                </c:pt>
                <c:pt idx="2">
                  <c:v>122</c:v>
                </c:pt>
                <c:pt idx="3">
                  <c:v>119</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77</c:v>
                </c:pt>
                <c:pt idx="2">
                  <c:v>37</c:v>
                </c:pt>
                <c:pt idx="3">
                  <c:v>26</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Joy</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22</c:v>
                </c:pt>
                <c:pt idx="2">
                  <c:v>111</c:v>
                </c:pt>
                <c:pt idx="3">
                  <c:v>92</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223.2"/>
          <c:min val="20.8"/>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93</c:v>
                </c:pt>
                <c:pt idx="2">
                  <c:v>83</c:v>
                </c:pt>
                <c:pt idx="3">
                  <c:v>77</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Amazon</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7</c:v>
                </c:pt>
                <c:pt idx="2">
                  <c:v>105</c:v>
                </c:pt>
                <c:pt idx="3">
                  <c:v>103</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7</c:v>
                </c:pt>
                <c:pt idx="2">
                  <c:v>111</c:v>
                </c:pt>
                <c:pt idx="3">
                  <c:v>116</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10</c:v>
                </c:pt>
                <c:pt idx="2">
                  <c:v>116</c:v>
                </c:pt>
                <c:pt idx="3">
                  <c:v>114</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3</c:v>
                </c:pt>
                <c:pt idx="2">
                  <c:v>92</c:v>
                </c:pt>
                <c:pt idx="3">
                  <c:v>94</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Joy</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80</c:v>
                </c:pt>
                <c:pt idx="2">
                  <c:v>90</c:v>
                </c:pt>
                <c:pt idx="3">
                  <c:v>81</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9.2"/>
          <c:min val="61.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Gillette Venu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27</c:v>
                </c:pt>
                <c:pt idx="2">
                  <c:v>132</c:v>
                </c:pt>
                <c:pt idx="3">
                  <c:v>126</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Intuition</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28</c:v>
                </c:pt>
                <c:pt idx="2">
                  <c:v>8</c:v>
                </c:pt>
                <c:pt idx="3">
                  <c:v>22</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58.4"/>
          <c:min val="6.4"/>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8</c:v>
                </c:pt>
                <c:pt idx="2">
                  <c:v>108</c:v>
                </c:pt>
                <c:pt idx="3">
                  <c:v>95</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Gillette Venu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1</c:v>
                </c:pt>
                <c:pt idx="2">
                  <c:v>90</c:v>
                </c:pt>
                <c:pt idx="3">
                  <c:v>78</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Intuition</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41</c:v>
                </c:pt>
                <c:pt idx="2">
                  <c:v>152</c:v>
                </c:pt>
                <c:pt idx="3">
                  <c:v>155</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86.0"/>
          <c:min val="62.40000000000000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Clio</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19</c:v>
                </c:pt>
                <c:pt idx="2">
                  <c:v>159</c:v>
                </c:pt>
                <c:pt idx="3">
                  <c:v>133</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Finishing Touch Flawles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67</c:v>
                </c:pt>
                <c:pt idx="2">
                  <c:v>14</c:v>
                </c:pt>
                <c:pt idx="3">
                  <c:v>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90</c:v>
                </c:pt>
                <c:pt idx="2">
                  <c:v>192</c:v>
                </c:pt>
                <c:pt idx="3">
                  <c:v>146</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Revlon</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78</c:v>
                </c:pt>
                <c:pt idx="2">
                  <c:v>132</c:v>
                </c:pt>
                <c:pt idx="3">
                  <c:v>68</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Universal Razor</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70</c:v>
                </c:pt>
                <c:pt idx="2">
                  <c:v>64</c:v>
                </c:pt>
                <c:pt idx="3">
                  <c:v>6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230.39999999999998"/>
          <c:min val="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8</c:v>
                </c:pt>
                <c:pt idx="2">
                  <c:v>106</c:v>
                </c:pt>
                <c:pt idx="3">
                  <c:v>112</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Clio</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9</c:v>
                </c:pt>
                <c:pt idx="2">
                  <c:v>91</c:v>
                </c:pt>
                <c:pt idx="3">
                  <c:v>102</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Finishing Touch Flawles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0</c:v>
                </c:pt>
                <c:pt idx="2">
                  <c:v>132</c:v>
                </c:pt>
                <c:pt idx="3">
                  <c:v>147</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22</c:v>
                </c:pt>
                <c:pt idx="2">
                  <c:v>129</c:v>
                </c:pt>
                <c:pt idx="3">
                  <c:v>131</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Revlon</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3</c:v>
                </c:pt>
                <c:pt idx="2">
                  <c:v>96</c:v>
                </c:pt>
                <c:pt idx="3">
                  <c:v>87</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Universal Razor</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6</c:v>
                </c:pt>
                <c:pt idx="2">
                  <c:v>102</c:v>
                </c:pt>
                <c:pt idx="3">
                  <c:v>108</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76.4"/>
          <c:min val="69.6000000000000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ilky Touch</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35</c:v>
                </c:pt>
                <c:pt idx="2">
                  <c:v>128</c:v>
                </c:pt>
                <c:pt idx="3">
                  <c:v>29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Daisy</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71</c:v>
                </c:pt>
                <c:pt idx="2">
                  <c:v>66</c:v>
                </c:pt>
                <c:pt idx="3">
                  <c:v>51</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41</c:v>
                </c:pt>
                <c:pt idx="2">
                  <c:v>143</c:v>
                </c:pt>
                <c:pt idx="3">
                  <c:v>164</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bg: All Others</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4</c:f>
              <c:numCache>
                <c:formatCode>General</c:formatCode>
                <c:ptCount val="3"/>
                <c:pt idx="0">
                  <c:v>100</c:v>
                </c:pt>
                <c:pt idx="1">
                  <c:v>84</c:v>
                </c:pt>
                <c:pt idx="2">
                  <c:v>7</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4</c:f>
              <c:numCache>
                <c:formatCode>General</c:formatCode>
                <c:ptCount val="3"/>
                <c:pt idx="0">
                  <c:v>100</c:v>
                </c:pt>
                <c:pt idx="1">
                  <c:v>55</c:v>
                </c:pt>
                <c:pt idx="2">
                  <c:v>5</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348.0"/>
          <c:min val="4.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77</c:v>
                </c:pt>
                <c:pt idx="2">
                  <c:v>91</c:v>
                </c:pt>
                <c:pt idx="3">
                  <c:v>131</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ilky Touch</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1</c:v>
                </c:pt>
                <c:pt idx="2">
                  <c:v>86</c:v>
                </c:pt>
                <c:pt idx="3">
                  <c:v>82</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Daisy</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0</c:v>
                </c:pt>
                <c:pt idx="2">
                  <c:v>86</c:v>
                </c:pt>
                <c:pt idx="3">
                  <c:v>92</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31</c:v>
                </c:pt>
                <c:pt idx="2">
                  <c:v>45</c:v>
                </c:pt>
                <c:pt idx="3">
                  <c:v>81</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bg: All Others</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4</c:f>
              <c:numCache>
                <c:formatCode>General</c:formatCode>
                <c:ptCount val="3"/>
                <c:pt idx="0">
                  <c:v>100</c:v>
                </c:pt>
                <c:pt idx="1">
                  <c:v>98</c:v>
                </c:pt>
                <c:pt idx="2">
                  <c:v>51</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4</c:f>
              <c:numCache>
                <c:formatCode>General</c:formatCode>
                <c:ptCount val="3"/>
                <c:pt idx="0">
                  <c:v>100</c:v>
                </c:pt>
                <c:pt idx="1">
                  <c:v>165</c:v>
                </c:pt>
                <c:pt idx="2">
                  <c:v>16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98.0"/>
          <c:min val="24.8"/>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3,581,58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3,336,67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4,387,25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3581587</c:v>
                </c:pt>
                <c:pt idx="1">
                  <c:v>3132067</c:v>
                </c:pt>
                <c:pt idx="2">
                  <c:v>3271875</c:v>
                </c:pt>
                <c:pt idx="3">
                  <c:v>3180443</c:v>
                </c:pt>
                <c:pt idx="4">
                  <c:v>3512079</c:v>
                </c:pt>
                <c:pt idx="5">
                  <c:v>3613390</c:v>
                </c:pt>
                <c:pt idx="6">
                  <c:v>3328041</c:v>
                </c:pt>
                <c:pt idx="7">
                  <c:v>3553916</c:v>
                </c:pt>
                <c:pt idx="8">
                  <c:v>3418871</c:v>
                </c:pt>
                <c:pt idx="9">
                  <c:v>3715271</c:v>
                </c:pt>
                <c:pt idx="10">
                  <c:v>3728998</c:v>
                </c:pt>
                <c:pt idx="11">
                  <c:v>4765953</c:v>
                </c:pt>
                <c:pt idx="12">
                  <c:v>3889239</c:v>
                </c:pt>
                <c:pt idx="13">
                  <c:v>3336674</c:v>
                </c:pt>
                <c:pt idx="14">
                  <c:v>3392835</c:v>
                </c:pt>
                <c:pt idx="15">
                  <c:v>3366026</c:v>
                </c:pt>
                <c:pt idx="16">
                  <c:v>3196934</c:v>
                </c:pt>
                <c:pt idx="17">
                  <c:v>3201763</c:v>
                </c:pt>
                <c:pt idx="18">
                  <c:v>3287466</c:v>
                </c:pt>
                <c:pt idx="19">
                  <c:v>3775334</c:v>
                </c:pt>
                <c:pt idx="20">
                  <c:v>3978652</c:v>
                </c:pt>
                <c:pt idx="21">
                  <c:v>4325022</c:v>
                </c:pt>
                <c:pt idx="22">
                  <c:v>4345037</c:v>
                </c:pt>
                <c:pt idx="23">
                  <c:v>5101309</c:v>
                </c:pt>
                <c:pt idx="24">
                  <c:v>4387256</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2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3.2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2</c:v>
                </c:pt>
                <c:pt idx="1">
                  <c:v>2.96</c:v>
                </c:pt>
                <c:pt idx="2">
                  <c:v>2.83</c:v>
                </c:pt>
                <c:pt idx="3">
                  <c:v>2.91</c:v>
                </c:pt>
                <c:pt idx="4">
                  <c:v>3.26</c:v>
                </c:pt>
                <c:pt idx="5">
                  <c:v>3.24</c:v>
                </c:pt>
                <c:pt idx="6">
                  <c:v>3.23</c:v>
                </c:pt>
                <c:pt idx="7">
                  <c:v>3.14</c:v>
                </c:pt>
                <c:pt idx="8">
                  <c:v>3.16</c:v>
                </c:pt>
                <c:pt idx="9">
                  <c:v>3.05</c:v>
                </c:pt>
                <c:pt idx="10">
                  <c:v>3.11</c:v>
                </c:pt>
                <c:pt idx="11">
                  <c:v>2.78</c:v>
                </c:pt>
                <c:pt idx="12">
                  <c:v>2.94</c:v>
                </c:pt>
                <c:pt idx="13">
                  <c:v>2.93</c:v>
                </c:pt>
                <c:pt idx="14">
                  <c:v>2.83</c:v>
                </c:pt>
                <c:pt idx="15">
                  <c:v>2.81</c:v>
                </c:pt>
                <c:pt idx="16">
                  <c:v>3.01</c:v>
                </c:pt>
                <c:pt idx="17">
                  <c:v>2.74</c:v>
                </c:pt>
                <c:pt idx="18">
                  <c:v>2.95</c:v>
                </c:pt>
                <c:pt idx="19">
                  <c:v>3.23</c:v>
                </c:pt>
                <c:pt idx="20">
                  <c:v>3.15</c:v>
                </c:pt>
                <c:pt idx="21">
                  <c:v>3.08</c:v>
                </c:pt>
                <c:pt idx="22">
                  <c:v>3.29</c:v>
                </c:pt>
                <c:pt idx="23">
                  <c:v>3.11</c:v>
                </c:pt>
                <c:pt idx="24">
                  <c:v>3.29</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4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240</c:v>
                </c:pt>
                <c:pt idx="2">
                  <c:v>261</c:v>
                </c:pt>
                <c:pt idx="3">
                  <c:v>186</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7</c:v>
                </c:pt>
                <c:pt idx="2">
                  <c:v>112</c:v>
                </c:pt>
                <c:pt idx="3">
                  <c:v>109</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79</c:v>
                </c:pt>
                <c:pt idx="2">
                  <c:v>41</c:v>
                </c:pt>
                <c:pt idx="3">
                  <c:v>121</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bg: All Others</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4</c:f>
              <c:numCache>
                <c:formatCode>General</c:formatCode>
                <c:ptCount val="3"/>
                <c:pt idx="0">
                  <c:v>100</c:v>
                </c:pt>
                <c:pt idx="1">
                  <c:v>91</c:v>
                </c:pt>
                <c:pt idx="2">
                  <c:v>11</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28</c:v>
                </c:pt>
                <c:pt idx="2">
                  <c:v>2</c:v>
                </c:pt>
                <c:pt idx="3">
                  <c:v>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313.2"/>
          <c:min val="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17</c:v>
                </c:pt>
                <c:pt idx="2">
                  <c:v>120</c:v>
                </c:pt>
                <c:pt idx="3">
                  <c:v>102</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7</c:v>
                </c:pt>
                <c:pt idx="2">
                  <c:v>101</c:v>
                </c:pt>
                <c:pt idx="3">
                  <c:v>106</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1</c:v>
                </c:pt>
                <c:pt idx="2">
                  <c:v>110</c:v>
                </c:pt>
                <c:pt idx="3">
                  <c:v>92</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18</c:v>
                </c:pt>
                <c:pt idx="2">
                  <c:v>129</c:v>
                </c:pt>
                <c:pt idx="3">
                  <c:v>81</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bg: All Others</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4</c:f>
              <c:numCache>
                <c:formatCode>General</c:formatCode>
                <c:ptCount val="3"/>
                <c:pt idx="0">
                  <c:v>100</c:v>
                </c:pt>
                <c:pt idx="1">
                  <c:v>92</c:v>
                </c:pt>
                <c:pt idx="2">
                  <c:v>51</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9</c:v>
                </c:pt>
                <c:pt idx="2">
                  <c:v>116</c:v>
                </c:pt>
                <c:pt idx="3">
                  <c:v>12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4.79999999999998"/>
          <c:min val="40.800000000000004"/>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810</c:v>
                </c:pt>
                <c:pt idx="2">
                  <c:v>1670</c:v>
                </c:pt>
                <c:pt idx="3">
                  <c:v>2294</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Intuition</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9</c:v>
                </c:pt>
                <c:pt idx="2">
                  <c:v>112</c:v>
                </c:pt>
                <c:pt idx="3">
                  <c:v>124</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Noxzema Base</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3</c:f>
              <c:numCache>
                <c:formatCode>General</c:formatCode>
                <c:ptCount val="2"/>
                <c:pt idx="0">
                  <c:v>100</c:v>
                </c:pt>
                <c:pt idx="1">
                  <c:v>6</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Quattro</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4</c:v>
                </c:pt>
                <c:pt idx="2">
                  <c:v>95</c:v>
                </c:pt>
                <c:pt idx="3">
                  <c:v>102</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89</c:v>
                </c:pt>
                <c:pt idx="2">
                  <c:v>87</c:v>
                </c:pt>
                <c:pt idx="3">
                  <c:v>71</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2752.7999999999997"/>
          <c:min val="4.80000000000000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15</c:v>
                </c:pt>
                <c:pt idx="2">
                  <c:v>116</c:v>
                </c:pt>
                <c:pt idx="3">
                  <c:v>11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85</c:v>
                </c:pt>
                <c:pt idx="2">
                  <c:v>84</c:v>
                </c:pt>
                <c:pt idx="3">
                  <c:v>84</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Intuition</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4</c:v>
                </c:pt>
                <c:pt idx="2">
                  <c:v>110</c:v>
                </c:pt>
                <c:pt idx="3">
                  <c:v>108</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Noxzema Base</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3</c:f>
              <c:numCache>
                <c:formatCode>General</c:formatCode>
                <c:ptCount val="2"/>
                <c:pt idx="0">
                  <c:v>100</c:v>
                </c:pt>
                <c:pt idx="1">
                  <c:v>52</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Quattro</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1</c:v>
                </c:pt>
                <c:pt idx="2">
                  <c:v>104</c:v>
                </c:pt>
                <c:pt idx="3">
                  <c:v>82</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15</c:v>
                </c:pt>
                <c:pt idx="2">
                  <c:v>112</c:v>
                </c:pt>
                <c:pt idx="3">
                  <c:v>11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2.79999999999998"/>
          <c:min val="41.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Flamingo</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4</c:v>
                </c:pt>
                <c:pt idx="2">
                  <c:v>108</c:v>
                </c:pt>
                <c:pt idx="3">
                  <c:v>115</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1</c:v>
                </c:pt>
                <c:pt idx="2">
                  <c:v>87</c:v>
                </c:pt>
                <c:pt idx="3">
                  <c:v>85</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7</c:v>
                </c:pt>
                <c:pt idx="2">
                  <c:v>105</c:v>
                </c:pt>
                <c:pt idx="3">
                  <c:v>84</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30</c:v>
                </c:pt>
                <c:pt idx="2">
                  <c:v>5</c:v>
                </c:pt>
                <c:pt idx="3">
                  <c:v>1</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Joy</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86</c:v>
                </c:pt>
                <c:pt idx="2">
                  <c:v>6</c:v>
                </c:pt>
                <c:pt idx="3">
                  <c:v>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38.0"/>
          <c:min val="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4</c:v>
                </c:pt>
                <c:pt idx="2">
                  <c:v>101</c:v>
                </c:pt>
                <c:pt idx="3">
                  <c:v>97</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Flamingo</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3</c:v>
                </c:pt>
                <c:pt idx="2">
                  <c:v>100</c:v>
                </c:pt>
                <c:pt idx="3">
                  <c:v>96</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8</c:v>
                </c:pt>
                <c:pt idx="2">
                  <c:v>108</c:v>
                </c:pt>
                <c:pt idx="3">
                  <c:v>108</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7</c:v>
                </c:pt>
                <c:pt idx="2">
                  <c:v>95</c:v>
                </c:pt>
                <c:pt idx="3">
                  <c:v>102</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1</c:v>
                </c:pt>
                <c:pt idx="2">
                  <c:v>105</c:v>
                </c:pt>
                <c:pt idx="3">
                  <c:v>103</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Joy</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7</c:v>
                </c:pt>
                <c:pt idx="2">
                  <c:v>54</c:v>
                </c:pt>
                <c:pt idx="3">
                  <c:v>6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9.6"/>
          <c:min val="43.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Noxzema Base</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3</c:v>
                </c:pt>
                <c:pt idx="2">
                  <c:v>0</c:v>
                </c:pt>
                <c:pt idx="3">
                  <c:v>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20.0"/>
          <c:min val="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282</c:v>
                </c:pt>
                <c:pt idx="2">
                  <c:v>1517</c:v>
                </c:pt>
                <c:pt idx="3">
                  <c:v>96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Noxzema Base</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83</c:v>
                </c:pt>
                <c:pt idx="2">
                  <c:v>99</c:v>
                </c:pt>
                <c:pt idx="3">
                  <c:v>109</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820.3999999999999"/>
          <c:min val="66.4"/>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Evribeauty</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37</c:v>
                </c:pt>
                <c:pt idx="2">
                  <c:v>36</c:v>
                </c:pt>
                <c:pt idx="3">
                  <c:v>39</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Hydro Silk</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485672</c:v>
                </c:pt>
                <c:pt idx="2">
                  <c:v>817511</c:v>
                </c:pt>
                <c:pt idx="3">
                  <c:v>686448</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Rem P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68</c:v>
                </c:pt>
                <c:pt idx="2">
                  <c:v>62</c:v>
                </c:pt>
                <c:pt idx="3">
                  <c:v>63</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Universal Prods Mktg</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23</c:v>
                </c:pt>
                <c:pt idx="2">
                  <c:v>54</c:v>
                </c:pt>
                <c:pt idx="3">
                  <c:v>55</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Universal Razor</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262</c:v>
                </c:pt>
                <c:pt idx="2">
                  <c:v>261</c:v>
                </c:pt>
                <c:pt idx="3">
                  <c:v>215</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981013.2"/>
          <c:min val="28.8"/>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21</c:v>
                </c:pt>
                <c:pt idx="2">
                  <c:v>128</c:v>
                </c:pt>
                <c:pt idx="3">
                  <c:v>12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Evribeauty</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4</c:v>
                </c:pt>
                <c:pt idx="2">
                  <c:v>106</c:v>
                </c:pt>
                <c:pt idx="3">
                  <c:v>107</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Hydro Silk</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0</c:v>
                </c:pt>
                <c:pt idx="2">
                  <c:v>111</c:v>
                </c:pt>
                <c:pt idx="3">
                  <c:v>11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Rem P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2</c:v>
                </c:pt>
                <c:pt idx="2">
                  <c:v>106</c:v>
                </c:pt>
                <c:pt idx="3">
                  <c:v>109</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Universal Prods Mktg</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Universal Razor</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2</c:v>
                </c:pt>
                <c:pt idx="2">
                  <c:v>103</c:v>
                </c:pt>
                <c:pt idx="3">
                  <c:v>102</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4.79999999999998"/>
          <c:min val="8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3,273,29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3,785,40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4,975,57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3273298</c:v>
                </c:pt>
                <c:pt idx="1">
                  <c:v>3166125</c:v>
                </c:pt>
                <c:pt idx="2">
                  <c:v>3221327</c:v>
                </c:pt>
                <c:pt idx="3">
                  <c:v>2982389</c:v>
                </c:pt>
                <c:pt idx="4">
                  <c:v>3060065</c:v>
                </c:pt>
                <c:pt idx="5">
                  <c:v>3330908</c:v>
                </c:pt>
                <c:pt idx="6">
                  <c:v>3165627</c:v>
                </c:pt>
                <c:pt idx="7">
                  <c:v>3356158</c:v>
                </c:pt>
                <c:pt idx="8">
                  <c:v>3373106</c:v>
                </c:pt>
                <c:pt idx="9">
                  <c:v>3624559</c:v>
                </c:pt>
                <c:pt idx="10">
                  <c:v>3911023</c:v>
                </c:pt>
                <c:pt idx="11">
                  <c:v>4480920</c:v>
                </c:pt>
                <c:pt idx="12">
                  <c:v>4050687</c:v>
                </c:pt>
                <c:pt idx="13">
                  <c:v>3785402</c:v>
                </c:pt>
                <c:pt idx="14">
                  <c:v>3797567</c:v>
                </c:pt>
                <c:pt idx="15">
                  <c:v>3670753</c:v>
                </c:pt>
                <c:pt idx="16">
                  <c:v>3623258</c:v>
                </c:pt>
                <c:pt idx="17">
                  <c:v>3818697</c:v>
                </c:pt>
                <c:pt idx="18">
                  <c:v>3830248</c:v>
                </c:pt>
                <c:pt idx="19">
                  <c:v>4305978</c:v>
                </c:pt>
                <c:pt idx="20">
                  <c:v>4300612</c:v>
                </c:pt>
                <c:pt idx="21">
                  <c:v>4681258</c:v>
                </c:pt>
                <c:pt idx="22">
                  <c:v>4825223</c:v>
                </c:pt>
                <c:pt idx="23">
                  <c:v>5760819</c:v>
                </c:pt>
                <c:pt idx="24">
                  <c:v>4975573</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2.6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38</c:v>
                </c:pt>
                <c:pt idx="1">
                  <c:v>3.4</c:v>
                </c:pt>
                <c:pt idx="2">
                  <c:v>3.49</c:v>
                </c:pt>
                <c:pt idx="3">
                  <c:v>3.55</c:v>
                </c:pt>
                <c:pt idx="4">
                  <c:v>3.48</c:v>
                </c:pt>
                <c:pt idx="5">
                  <c:v>3.54</c:v>
                </c:pt>
                <c:pt idx="6">
                  <c:v>3.39</c:v>
                </c:pt>
                <c:pt idx="7">
                  <c:v>3.24</c:v>
                </c:pt>
                <c:pt idx="8">
                  <c:v>3.19</c:v>
                </c:pt>
                <c:pt idx="9">
                  <c:v>3.14</c:v>
                </c:pt>
                <c:pt idx="10">
                  <c:v>3.13</c:v>
                </c:pt>
                <c:pt idx="11">
                  <c:v>3.06</c:v>
                </c:pt>
                <c:pt idx="12">
                  <c:v>2.98</c:v>
                </c:pt>
                <c:pt idx="13">
                  <c:v>2.92</c:v>
                </c:pt>
                <c:pt idx="14">
                  <c:v>2.92</c:v>
                </c:pt>
                <c:pt idx="15">
                  <c:v>2.93</c:v>
                </c:pt>
                <c:pt idx="16">
                  <c:v>2.79</c:v>
                </c:pt>
                <c:pt idx="17">
                  <c:v>2.78</c:v>
                </c:pt>
                <c:pt idx="18">
                  <c:v>2.73</c:v>
                </c:pt>
                <c:pt idx="19">
                  <c:v>2.71</c:v>
                </c:pt>
                <c:pt idx="20">
                  <c:v>2.71</c:v>
                </c:pt>
                <c:pt idx="21">
                  <c:v>2.71</c:v>
                </c:pt>
                <c:pt idx="22">
                  <c:v>2.72</c:v>
                </c:pt>
                <c:pt idx="23">
                  <c:v>2.63</c:v>
                </c:pt>
                <c:pt idx="24">
                  <c:v>2.67</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4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ilky Touch</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87</c:v>
                </c:pt>
                <c:pt idx="2">
                  <c:v>80</c:v>
                </c:pt>
                <c:pt idx="3">
                  <c:v>78</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Daisy</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2</c:v>
                </c:pt>
                <c:pt idx="2">
                  <c:v>83</c:v>
                </c:pt>
                <c:pt idx="3">
                  <c:v>66</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65</c:v>
                </c:pt>
                <c:pt idx="2">
                  <c:v>212</c:v>
                </c:pt>
                <c:pt idx="3">
                  <c:v>257</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bg Pl</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6</c:v>
                </c:pt>
                <c:pt idx="2">
                  <c:v>86</c:v>
                </c:pt>
                <c:pt idx="3">
                  <c:v>71</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Pbg: All Others</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9</c:v>
                </c:pt>
                <c:pt idx="2">
                  <c:v>146</c:v>
                </c:pt>
                <c:pt idx="3">
                  <c:v>145</c:v>
                </c:pt>
              </c:numCache>
            </c:numRef>
          </c:val>
          <c:smooth val="0"/>
          <c:extLst>
            <c:ext xmlns:c16="http://schemas.microsoft.com/office/drawing/2014/chart" uri="{C3380CC4-5D6E-409C-BE32-E72D297353CC}">
              <c16:uniqueId val="{00000007-0907-1A4C-A11F-73C2425749BA}"/>
            </c:ext>
          </c:extLst>
        </c:ser>
        <c:ser>
          <c:idx val="9"/>
          <c:order val="6"/>
          <c:tx>
            <c:strRef>
              <c:f>Sheet1!$H$1</c:f>
              <c:strCache>
                <c:ptCount val="1"/>
                <c:pt idx="0">
                  <c:v>Skintimate</c:v>
                </c:pt>
              </c:strCache>
            </c:strRef>
          </c:tx>
          <c:spPr>
            <a:ln w="19050" cap="rnd">
              <a:solidFill>
                <a:srgbClr val="E5F4F3"/>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116</c:v>
                </c:pt>
                <c:pt idx="2">
                  <c:v>108</c:v>
                </c:pt>
                <c:pt idx="3">
                  <c:v>82</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308.4"/>
          <c:min val="52.800000000000004"/>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7</c:v>
                </c:pt>
                <c:pt idx="2">
                  <c:v>115</c:v>
                </c:pt>
                <c:pt idx="3">
                  <c:v>120</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ilky Touch</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0</c:v>
                </c:pt>
                <c:pt idx="2">
                  <c:v>97</c:v>
                </c:pt>
                <c:pt idx="3">
                  <c:v>95</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Daisy</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4</c:v>
                </c:pt>
                <c:pt idx="2">
                  <c:v>117</c:v>
                </c:pt>
                <c:pt idx="3">
                  <c:v>117</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9</c:v>
                </c:pt>
                <c:pt idx="2">
                  <c:v>21</c:v>
                </c:pt>
                <c:pt idx="3">
                  <c:v>21</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bg Pl</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11</c:v>
                </c:pt>
                <c:pt idx="2">
                  <c:v>123</c:v>
                </c:pt>
                <c:pt idx="3">
                  <c:v>129</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Pbg: All Others</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5</c:v>
                </c:pt>
                <c:pt idx="2">
                  <c:v>112</c:v>
                </c:pt>
                <c:pt idx="3">
                  <c:v>113</c:v>
                </c:pt>
              </c:numCache>
            </c:numRef>
          </c:val>
          <c:smooth val="0"/>
          <c:extLst>
            <c:ext xmlns:c16="http://schemas.microsoft.com/office/drawing/2014/chart" uri="{C3380CC4-5D6E-409C-BE32-E72D297353CC}">
              <c16:uniqueId val="{00000003-F160-FB4E-B9E2-3D36233077E3}"/>
            </c:ext>
          </c:extLst>
        </c:ser>
        <c:ser>
          <c:idx val="9"/>
          <c:order val="6"/>
          <c:tx>
            <c:strRef>
              <c:f>Sheet1!$H$1</c:f>
              <c:strCache>
                <c:ptCount val="1"/>
                <c:pt idx="0">
                  <c:v>Skintimate</c:v>
                </c:pt>
              </c:strCache>
            </c:strRef>
          </c:tx>
          <c:spPr>
            <a:ln w="19050" cap="rnd">
              <a:solidFill>
                <a:srgbClr val="E5F4F3"/>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101</c:v>
                </c:pt>
                <c:pt idx="2">
                  <c:v>114</c:v>
                </c:pt>
                <c:pt idx="3">
                  <c:v>12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4.79999999999998"/>
          <c:min val="15.20000000000000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36</c:v>
                </c:pt>
                <c:pt idx="2">
                  <c:v>123</c:v>
                </c:pt>
                <c:pt idx="3">
                  <c:v>108</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5</c:v>
                </c:pt>
                <c:pt idx="2">
                  <c:v>101</c:v>
                </c:pt>
                <c:pt idx="3">
                  <c:v>105</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Joy</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4</c:f>
              <c:numCache>
                <c:formatCode>General</c:formatCode>
                <c:ptCount val="3"/>
                <c:pt idx="0">
                  <c:v>100</c:v>
                </c:pt>
                <c:pt idx="1">
                  <c:v>64</c:v>
                </c:pt>
                <c:pt idx="2">
                  <c:v>4</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bg Pl</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4</c:v>
                </c:pt>
                <c:pt idx="2">
                  <c:v>110</c:v>
                </c:pt>
                <c:pt idx="3">
                  <c:v>128</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Pbg: All Others</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11</c:v>
                </c:pt>
                <c:pt idx="2">
                  <c:v>152</c:v>
                </c:pt>
                <c:pt idx="3">
                  <c:v>145</c:v>
                </c:pt>
              </c:numCache>
            </c:numRef>
          </c:val>
          <c:smooth val="0"/>
          <c:extLst>
            <c:ext xmlns:c16="http://schemas.microsoft.com/office/drawing/2014/chart" uri="{C3380CC4-5D6E-409C-BE32-E72D297353CC}">
              <c16:uniqueId val="{00000007-0907-1A4C-A11F-73C2425749BA}"/>
            </c:ext>
          </c:extLst>
        </c:ser>
        <c:ser>
          <c:idx val="9"/>
          <c:order val="6"/>
          <c:tx>
            <c:strRef>
              <c:f>Sheet1!$H$1</c:f>
              <c:strCache>
                <c:ptCount val="1"/>
                <c:pt idx="0">
                  <c:v>Skintimate</c:v>
                </c:pt>
              </c:strCache>
            </c:strRef>
          </c:tx>
          <c:spPr>
            <a:ln w="19050" cap="rnd">
              <a:solidFill>
                <a:srgbClr val="E5F4F3"/>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10</c:v>
                </c:pt>
                <c:pt idx="2">
                  <c:v>0</c:v>
                </c:pt>
                <c:pt idx="3">
                  <c:v>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82.4"/>
          <c:min val="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1</c:v>
                </c:pt>
                <c:pt idx="2">
                  <c:v>111</c:v>
                </c:pt>
                <c:pt idx="3">
                  <c:v>112</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7</c:v>
                </c:pt>
                <c:pt idx="2">
                  <c:v>106</c:v>
                </c:pt>
                <c:pt idx="3">
                  <c:v>102</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3</c:v>
                </c:pt>
                <c:pt idx="2">
                  <c:v>109</c:v>
                </c:pt>
                <c:pt idx="3">
                  <c:v>111</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Joy</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4</c:f>
              <c:numCache>
                <c:formatCode>General</c:formatCode>
                <c:ptCount val="3"/>
                <c:pt idx="0">
                  <c:v>100</c:v>
                </c:pt>
                <c:pt idx="1">
                  <c:v>95</c:v>
                </c:pt>
                <c:pt idx="2">
                  <c:v>62</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bg Pl</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7</c:v>
                </c:pt>
                <c:pt idx="2">
                  <c:v>120</c:v>
                </c:pt>
                <c:pt idx="3">
                  <c:v>121</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Pbg: All Others</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0</c:v>
                </c:pt>
                <c:pt idx="2">
                  <c:v>116</c:v>
                </c:pt>
                <c:pt idx="3">
                  <c:v>114</c:v>
                </c:pt>
              </c:numCache>
            </c:numRef>
          </c:val>
          <c:smooth val="0"/>
          <c:extLst>
            <c:ext xmlns:c16="http://schemas.microsoft.com/office/drawing/2014/chart" uri="{C3380CC4-5D6E-409C-BE32-E72D297353CC}">
              <c16:uniqueId val="{00000003-F160-FB4E-B9E2-3D36233077E3}"/>
            </c:ext>
          </c:extLst>
        </c:ser>
        <c:ser>
          <c:idx val="9"/>
          <c:order val="6"/>
          <c:tx>
            <c:strRef>
              <c:f>Sheet1!$H$1</c:f>
              <c:strCache>
                <c:ptCount val="1"/>
                <c:pt idx="0">
                  <c:v>Skintimate</c:v>
                </c:pt>
              </c:strCache>
            </c:strRef>
          </c:tx>
          <c:spPr>
            <a:ln w="19050" cap="rnd">
              <a:solidFill>
                <a:srgbClr val="E5F4F3"/>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70</c:v>
                </c:pt>
                <c:pt idx="2">
                  <c:v>72</c:v>
                </c:pt>
                <c:pt idx="3">
                  <c:v>71</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5.2"/>
          <c:min val="49.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17</c:v>
                </c:pt>
                <c:pt idx="2">
                  <c:v>99</c:v>
                </c:pt>
                <c:pt idx="3">
                  <c:v>111</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Intuition</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25</c:v>
                </c:pt>
                <c:pt idx="2">
                  <c:v>112</c:v>
                </c:pt>
                <c:pt idx="3">
                  <c:v>123</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Pbg P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28</c:v>
                </c:pt>
                <c:pt idx="2">
                  <c:v>122</c:v>
                </c:pt>
                <c:pt idx="3">
                  <c:v>115</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Quattro</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58</c:v>
                </c:pt>
                <c:pt idx="2">
                  <c:v>16</c:v>
                </c:pt>
                <c:pt idx="3">
                  <c:v>38</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47</c:v>
                </c:pt>
                <c:pt idx="2">
                  <c:v>43</c:v>
                </c:pt>
                <c:pt idx="3">
                  <c:v>2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53.6"/>
          <c:min val="12.8"/>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25</c:v>
                </c:pt>
                <c:pt idx="2">
                  <c:v>134</c:v>
                </c:pt>
                <c:pt idx="3">
                  <c:v>13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46</c:v>
                </c:pt>
                <c:pt idx="2">
                  <c:v>161</c:v>
                </c:pt>
                <c:pt idx="3">
                  <c:v>161</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Intuition</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5</c:v>
                </c:pt>
                <c:pt idx="2">
                  <c:v>125</c:v>
                </c:pt>
                <c:pt idx="3">
                  <c:v>12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Pbg P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5</c:v>
                </c:pt>
                <c:pt idx="2">
                  <c:v>101</c:v>
                </c:pt>
                <c:pt idx="3">
                  <c:v>107</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Quattro</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3</c:v>
                </c:pt>
                <c:pt idx="2">
                  <c:v>86</c:v>
                </c:pt>
                <c:pt idx="3">
                  <c:v>106</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8</c:v>
                </c:pt>
                <c:pt idx="2">
                  <c:v>108</c:v>
                </c:pt>
                <c:pt idx="3">
                  <c:v>109</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93.2"/>
          <c:min val="68.8"/>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74</c:v>
                </c:pt>
                <c:pt idx="2">
                  <c:v>85</c:v>
                </c:pt>
                <c:pt idx="3">
                  <c:v>66</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1</c:v>
                </c:pt>
                <c:pt idx="2">
                  <c:v>78</c:v>
                </c:pt>
                <c:pt idx="3">
                  <c:v>95</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69</c:v>
                </c:pt>
                <c:pt idx="2">
                  <c:v>73</c:v>
                </c:pt>
                <c:pt idx="3">
                  <c:v>48</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45</c:v>
                </c:pt>
                <c:pt idx="2">
                  <c:v>209</c:v>
                </c:pt>
                <c:pt idx="3">
                  <c:v>48</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Joy</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3</c:v>
                </c:pt>
                <c:pt idx="2">
                  <c:v>91</c:v>
                </c:pt>
                <c:pt idx="3">
                  <c:v>87</c:v>
                </c:pt>
              </c:numCache>
            </c:numRef>
          </c:val>
          <c:smooth val="0"/>
          <c:extLst>
            <c:ext xmlns:c16="http://schemas.microsoft.com/office/drawing/2014/chart" uri="{C3380CC4-5D6E-409C-BE32-E72D297353CC}">
              <c16:uniqueId val="{00000007-0907-1A4C-A11F-73C2425749BA}"/>
            </c:ext>
          </c:extLst>
        </c:ser>
        <c:ser>
          <c:idx val="9"/>
          <c:order val="6"/>
          <c:tx>
            <c:strRef>
              <c:f>Sheet1!$H$1</c:f>
              <c:strCache>
                <c:ptCount val="1"/>
                <c:pt idx="0">
                  <c:v>Pbg Pl</c:v>
                </c:pt>
              </c:strCache>
            </c:strRef>
          </c:tx>
          <c:spPr>
            <a:ln w="19050" cap="rnd">
              <a:solidFill>
                <a:srgbClr val="FFFF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96</c:v>
                </c:pt>
                <c:pt idx="2">
                  <c:v>113</c:v>
                </c:pt>
                <c:pt idx="3">
                  <c:v>132</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250.79999999999998"/>
          <c:min val="36.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13</c:v>
                </c:pt>
                <c:pt idx="2">
                  <c:v>110</c:v>
                </c:pt>
                <c:pt idx="3">
                  <c:v>111</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32</c:v>
                </c:pt>
                <c:pt idx="2">
                  <c:v>139</c:v>
                </c:pt>
                <c:pt idx="3">
                  <c:v>173</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0</c:v>
                </c:pt>
                <c:pt idx="2">
                  <c:v>111</c:v>
                </c:pt>
                <c:pt idx="3">
                  <c:v>111</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10</c:v>
                </c:pt>
                <c:pt idx="2">
                  <c:v>120</c:v>
                </c:pt>
                <c:pt idx="3">
                  <c:v>13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80</c:v>
                </c:pt>
                <c:pt idx="2">
                  <c:v>87</c:v>
                </c:pt>
                <c:pt idx="3">
                  <c:v>53</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Joy</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0</c:v>
                </c:pt>
                <c:pt idx="2">
                  <c:v>102</c:v>
                </c:pt>
                <c:pt idx="3">
                  <c:v>99</c:v>
                </c:pt>
              </c:numCache>
            </c:numRef>
          </c:val>
          <c:smooth val="0"/>
          <c:extLst>
            <c:ext xmlns:c16="http://schemas.microsoft.com/office/drawing/2014/chart" uri="{C3380CC4-5D6E-409C-BE32-E72D297353CC}">
              <c16:uniqueId val="{00000003-F160-FB4E-B9E2-3D36233077E3}"/>
            </c:ext>
          </c:extLst>
        </c:ser>
        <c:ser>
          <c:idx val="9"/>
          <c:order val="6"/>
          <c:tx>
            <c:strRef>
              <c:f>Sheet1!$H$1</c:f>
              <c:strCache>
                <c:ptCount val="1"/>
                <c:pt idx="0">
                  <c:v>Pbg Pl</c:v>
                </c:pt>
              </c:strCache>
            </c:strRef>
          </c:tx>
          <c:spPr>
            <a:ln w="19050" cap="rnd">
              <a:solidFill>
                <a:srgbClr val="FFFF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104</c:v>
                </c:pt>
                <c:pt idx="2">
                  <c:v>108</c:v>
                </c:pt>
                <c:pt idx="3">
                  <c:v>11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207.6"/>
          <c:min val="42.40000000000000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Evribeauty</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46</c:v>
                </c:pt>
                <c:pt idx="2">
                  <c:v>48</c:v>
                </c:pt>
                <c:pt idx="3">
                  <c:v>45</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Rem P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70</c:v>
                </c:pt>
                <c:pt idx="2">
                  <c:v>57</c:v>
                </c:pt>
                <c:pt idx="3">
                  <c:v>53</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Revlon</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16</c:v>
                </c:pt>
                <c:pt idx="2">
                  <c:v>124</c:v>
                </c:pt>
                <c:pt idx="3">
                  <c:v>146</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Universal Prods Mktg</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70</c:v>
                </c:pt>
                <c:pt idx="2">
                  <c:v>23</c:v>
                </c:pt>
                <c:pt idx="3">
                  <c:v>1</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Universal Razor</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2081</c:v>
                </c:pt>
                <c:pt idx="2">
                  <c:v>1956</c:v>
                </c:pt>
                <c:pt idx="3">
                  <c:v>202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2497.2"/>
          <c:min val="0.8"/>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26</c:v>
                </c:pt>
                <c:pt idx="2">
                  <c:v>133</c:v>
                </c:pt>
                <c:pt idx="3">
                  <c:v>133</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Evribeauty</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4</c:v>
                </c:pt>
                <c:pt idx="2">
                  <c:v>107</c:v>
                </c:pt>
                <c:pt idx="3">
                  <c:v>99</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Rem P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2</c:v>
                </c:pt>
                <c:pt idx="2">
                  <c:v>102</c:v>
                </c:pt>
                <c:pt idx="3">
                  <c:v>102</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Revlon</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6</c:v>
                </c:pt>
                <c:pt idx="2">
                  <c:v>114</c:v>
                </c:pt>
                <c:pt idx="3">
                  <c:v>12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Universal Prods Mktg</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0</c:v>
                </c:pt>
                <c:pt idx="2">
                  <c:v>97</c:v>
                </c:pt>
                <c:pt idx="3">
                  <c:v>91</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Universal Razor</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4</c:v>
                </c:pt>
                <c:pt idx="2">
                  <c:v>104</c:v>
                </c:pt>
                <c:pt idx="3">
                  <c:v>105</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9.6"/>
          <c:min val="72.8"/>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37,01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6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pr-22</c:v>
                </c:pt>
                <c:pt idx="1">
                  <c:v>May-22</c:v>
                </c:pt>
                <c:pt idx="2">
                  <c:v>Jun-22</c:v>
                </c:pt>
                <c:pt idx="3">
                  <c:v>Jul-22</c:v>
                </c:pt>
                <c:pt idx="4">
                  <c:v>Aug-22</c:v>
                </c:pt>
                <c:pt idx="5">
                  <c:v>Sep-22</c:v>
                </c:pt>
                <c:pt idx="6">
                  <c:v>Oct-22</c:v>
                </c:pt>
                <c:pt idx="7">
                  <c:v>Nov-22</c:v>
                </c:pt>
                <c:pt idx="8">
                  <c:v>Dec-22</c:v>
                </c:pt>
                <c:pt idx="9">
                  <c:v>Jan-23</c:v>
                </c:pt>
                <c:pt idx="10">
                  <c:v>Feb-23</c:v>
                </c:pt>
                <c:pt idx="11">
                  <c:v>Mar-23</c:v>
                </c:pt>
                <c:pt idx="12">
                  <c:v>Apr-23</c:v>
                </c:pt>
                <c:pt idx="13">
                  <c:v>May-23</c:v>
                </c:pt>
                <c:pt idx="14">
                  <c:v>Jun-23</c:v>
                </c:pt>
                <c:pt idx="15">
                  <c:v>Jul-23</c:v>
                </c:pt>
                <c:pt idx="16">
                  <c:v>Aug-23</c:v>
                </c:pt>
                <c:pt idx="17">
                  <c:v>Sep-23</c:v>
                </c:pt>
                <c:pt idx="18">
                  <c:v>Oct-23</c:v>
                </c:pt>
                <c:pt idx="19">
                  <c:v>Nov-23</c:v>
                </c:pt>
                <c:pt idx="20">
                  <c:v>Dec-23</c:v>
                </c:pt>
                <c:pt idx="21">
                  <c:v>Jan-24</c:v>
                </c:pt>
                <c:pt idx="22">
                  <c:v>Feb-24</c:v>
                </c:pt>
                <c:pt idx="23">
                  <c:v>Mar-24</c:v>
                </c:pt>
                <c:pt idx="24">
                  <c:v>May-24</c:v>
                </c:pt>
              </c:strCache>
            </c:strRef>
          </c:cat>
          <c:val>
            <c:numRef>
              <c:f>Sheet1!$B$2:$B$26</c:f>
              <c:numCache>
                <c:formatCode>General</c:formatCode>
                <c:ptCount val="25"/>
                <c:pt idx="0">
                  <c:v>37012</c:v>
                </c:pt>
                <c:pt idx="1">
                  <c:v>74227</c:v>
                </c:pt>
                <c:pt idx="2">
                  <c:v>43117</c:v>
                </c:pt>
                <c:pt idx="3">
                  <c:v>25119</c:v>
                </c:pt>
                <c:pt idx="4">
                  <c:v>21505</c:v>
                </c:pt>
                <c:pt idx="5">
                  <c:v>16671</c:v>
                </c:pt>
                <c:pt idx="6">
                  <c:v>23862</c:v>
                </c:pt>
                <c:pt idx="7">
                  <c:v>12269</c:v>
                </c:pt>
                <c:pt idx="8">
                  <c:v>16006</c:v>
                </c:pt>
                <c:pt idx="9">
                  <c:v>13388</c:v>
                </c:pt>
                <c:pt idx="10">
                  <c:v>10393</c:v>
                </c:pt>
                <c:pt idx="11">
                  <c:v>3030</c:v>
                </c:pt>
                <c:pt idx="12">
                  <c:v>672</c:v>
                </c:pt>
                <c:pt idx="13">
                  <c:v>265</c:v>
                </c:pt>
                <c:pt idx="14">
                  <c:v>266</c:v>
                </c:pt>
                <c:pt idx="15">
                  <c:v>131</c:v>
                </c:pt>
                <c:pt idx="16">
                  <c:v>55</c:v>
                </c:pt>
                <c:pt idx="17">
                  <c:v>36</c:v>
                </c:pt>
                <c:pt idx="18">
                  <c:v>43</c:v>
                </c:pt>
                <c:pt idx="19">
                  <c:v>35</c:v>
                </c:pt>
                <c:pt idx="20">
                  <c:v>35</c:v>
                </c:pt>
                <c:pt idx="21">
                  <c:v>22</c:v>
                </c:pt>
                <c:pt idx="22">
                  <c:v>12</c:v>
                </c:pt>
                <c:pt idx="23">
                  <c:v>0</c:v>
                </c:pt>
                <c:pt idx="24">
                  <c:v>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2.1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7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0.6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pr-22</c:v>
                </c:pt>
                <c:pt idx="1">
                  <c:v>May-22</c:v>
                </c:pt>
                <c:pt idx="2">
                  <c:v>Jun-22</c:v>
                </c:pt>
                <c:pt idx="3">
                  <c:v>Jul-22</c:v>
                </c:pt>
                <c:pt idx="4">
                  <c:v>Aug-22</c:v>
                </c:pt>
                <c:pt idx="5">
                  <c:v>Sep-22</c:v>
                </c:pt>
                <c:pt idx="6">
                  <c:v>Oct-22</c:v>
                </c:pt>
                <c:pt idx="7">
                  <c:v>Nov-22</c:v>
                </c:pt>
                <c:pt idx="8">
                  <c:v>Dec-22</c:v>
                </c:pt>
                <c:pt idx="9">
                  <c:v>Jan-23</c:v>
                </c:pt>
                <c:pt idx="10">
                  <c:v>Feb-23</c:v>
                </c:pt>
                <c:pt idx="11">
                  <c:v>Mar-23</c:v>
                </c:pt>
                <c:pt idx="12">
                  <c:v>Apr-23</c:v>
                </c:pt>
                <c:pt idx="13">
                  <c:v>May-23</c:v>
                </c:pt>
                <c:pt idx="14">
                  <c:v>Jun-23</c:v>
                </c:pt>
                <c:pt idx="15">
                  <c:v>Jul-23</c:v>
                </c:pt>
                <c:pt idx="16">
                  <c:v>Aug-23</c:v>
                </c:pt>
                <c:pt idx="17">
                  <c:v>Sep-23</c:v>
                </c:pt>
                <c:pt idx="18">
                  <c:v>Oct-23</c:v>
                </c:pt>
                <c:pt idx="19">
                  <c:v>Nov-23</c:v>
                </c:pt>
                <c:pt idx="20">
                  <c:v>Dec-23</c:v>
                </c:pt>
                <c:pt idx="21">
                  <c:v>Jan-24</c:v>
                </c:pt>
                <c:pt idx="22">
                  <c:v>Feb-24</c:v>
                </c:pt>
                <c:pt idx="23">
                  <c:v>Mar-24</c:v>
                </c:pt>
                <c:pt idx="24">
                  <c:v>May-24</c:v>
                </c:pt>
              </c:strCache>
            </c:strRef>
          </c:cat>
          <c:val>
            <c:numRef>
              <c:f>Sheet1!$C$2:$C$26</c:f>
              <c:numCache>
                <c:formatCode>General</c:formatCode>
                <c:ptCount val="25"/>
                <c:pt idx="0">
                  <c:v>2.13</c:v>
                </c:pt>
                <c:pt idx="1">
                  <c:v>2.05</c:v>
                </c:pt>
                <c:pt idx="2">
                  <c:v>2.28</c:v>
                </c:pt>
                <c:pt idx="3">
                  <c:v>2.32</c:v>
                </c:pt>
                <c:pt idx="4">
                  <c:v>2.35</c:v>
                </c:pt>
                <c:pt idx="5">
                  <c:v>2.36</c:v>
                </c:pt>
                <c:pt idx="6">
                  <c:v>2.23</c:v>
                </c:pt>
                <c:pt idx="7">
                  <c:v>2.35</c:v>
                </c:pt>
                <c:pt idx="8">
                  <c:v>2.33</c:v>
                </c:pt>
                <c:pt idx="9">
                  <c:v>2.31</c:v>
                </c:pt>
                <c:pt idx="10">
                  <c:v>2.24</c:v>
                </c:pt>
                <c:pt idx="11">
                  <c:v>2.29</c:v>
                </c:pt>
                <c:pt idx="12">
                  <c:v>2.14</c:v>
                </c:pt>
                <c:pt idx="13">
                  <c:v>1.79</c:v>
                </c:pt>
                <c:pt idx="14">
                  <c:v>1.87</c:v>
                </c:pt>
                <c:pt idx="15">
                  <c:v>1.85</c:v>
                </c:pt>
                <c:pt idx="16">
                  <c:v>2.39</c:v>
                </c:pt>
                <c:pt idx="17">
                  <c:v>1.89</c:v>
                </c:pt>
                <c:pt idx="18">
                  <c:v>2.26</c:v>
                </c:pt>
                <c:pt idx="19">
                  <c:v>2.06</c:v>
                </c:pt>
                <c:pt idx="20">
                  <c:v>2.06</c:v>
                </c:pt>
                <c:pt idx="21">
                  <c:v>2.2</c:v>
                </c:pt>
                <c:pt idx="22">
                  <c:v>0.67</c:v>
                </c:pt>
                <c:pt idx="23">
                  <c:v>0.0</c:v>
                </c:pt>
                <c:pt idx="24">
                  <c:v>0.6</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4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ilky Touch</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88</c:v>
                </c:pt>
                <c:pt idx="2">
                  <c:v>72</c:v>
                </c:pt>
                <c:pt idx="3">
                  <c:v>69</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Daisy</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0</c:v>
                </c:pt>
                <c:pt idx="2">
                  <c:v>72</c:v>
                </c:pt>
                <c:pt idx="3">
                  <c:v>65</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2380</c:v>
                </c:pt>
                <c:pt idx="2">
                  <c:v>5691</c:v>
                </c:pt>
                <c:pt idx="3">
                  <c:v>6541</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bg Pl</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88</c:v>
                </c:pt>
                <c:pt idx="2">
                  <c:v>66</c:v>
                </c:pt>
                <c:pt idx="3">
                  <c:v>5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7849.2"/>
          <c:min val="45.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10</c:v>
                </c:pt>
                <c:pt idx="2">
                  <c:v>134</c:v>
                </c:pt>
                <c:pt idx="3">
                  <c:v>140</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ilky Touch</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0</c:v>
                </c:pt>
                <c:pt idx="2">
                  <c:v>98</c:v>
                </c:pt>
                <c:pt idx="3">
                  <c:v>95</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Daisy</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4</c:v>
                </c:pt>
                <c:pt idx="2">
                  <c:v>116</c:v>
                </c:pt>
                <c:pt idx="3">
                  <c:v>116</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c:v>
                </c:pt>
                <c:pt idx="2">
                  <c:v>21</c:v>
                </c:pt>
                <c:pt idx="3">
                  <c:v>22</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bg Pl</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11</c:v>
                </c:pt>
                <c:pt idx="2">
                  <c:v>120</c:v>
                </c:pt>
                <c:pt idx="3">
                  <c:v>12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68.0"/>
          <c:min val="8.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ilky Touch</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4</c:f>
              <c:numCache>
                <c:formatCode>General</c:formatCode>
                <c:ptCount val="3"/>
                <c:pt idx="0">
                  <c:v>100</c:v>
                </c:pt>
                <c:pt idx="1">
                  <c:v>4</c:v>
                </c:pt>
                <c:pt idx="2">
                  <c:v>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Bic Solei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33</c:v>
                </c:pt>
                <c:pt idx="2">
                  <c:v>130</c:v>
                </c:pt>
                <c:pt idx="3">
                  <c:v>119</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4</c:v>
                </c:pt>
                <c:pt idx="2">
                  <c:v>99</c:v>
                </c:pt>
                <c:pt idx="3">
                  <c:v>102</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Hydro Silk</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3</c:f>
              <c:numCache>
                <c:formatCode>General</c:formatCode>
                <c:ptCount val="2"/>
                <c:pt idx="0">
                  <c:v>100</c:v>
                </c:pt>
                <c:pt idx="1">
                  <c:v>13</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Joy</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14</c:v>
                </c:pt>
                <c:pt idx="2">
                  <c:v>16</c:v>
                </c:pt>
                <c:pt idx="3">
                  <c:v>0</c:v>
                </c:pt>
              </c:numCache>
            </c:numRef>
          </c:val>
          <c:smooth val="0"/>
          <c:extLst>
            <c:ext xmlns:c16="http://schemas.microsoft.com/office/drawing/2014/chart" uri="{C3380CC4-5D6E-409C-BE32-E72D297353CC}">
              <c16:uniqueId val="{00000007-0907-1A4C-A11F-73C2425749BA}"/>
            </c:ext>
          </c:extLst>
        </c:ser>
        <c:ser>
          <c:idx val="9"/>
          <c:order val="6"/>
          <c:tx>
            <c:strRef>
              <c:f>Sheet1!$H$1</c:f>
              <c:strCache>
                <c:ptCount val="1"/>
                <c:pt idx="0">
                  <c:v>Pbg Pl</c:v>
                </c:pt>
              </c:strCache>
            </c:strRef>
          </c:tx>
          <c:spPr>
            <a:ln w="19050" cap="rnd">
              <a:solidFill>
                <a:srgbClr val="FFFF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99</c:v>
                </c:pt>
                <c:pt idx="2">
                  <c:v>100</c:v>
                </c:pt>
                <c:pt idx="3">
                  <c:v>104</c:v>
                </c:pt>
              </c:numCache>
            </c:numRef>
          </c:val>
          <c:smooth val="0"/>
          <c:extLst>
            <c:ext xmlns:c16="http://schemas.microsoft.com/office/drawing/2014/chart" uri="{C3380CC4-5D6E-409C-BE32-E72D297353CC}">
              <c16:uniqueId val="{00000007-0907-1A4C-A11F-73C2425749BA}"/>
            </c:ext>
          </c:extLst>
        </c:ser>
        <c:ser>
          <c:idx val="10"/>
          <c:order val="7"/>
          <c:tx>
            <c:strRef>
              <c:f>Sheet1!$I$1</c:f>
              <c:strCache>
                <c:ptCount val="1"/>
                <c:pt idx="0">
                  <c:v>Skintimate</c:v>
                </c:pt>
              </c:strCache>
            </c:strRef>
          </c:tx>
          <c:spPr>
            <a:ln w="19050" cap="rnd">
              <a:solidFill>
                <a:srgbClr val="306181"/>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I$2:$I$5</c:f>
              <c:numCache>
                <c:formatCode>General</c:formatCode>
                <c:ptCount val="4"/>
                <c:pt idx="0">
                  <c:v>100</c:v>
                </c:pt>
                <c:pt idx="1">
                  <c:v>7</c:v>
                </c:pt>
                <c:pt idx="2">
                  <c:v>0</c:v>
                </c:pt>
                <c:pt idx="3">
                  <c:v>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59.6"/>
          <c:min val="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3</c:v>
                </c:pt>
                <c:pt idx="2">
                  <c:v>112</c:v>
                </c:pt>
                <c:pt idx="3">
                  <c:v>115</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ilky Touch</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4</c:f>
              <c:numCache>
                <c:formatCode>General</c:formatCode>
                <c:ptCount val="3"/>
                <c:pt idx="0">
                  <c:v>100</c:v>
                </c:pt>
                <c:pt idx="1">
                  <c:v>60</c:v>
                </c:pt>
                <c:pt idx="2">
                  <c:v>57</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Bic Solei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9</c:v>
                </c:pt>
                <c:pt idx="2">
                  <c:v>109</c:v>
                </c:pt>
                <c:pt idx="3">
                  <c:v>105</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5</c:v>
                </c:pt>
                <c:pt idx="2">
                  <c:v>112</c:v>
                </c:pt>
                <c:pt idx="3">
                  <c:v>115</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Hydro Silk</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3</c:f>
              <c:numCache>
                <c:formatCode>General</c:formatCode>
                <c:ptCount val="2"/>
                <c:pt idx="0">
                  <c:v>100</c:v>
                </c:pt>
                <c:pt idx="1">
                  <c:v>84</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Joy</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88</c:v>
                </c:pt>
                <c:pt idx="2">
                  <c:v>42</c:v>
                </c:pt>
                <c:pt idx="3">
                  <c:v>42</c:v>
                </c:pt>
              </c:numCache>
            </c:numRef>
          </c:val>
          <c:smooth val="0"/>
          <c:extLst>
            <c:ext xmlns:c16="http://schemas.microsoft.com/office/drawing/2014/chart" uri="{C3380CC4-5D6E-409C-BE32-E72D297353CC}">
              <c16:uniqueId val="{00000003-F160-FB4E-B9E2-3D36233077E3}"/>
            </c:ext>
          </c:extLst>
        </c:ser>
        <c:ser>
          <c:idx val="9"/>
          <c:order val="6"/>
          <c:tx>
            <c:strRef>
              <c:f>Sheet1!$H$1</c:f>
              <c:strCache>
                <c:ptCount val="1"/>
                <c:pt idx="0">
                  <c:v>Pbg Pl</c:v>
                </c:pt>
              </c:strCache>
            </c:strRef>
          </c:tx>
          <c:spPr>
            <a:ln w="19050" cap="rnd">
              <a:solidFill>
                <a:srgbClr val="FFFF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108</c:v>
                </c:pt>
                <c:pt idx="2">
                  <c:v>120</c:v>
                </c:pt>
                <c:pt idx="3">
                  <c:v>123</c:v>
                </c:pt>
              </c:numCache>
            </c:numRef>
          </c:val>
          <c:smooth val="0"/>
          <c:extLst>
            <c:ext xmlns:c16="http://schemas.microsoft.com/office/drawing/2014/chart" uri="{C3380CC4-5D6E-409C-BE32-E72D297353CC}">
              <c16:uniqueId val="{00000003-F160-FB4E-B9E2-3D36233077E3}"/>
            </c:ext>
          </c:extLst>
        </c:ser>
        <c:ser>
          <c:idx val="10"/>
          <c:order val="7"/>
          <c:tx>
            <c:strRef>
              <c:f>Sheet1!$I$1</c:f>
              <c:strCache>
                <c:ptCount val="1"/>
                <c:pt idx="0">
                  <c:v>Skintimate</c:v>
                </c:pt>
              </c:strCache>
            </c:strRef>
          </c:tx>
          <c:spPr>
            <a:ln w="19050" cap="rnd">
              <a:solidFill>
                <a:srgbClr val="306181"/>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I$2:$I$5</c:f>
              <c:numCache>
                <c:formatCode>General</c:formatCode>
                <c:ptCount val="4"/>
                <c:pt idx="0">
                  <c:v>100</c:v>
                </c:pt>
                <c:pt idx="1">
                  <c:v>61</c:v>
                </c:pt>
                <c:pt idx="2">
                  <c:v>101</c:v>
                </c:pt>
                <c:pt idx="3">
                  <c:v>12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8.79999999999998"/>
          <c:min val="33.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24</c:v>
                </c:pt>
                <c:pt idx="2">
                  <c:v>116</c:v>
                </c:pt>
                <c:pt idx="3">
                  <c:v>13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Intuition</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2</c:v>
                </c:pt>
                <c:pt idx="2">
                  <c:v>87</c:v>
                </c:pt>
                <c:pt idx="3">
                  <c:v>91</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Pbg P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26</c:v>
                </c:pt>
                <c:pt idx="2">
                  <c:v>140</c:v>
                </c:pt>
                <c:pt idx="3">
                  <c:v>147</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Quattro</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4</c:f>
              <c:numCache>
                <c:formatCode>General</c:formatCode>
                <c:ptCount val="3"/>
                <c:pt idx="0">
                  <c:v>100</c:v>
                </c:pt>
                <c:pt idx="1">
                  <c:v>32</c:v>
                </c:pt>
                <c:pt idx="2">
                  <c:v>2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70</c:v>
                </c:pt>
                <c:pt idx="2">
                  <c:v>71</c:v>
                </c:pt>
                <c:pt idx="3">
                  <c:v>53</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76.4"/>
          <c:min val="16.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5</c:v>
                </c:pt>
                <c:pt idx="2">
                  <c:v>107</c:v>
                </c:pt>
                <c:pt idx="3">
                  <c:v>108</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16</c:v>
                </c:pt>
                <c:pt idx="2">
                  <c:v>125</c:v>
                </c:pt>
                <c:pt idx="3">
                  <c:v>122</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Intuition</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9</c:v>
                </c:pt>
                <c:pt idx="2">
                  <c:v>117</c:v>
                </c:pt>
                <c:pt idx="3">
                  <c:v>116</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Pbg P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9</c:v>
                </c:pt>
                <c:pt idx="2">
                  <c:v>114</c:v>
                </c:pt>
                <c:pt idx="3">
                  <c:v>12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Quattro</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4</c:f>
              <c:numCache>
                <c:formatCode>General</c:formatCode>
                <c:ptCount val="3"/>
                <c:pt idx="0">
                  <c:v>100</c:v>
                </c:pt>
                <c:pt idx="1">
                  <c:v>40</c:v>
                </c:pt>
                <c:pt idx="2">
                  <c:v>44</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1</c:v>
                </c:pt>
                <c:pt idx="2">
                  <c:v>89</c:v>
                </c:pt>
                <c:pt idx="3">
                  <c:v>92</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0.0"/>
          <c:min val="32.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70</c:v>
                </c:pt>
                <c:pt idx="2">
                  <c:v>68</c:v>
                </c:pt>
                <c:pt idx="3">
                  <c:v>76</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87</c:v>
                </c:pt>
                <c:pt idx="2">
                  <c:v>69</c:v>
                </c:pt>
                <c:pt idx="3">
                  <c:v>76</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81</c:v>
                </c:pt>
                <c:pt idx="2">
                  <c:v>75</c:v>
                </c:pt>
                <c:pt idx="3">
                  <c:v>57</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Joy</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87</c:v>
                </c:pt>
                <c:pt idx="2">
                  <c:v>93</c:v>
                </c:pt>
                <c:pt idx="3">
                  <c:v>88</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Pbg Pl</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6</c:v>
                </c:pt>
                <c:pt idx="2">
                  <c:v>150</c:v>
                </c:pt>
                <c:pt idx="3">
                  <c:v>158</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89.6"/>
          <c:min val="45.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9</c:v>
                </c:pt>
                <c:pt idx="2">
                  <c:v>101</c:v>
                </c:pt>
                <c:pt idx="3">
                  <c:v>102</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19</c:v>
                </c:pt>
                <c:pt idx="2">
                  <c:v>130</c:v>
                </c:pt>
                <c:pt idx="3">
                  <c:v>136</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3</c:v>
                </c:pt>
                <c:pt idx="2">
                  <c:v>106</c:v>
                </c:pt>
                <c:pt idx="3">
                  <c:v>111</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3</c:v>
                </c:pt>
                <c:pt idx="2">
                  <c:v>117</c:v>
                </c:pt>
                <c:pt idx="3">
                  <c:v>122</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Joy</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0</c:v>
                </c:pt>
                <c:pt idx="2">
                  <c:v>103</c:v>
                </c:pt>
                <c:pt idx="3">
                  <c:v>102</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Pbg Pl</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6</c:v>
                </c:pt>
                <c:pt idx="2">
                  <c:v>110</c:v>
                </c:pt>
                <c:pt idx="3">
                  <c:v>11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63.2"/>
          <c:min val="8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Evribeauty</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45</c:v>
                </c:pt>
                <c:pt idx="2">
                  <c:v>34</c:v>
                </c:pt>
                <c:pt idx="3">
                  <c:v>35</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Hydro Silk</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617413</c:v>
                </c:pt>
                <c:pt idx="2">
                  <c:v>984579</c:v>
                </c:pt>
                <c:pt idx="3">
                  <c:v>840615</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Rem P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68</c:v>
                </c:pt>
                <c:pt idx="2">
                  <c:v>63</c:v>
                </c:pt>
                <c:pt idx="3">
                  <c:v>66</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Revlon</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2</c:v>
                </c:pt>
                <c:pt idx="2">
                  <c:v>84</c:v>
                </c:pt>
                <c:pt idx="3">
                  <c:v>10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Universal Razor</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43</c:v>
                </c:pt>
                <c:pt idx="2">
                  <c:v>147</c:v>
                </c:pt>
                <c:pt idx="3">
                  <c:v>134</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181494.8"/>
          <c:min val="27.200000000000003"/>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18</c:v>
                </c:pt>
                <c:pt idx="2">
                  <c:v>126</c:v>
                </c:pt>
                <c:pt idx="3">
                  <c:v>128</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Evribeauty</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4</c:v>
                </c:pt>
                <c:pt idx="2">
                  <c:v>107</c:v>
                </c:pt>
                <c:pt idx="3">
                  <c:v>107</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Hydro Silk</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24</c:v>
                </c:pt>
                <c:pt idx="2">
                  <c:v>124</c:v>
                </c:pt>
                <c:pt idx="3">
                  <c:v>124</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Rem P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2</c:v>
                </c:pt>
                <c:pt idx="2">
                  <c:v>106</c:v>
                </c:pt>
                <c:pt idx="3">
                  <c:v>111</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Revlon</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6</c:v>
                </c:pt>
                <c:pt idx="2">
                  <c:v>114</c:v>
                </c:pt>
                <c:pt idx="3">
                  <c:v>12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Universal Razor</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2</c:v>
                </c:pt>
                <c:pt idx="2">
                  <c:v>104</c:v>
                </c:pt>
                <c:pt idx="3">
                  <c:v>103</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3.6"/>
          <c:min val="8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475,73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269,40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2,657,56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2475731</c:v>
                </c:pt>
                <c:pt idx="1">
                  <c:v>1956377</c:v>
                </c:pt>
                <c:pt idx="2">
                  <c:v>1877820</c:v>
                </c:pt>
                <c:pt idx="3">
                  <c:v>1785862</c:v>
                </c:pt>
                <c:pt idx="4">
                  <c:v>2218461</c:v>
                </c:pt>
                <c:pt idx="5">
                  <c:v>1830323</c:v>
                </c:pt>
                <c:pt idx="6">
                  <c:v>1982282</c:v>
                </c:pt>
                <c:pt idx="7">
                  <c:v>3092193</c:v>
                </c:pt>
                <c:pt idx="8">
                  <c:v>2481281</c:v>
                </c:pt>
                <c:pt idx="9">
                  <c:v>3379661</c:v>
                </c:pt>
                <c:pt idx="10">
                  <c:v>3174981</c:v>
                </c:pt>
                <c:pt idx="11">
                  <c:v>2931797</c:v>
                </c:pt>
                <c:pt idx="12">
                  <c:v>2724852</c:v>
                </c:pt>
                <c:pt idx="13">
                  <c:v>2269409</c:v>
                </c:pt>
                <c:pt idx="14">
                  <c:v>1985029</c:v>
                </c:pt>
                <c:pt idx="15">
                  <c:v>1819241</c:v>
                </c:pt>
                <c:pt idx="16">
                  <c:v>2138406</c:v>
                </c:pt>
                <c:pt idx="17">
                  <c:v>1729885</c:v>
                </c:pt>
                <c:pt idx="18">
                  <c:v>1797903</c:v>
                </c:pt>
                <c:pt idx="19">
                  <c:v>2068839</c:v>
                </c:pt>
                <c:pt idx="20">
                  <c:v>2175393</c:v>
                </c:pt>
                <c:pt idx="21">
                  <c:v>2301775</c:v>
                </c:pt>
                <c:pt idx="22">
                  <c:v>2493337</c:v>
                </c:pt>
                <c:pt idx="23">
                  <c:v>2843229</c:v>
                </c:pt>
                <c:pt idx="24">
                  <c:v>2657565</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6.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7.2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6.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6.64</c:v>
                </c:pt>
                <c:pt idx="1">
                  <c:v>6.95</c:v>
                </c:pt>
                <c:pt idx="2">
                  <c:v>6.6</c:v>
                </c:pt>
                <c:pt idx="3">
                  <c:v>6.64</c:v>
                </c:pt>
                <c:pt idx="4">
                  <c:v>6.77</c:v>
                </c:pt>
                <c:pt idx="5">
                  <c:v>6.64</c:v>
                </c:pt>
                <c:pt idx="6">
                  <c:v>6.36</c:v>
                </c:pt>
                <c:pt idx="7">
                  <c:v>6.59</c:v>
                </c:pt>
                <c:pt idx="8">
                  <c:v>6.98</c:v>
                </c:pt>
                <c:pt idx="9">
                  <c:v>6.75</c:v>
                </c:pt>
                <c:pt idx="10">
                  <c:v>6.73</c:v>
                </c:pt>
                <c:pt idx="11">
                  <c:v>6.98</c:v>
                </c:pt>
                <c:pt idx="12">
                  <c:v>6.53</c:v>
                </c:pt>
                <c:pt idx="13">
                  <c:v>7.25</c:v>
                </c:pt>
                <c:pt idx="14">
                  <c:v>6.66</c:v>
                </c:pt>
                <c:pt idx="15">
                  <c:v>6.74</c:v>
                </c:pt>
                <c:pt idx="16">
                  <c:v>6.69</c:v>
                </c:pt>
                <c:pt idx="17">
                  <c:v>6.84</c:v>
                </c:pt>
                <c:pt idx="18">
                  <c:v>6.36</c:v>
                </c:pt>
                <c:pt idx="19">
                  <c:v>6.4</c:v>
                </c:pt>
                <c:pt idx="20">
                  <c:v>6.26</c:v>
                </c:pt>
                <c:pt idx="21">
                  <c:v>6.07</c:v>
                </c:pt>
                <c:pt idx="22">
                  <c:v>6.26</c:v>
                </c:pt>
                <c:pt idx="23">
                  <c:v>6.2</c:v>
                </c:pt>
                <c:pt idx="24">
                  <c:v>6.06</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4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ilky Touch</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87</c:v>
                </c:pt>
                <c:pt idx="2">
                  <c:v>87</c:v>
                </c:pt>
                <c:pt idx="3">
                  <c:v>84</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Daisy</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1</c:v>
                </c:pt>
                <c:pt idx="2">
                  <c:v>88</c:v>
                </c:pt>
                <c:pt idx="3">
                  <c:v>73</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34</c:v>
                </c:pt>
                <c:pt idx="2">
                  <c:v>140</c:v>
                </c:pt>
                <c:pt idx="3">
                  <c:v>162</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bg Pl</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4</c:v>
                </c:pt>
                <c:pt idx="2">
                  <c:v>82</c:v>
                </c:pt>
                <c:pt idx="3">
                  <c:v>69</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Pbg: All Others</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10</c:v>
                </c:pt>
                <c:pt idx="2">
                  <c:v>163</c:v>
                </c:pt>
                <c:pt idx="3">
                  <c:v>142</c:v>
                </c:pt>
              </c:numCache>
            </c:numRef>
          </c:val>
          <c:smooth val="0"/>
          <c:extLst>
            <c:ext xmlns:c16="http://schemas.microsoft.com/office/drawing/2014/chart" uri="{C3380CC4-5D6E-409C-BE32-E72D297353CC}">
              <c16:uniqueId val="{00000007-0907-1A4C-A11F-73C2425749BA}"/>
            </c:ext>
          </c:extLst>
        </c:ser>
        <c:ser>
          <c:idx val="9"/>
          <c:order val="6"/>
          <c:tx>
            <c:strRef>
              <c:f>Sheet1!$H$1</c:f>
              <c:strCache>
                <c:ptCount val="1"/>
                <c:pt idx="0">
                  <c:v>Skintimate</c:v>
                </c:pt>
              </c:strCache>
            </c:strRef>
          </c:tx>
          <c:spPr>
            <a:ln w="19050" cap="rnd">
              <a:solidFill>
                <a:srgbClr val="E5F4F3"/>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116</c:v>
                </c:pt>
                <c:pt idx="2">
                  <c:v>109</c:v>
                </c:pt>
                <c:pt idx="3">
                  <c:v>83</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95.6"/>
          <c:min val="55.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8</c:v>
                </c:pt>
                <c:pt idx="2">
                  <c:v>111</c:v>
                </c:pt>
                <c:pt idx="3">
                  <c:v>116</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ilky Touch</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1</c:v>
                </c:pt>
                <c:pt idx="2">
                  <c:v>98</c:v>
                </c:pt>
                <c:pt idx="3">
                  <c:v>95</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Daisy</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4</c:v>
                </c:pt>
                <c:pt idx="2">
                  <c:v>116</c:v>
                </c:pt>
                <c:pt idx="3">
                  <c:v>116</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28</c:v>
                </c:pt>
                <c:pt idx="2">
                  <c:v>26</c:v>
                </c:pt>
                <c:pt idx="3">
                  <c:v>27</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bg Pl</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11</c:v>
                </c:pt>
                <c:pt idx="2">
                  <c:v>122</c:v>
                </c:pt>
                <c:pt idx="3">
                  <c:v>126</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Pbg: All Others</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5</c:v>
                </c:pt>
                <c:pt idx="2">
                  <c:v>112</c:v>
                </c:pt>
                <c:pt idx="3">
                  <c:v>113</c:v>
                </c:pt>
              </c:numCache>
            </c:numRef>
          </c:val>
          <c:smooth val="0"/>
          <c:extLst>
            <c:ext xmlns:c16="http://schemas.microsoft.com/office/drawing/2014/chart" uri="{C3380CC4-5D6E-409C-BE32-E72D297353CC}">
              <c16:uniqueId val="{00000003-F160-FB4E-B9E2-3D36233077E3}"/>
            </c:ext>
          </c:extLst>
        </c:ser>
        <c:ser>
          <c:idx val="9"/>
          <c:order val="6"/>
          <c:tx>
            <c:strRef>
              <c:f>Sheet1!$H$1</c:f>
              <c:strCache>
                <c:ptCount val="1"/>
                <c:pt idx="0">
                  <c:v>Skintimate</c:v>
                </c:pt>
              </c:strCache>
            </c:strRef>
          </c:tx>
          <c:spPr>
            <a:ln w="19050" cap="rnd">
              <a:solidFill>
                <a:srgbClr val="E5F4F3"/>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100</c:v>
                </c:pt>
                <c:pt idx="2">
                  <c:v>114</c:v>
                </c:pt>
                <c:pt idx="3">
                  <c:v>12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1.2"/>
          <c:min val="20.8"/>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39</c:v>
                </c:pt>
                <c:pt idx="2">
                  <c:v>124</c:v>
                </c:pt>
                <c:pt idx="3">
                  <c:v>111</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4</c:v>
                </c:pt>
                <c:pt idx="2">
                  <c:v>103</c:v>
                </c:pt>
                <c:pt idx="3">
                  <c:v>105</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79</c:v>
                </c:pt>
                <c:pt idx="2">
                  <c:v>50</c:v>
                </c:pt>
                <c:pt idx="3">
                  <c:v>19</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3225503</c:v>
                </c:pt>
                <c:pt idx="2">
                  <c:v>1467610</c:v>
                </c:pt>
                <c:pt idx="3">
                  <c:v>94382</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Joy</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58</c:v>
                </c:pt>
                <c:pt idx="2">
                  <c:v>2</c:v>
                </c:pt>
                <c:pt idx="3">
                  <c:v>0</c:v>
                </c:pt>
              </c:numCache>
            </c:numRef>
          </c:val>
          <c:smooth val="0"/>
          <c:extLst>
            <c:ext xmlns:c16="http://schemas.microsoft.com/office/drawing/2014/chart" uri="{C3380CC4-5D6E-409C-BE32-E72D297353CC}">
              <c16:uniqueId val="{00000007-0907-1A4C-A11F-73C2425749BA}"/>
            </c:ext>
          </c:extLst>
        </c:ser>
        <c:ser>
          <c:idx val="9"/>
          <c:order val="6"/>
          <c:tx>
            <c:strRef>
              <c:f>Sheet1!$H$1</c:f>
              <c:strCache>
                <c:ptCount val="1"/>
                <c:pt idx="0">
                  <c:v>Pbg Pl</c:v>
                </c:pt>
              </c:strCache>
            </c:strRef>
          </c:tx>
          <c:spPr>
            <a:ln w="19050" cap="rnd">
              <a:solidFill>
                <a:srgbClr val="FFFF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106</c:v>
                </c:pt>
                <c:pt idx="2">
                  <c:v>109</c:v>
                </c:pt>
                <c:pt idx="3">
                  <c:v>125</c:v>
                </c:pt>
              </c:numCache>
            </c:numRef>
          </c:val>
          <c:smooth val="0"/>
          <c:extLst>
            <c:ext xmlns:c16="http://schemas.microsoft.com/office/drawing/2014/chart" uri="{C3380CC4-5D6E-409C-BE32-E72D297353CC}">
              <c16:uniqueId val="{00000007-0907-1A4C-A11F-73C2425749BA}"/>
            </c:ext>
          </c:extLst>
        </c:ser>
        <c:ser>
          <c:idx val="10"/>
          <c:order val="7"/>
          <c:tx>
            <c:strRef>
              <c:f>Sheet1!$I$1</c:f>
              <c:strCache>
                <c:ptCount val="1"/>
                <c:pt idx="0">
                  <c:v>Skintimate</c:v>
                </c:pt>
              </c:strCache>
            </c:strRef>
          </c:tx>
          <c:spPr>
            <a:ln w="19050" cap="rnd">
              <a:solidFill>
                <a:srgbClr val="306181"/>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I$2:$I$5</c:f>
              <c:numCache>
                <c:formatCode>General</c:formatCode>
                <c:ptCount val="4"/>
                <c:pt idx="0">
                  <c:v>100</c:v>
                </c:pt>
                <c:pt idx="1">
                  <c:v>6</c:v>
                </c:pt>
                <c:pt idx="2">
                  <c:v>0</c:v>
                </c:pt>
                <c:pt idx="3">
                  <c:v>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3870603.5999999996"/>
          <c:min val="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1</c:v>
                </c:pt>
                <c:pt idx="2">
                  <c:v>112</c:v>
                </c:pt>
                <c:pt idx="3">
                  <c:v>113</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6</c:v>
                </c:pt>
                <c:pt idx="2">
                  <c:v>105</c:v>
                </c:pt>
                <c:pt idx="3">
                  <c:v>101</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5</c:v>
                </c:pt>
                <c:pt idx="2">
                  <c:v>111</c:v>
                </c:pt>
                <c:pt idx="3">
                  <c:v>114</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4</c:v>
                </c:pt>
                <c:pt idx="2">
                  <c:v>74</c:v>
                </c:pt>
                <c:pt idx="3">
                  <c:v>103</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9</c:v>
                </c:pt>
                <c:pt idx="2">
                  <c:v>98</c:v>
                </c:pt>
                <c:pt idx="3">
                  <c:v>42</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Joy</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6</c:v>
                </c:pt>
                <c:pt idx="2">
                  <c:v>59</c:v>
                </c:pt>
                <c:pt idx="3">
                  <c:v>80</c:v>
                </c:pt>
              </c:numCache>
            </c:numRef>
          </c:val>
          <c:smooth val="0"/>
          <c:extLst>
            <c:ext xmlns:c16="http://schemas.microsoft.com/office/drawing/2014/chart" uri="{C3380CC4-5D6E-409C-BE32-E72D297353CC}">
              <c16:uniqueId val="{00000003-F160-FB4E-B9E2-3D36233077E3}"/>
            </c:ext>
          </c:extLst>
        </c:ser>
        <c:ser>
          <c:idx val="9"/>
          <c:order val="6"/>
          <c:tx>
            <c:strRef>
              <c:f>Sheet1!$H$1</c:f>
              <c:strCache>
                <c:ptCount val="1"/>
                <c:pt idx="0">
                  <c:v>Pbg Pl</c:v>
                </c:pt>
              </c:strCache>
            </c:strRef>
          </c:tx>
          <c:spPr>
            <a:ln w="19050" cap="rnd">
              <a:solidFill>
                <a:srgbClr val="FFFF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107</c:v>
                </c:pt>
                <c:pt idx="2">
                  <c:v>121</c:v>
                </c:pt>
                <c:pt idx="3">
                  <c:v>122</c:v>
                </c:pt>
              </c:numCache>
            </c:numRef>
          </c:val>
          <c:smooth val="0"/>
          <c:extLst>
            <c:ext xmlns:c16="http://schemas.microsoft.com/office/drawing/2014/chart" uri="{C3380CC4-5D6E-409C-BE32-E72D297353CC}">
              <c16:uniqueId val="{00000003-F160-FB4E-B9E2-3D36233077E3}"/>
            </c:ext>
          </c:extLst>
        </c:ser>
        <c:ser>
          <c:idx val="10"/>
          <c:order val="7"/>
          <c:tx>
            <c:strRef>
              <c:f>Sheet1!$I$1</c:f>
              <c:strCache>
                <c:ptCount val="1"/>
                <c:pt idx="0">
                  <c:v>Skintimate</c:v>
                </c:pt>
              </c:strCache>
            </c:strRef>
          </c:tx>
          <c:spPr>
            <a:ln w="19050" cap="rnd">
              <a:solidFill>
                <a:srgbClr val="306181"/>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I$2:$I$5</c:f>
              <c:numCache>
                <c:formatCode>General</c:formatCode>
                <c:ptCount val="4"/>
                <c:pt idx="0">
                  <c:v>100</c:v>
                </c:pt>
                <c:pt idx="1">
                  <c:v>64</c:v>
                </c:pt>
                <c:pt idx="2">
                  <c:v>84</c:v>
                </c:pt>
                <c:pt idx="3">
                  <c:v>73</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6.4"/>
          <c:min val="33.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5</c:v>
                </c:pt>
                <c:pt idx="2">
                  <c:v>90</c:v>
                </c:pt>
                <c:pt idx="3">
                  <c:v>106</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Intuition</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32</c:v>
                </c:pt>
                <c:pt idx="2">
                  <c:v>119</c:v>
                </c:pt>
                <c:pt idx="3">
                  <c:v>128</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Pbg P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2</c:v>
                </c:pt>
                <c:pt idx="2">
                  <c:v>95</c:v>
                </c:pt>
                <c:pt idx="3">
                  <c:v>91</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Quattro</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82</c:v>
                </c:pt>
                <c:pt idx="2">
                  <c:v>33</c:v>
                </c:pt>
                <c:pt idx="3">
                  <c:v>28</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48</c:v>
                </c:pt>
                <c:pt idx="2">
                  <c:v>39</c:v>
                </c:pt>
                <c:pt idx="3">
                  <c:v>23</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58.4"/>
          <c:min val="18.40000000000000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23</c:v>
                </c:pt>
                <c:pt idx="2">
                  <c:v>134</c:v>
                </c:pt>
                <c:pt idx="3">
                  <c:v>138</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47</c:v>
                </c:pt>
                <c:pt idx="2">
                  <c:v>162</c:v>
                </c:pt>
                <c:pt idx="3">
                  <c:v>161</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Intuition</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6</c:v>
                </c:pt>
                <c:pt idx="2">
                  <c:v>126</c:v>
                </c:pt>
                <c:pt idx="3">
                  <c:v>121</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Pbg P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85</c:v>
                </c:pt>
                <c:pt idx="2">
                  <c:v>89</c:v>
                </c:pt>
                <c:pt idx="3">
                  <c:v>94</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Quattro</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4</c:v>
                </c:pt>
                <c:pt idx="2">
                  <c:v>117</c:v>
                </c:pt>
                <c:pt idx="3">
                  <c:v>114</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9</c:v>
                </c:pt>
                <c:pt idx="2">
                  <c:v>99</c:v>
                </c:pt>
                <c:pt idx="3">
                  <c:v>101</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94.4"/>
          <c:min val="68.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73</c:v>
                </c:pt>
                <c:pt idx="2">
                  <c:v>83</c:v>
                </c:pt>
                <c:pt idx="3">
                  <c:v>61</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87</c:v>
                </c:pt>
                <c:pt idx="2">
                  <c:v>75</c:v>
                </c:pt>
                <c:pt idx="3">
                  <c:v>91</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69</c:v>
                </c:pt>
                <c:pt idx="2">
                  <c:v>70</c:v>
                </c:pt>
                <c:pt idx="3">
                  <c:v>49</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78</c:v>
                </c:pt>
                <c:pt idx="2">
                  <c:v>15</c:v>
                </c:pt>
                <c:pt idx="3">
                  <c:v>24</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Joy</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1</c:v>
                </c:pt>
                <c:pt idx="2">
                  <c:v>87</c:v>
                </c:pt>
                <c:pt idx="3">
                  <c:v>82</c:v>
                </c:pt>
              </c:numCache>
            </c:numRef>
          </c:val>
          <c:smooth val="0"/>
          <c:extLst>
            <c:ext xmlns:c16="http://schemas.microsoft.com/office/drawing/2014/chart" uri="{C3380CC4-5D6E-409C-BE32-E72D297353CC}">
              <c16:uniqueId val="{00000007-0907-1A4C-A11F-73C2425749BA}"/>
            </c:ext>
          </c:extLst>
        </c:ser>
        <c:ser>
          <c:idx val="9"/>
          <c:order val="6"/>
          <c:tx>
            <c:strRef>
              <c:f>Sheet1!$H$1</c:f>
              <c:strCache>
                <c:ptCount val="1"/>
                <c:pt idx="0">
                  <c:v>Pbg Pl</c:v>
                </c:pt>
              </c:strCache>
            </c:strRef>
          </c:tx>
          <c:spPr>
            <a:ln w="19050" cap="rnd">
              <a:solidFill>
                <a:srgbClr val="FFFF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92</c:v>
                </c:pt>
                <c:pt idx="2">
                  <c:v>99</c:v>
                </c:pt>
                <c:pt idx="3">
                  <c:v>112</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34.4"/>
          <c:min val="12.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13</c:v>
                </c:pt>
                <c:pt idx="2">
                  <c:v>109</c:v>
                </c:pt>
                <c:pt idx="3">
                  <c:v>112</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33</c:v>
                </c:pt>
                <c:pt idx="2">
                  <c:v>138</c:v>
                </c:pt>
                <c:pt idx="3">
                  <c:v>177</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1</c:v>
                </c:pt>
                <c:pt idx="2">
                  <c:v>114</c:v>
                </c:pt>
                <c:pt idx="3">
                  <c:v>114</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8</c:v>
                </c:pt>
                <c:pt idx="2">
                  <c:v>117</c:v>
                </c:pt>
                <c:pt idx="3">
                  <c:v>124</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78</c:v>
                </c:pt>
                <c:pt idx="2">
                  <c:v>66</c:v>
                </c:pt>
                <c:pt idx="3">
                  <c:v>82</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Joy</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1</c:v>
                </c:pt>
                <c:pt idx="2">
                  <c:v>102</c:v>
                </c:pt>
                <c:pt idx="3">
                  <c:v>100</c:v>
                </c:pt>
              </c:numCache>
            </c:numRef>
          </c:val>
          <c:smooth val="0"/>
          <c:extLst>
            <c:ext xmlns:c16="http://schemas.microsoft.com/office/drawing/2014/chart" uri="{C3380CC4-5D6E-409C-BE32-E72D297353CC}">
              <c16:uniqueId val="{00000003-F160-FB4E-B9E2-3D36233077E3}"/>
            </c:ext>
          </c:extLst>
        </c:ser>
        <c:ser>
          <c:idx val="9"/>
          <c:order val="6"/>
          <c:tx>
            <c:strRef>
              <c:f>Sheet1!$H$1</c:f>
              <c:strCache>
                <c:ptCount val="1"/>
                <c:pt idx="0">
                  <c:v>Pbg Pl</c:v>
                </c:pt>
              </c:strCache>
            </c:strRef>
          </c:tx>
          <c:spPr>
            <a:ln w="19050" cap="rnd">
              <a:solidFill>
                <a:srgbClr val="FFFF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103</c:v>
                </c:pt>
                <c:pt idx="2">
                  <c:v>105</c:v>
                </c:pt>
                <c:pt idx="3">
                  <c:v>108</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212.4"/>
          <c:min val="52.800000000000004"/>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20.0"/>
          <c:min val="8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468</c:v>
                </c:pt>
                <c:pt idx="2">
                  <c:v>468</c:v>
                </c:pt>
                <c:pt idx="3">
                  <c:v>390</c:v>
                </c:pt>
              </c:numCache>
            </c:numRef>
          </c:val>
          <c:smooth val="0"/>
          <c:extLst>
            <c:ext xmlns:c16="http://schemas.microsoft.com/office/drawing/2014/chart" uri="{C3380CC4-5D6E-409C-BE32-E72D297353CC}">
              <c16:uniqueId val="{00000001-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561.6"/>
          <c:min val="8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377,16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135,20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2,414,64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2377167</c:v>
                </c:pt>
                <c:pt idx="1">
                  <c:v>2088584</c:v>
                </c:pt>
                <c:pt idx="2">
                  <c:v>1977676</c:v>
                </c:pt>
                <c:pt idx="3">
                  <c:v>1713161</c:v>
                </c:pt>
                <c:pt idx="4">
                  <c:v>1980418</c:v>
                </c:pt>
                <c:pt idx="5">
                  <c:v>1900495</c:v>
                </c:pt>
                <c:pt idx="6">
                  <c:v>1766837</c:v>
                </c:pt>
                <c:pt idx="7">
                  <c:v>2158413</c:v>
                </c:pt>
                <c:pt idx="8">
                  <c:v>2207170</c:v>
                </c:pt>
                <c:pt idx="9">
                  <c:v>2354328</c:v>
                </c:pt>
                <c:pt idx="10">
                  <c:v>2476521</c:v>
                </c:pt>
                <c:pt idx="11">
                  <c:v>2542564</c:v>
                </c:pt>
                <c:pt idx="12">
                  <c:v>2341362</c:v>
                </c:pt>
                <c:pt idx="13">
                  <c:v>2135204</c:v>
                </c:pt>
                <c:pt idx="14">
                  <c:v>1931059</c:v>
                </c:pt>
                <c:pt idx="15">
                  <c:v>1758439</c:v>
                </c:pt>
                <c:pt idx="16">
                  <c:v>2053287</c:v>
                </c:pt>
                <c:pt idx="17">
                  <c:v>1805152</c:v>
                </c:pt>
                <c:pt idx="18">
                  <c:v>1738264</c:v>
                </c:pt>
                <c:pt idx="19">
                  <c:v>2021194</c:v>
                </c:pt>
                <c:pt idx="20">
                  <c:v>2028816</c:v>
                </c:pt>
                <c:pt idx="21">
                  <c:v>2352973</c:v>
                </c:pt>
                <c:pt idx="22">
                  <c:v>2607156</c:v>
                </c:pt>
                <c:pt idx="23">
                  <c:v>2457566</c:v>
                </c:pt>
                <c:pt idx="24">
                  <c:v>2414643</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4.4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4.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4.1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4.4</c:v>
                </c:pt>
                <c:pt idx="1">
                  <c:v>4.34</c:v>
                </c:pt>
                <c:pt idx="2">
                  <c:v>4.31</c:v>
                </c:pt>
                <c:pt idx="3">
                  <c:v>4.35</c:v>
                </c:pt>
                <c:pt idx="4">
                  <c:v>4.38</c:v>
                </c:pt>
                <c:pt idx="5">
                  <c:v>4.28</c:v>
                </c:pt>
                <c:pt idx="6">
                  <c:v>4.25</c:v>
                </c:pt>
                <c:pt idx="7">
                  <c:v>4.37</c:v>
                </c:pt>
                <c:pt idx="8">
                  <c:v>4.35</c:v>
                </c:pt>
                <c:pt idx="9">
                  <c:v>4.34</c:v>
                </c:pt>
                <c:pt idx="10">
                  <c:v>4.27</c:v>
                </c:pt>
                <c:pt idx="11">
                  <c:v>4.44</c:v>
                </c:pt>
                <c:pt idx="12">
                  <c:v>4.44</c:v>
                </c:pt>
                <c:pt idx="13">
                  <c:v>4.52</c:v>
                </c:pt>
                <c:pt idx="14">
                  <c:v>4.45</c:v>
                </c:pt>
                <c:pt idx="15">
                  <c:v>4.45</c:v>
                </c:pt>
                <c:pt idx="16">
                  <c:v>4.4</c:v>
                </c:pt>
                <c:pt idx="17">
                  <c:v>4.45</c:v>
                </c:pt>
                <c:pt idx="18">
                  <c:v>4.28</c:v>
                </c:pt>
                <c:pt idx="19">
                  <c:v>4.24</c:v>
                </c:pt>
                <c:pt idx="20">
                  <c:v>4.23</c:v>
                </c:pt>
                <c:pt idx="21">
                  <c:v>4.15</c:v>
                </c:pt>
                <c:pt idx="22">
                  <c:v>4.15</c:v>
                </c:pt>
                <c:pt idx="23">
                  <c:v>4.16</c:v>
                </c:pt>
                <c:pt idx="24">
                  <c:v>4.1</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4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Gillette Venu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36</c:v>
                </c:pt>
                <c:pt idx="2">
                  <c:v>66</c:v>
                </c:pt>
                <c:pt idx="3">
                  <c:v>101</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Intuition</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4</c:f>
              <c:numCache>
                <c:formatCode>General</c:formatCode>
                <c:ptCount val="3"/>
                <c:pt idx="0">
                  <c:v>100</c:v>
                </c:pt>
                <c:pt idx="1">
                  <c:v>1402</c:v>
                </c:pt>
                <c:pt idx="2">
                  <c:v>72</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682.3999999999999"/>
          <c:min val="28.8"/>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30</c:v>
                </c:pt>
                <c:pt idx="2">
                  <c:v>70</c:v>
                </c:pt>
                <c:pt idx="3">
                  <c:v>54</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Gillette Venu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382</c:v>
                </c:pt>
                <c:pt idx="2">
                  <c:v>50</c:v>
                </c:pt>
                <c:pt idx="3">
                  <c:v>36</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Intuition</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4</c:f>
              <c:numCache>
                <c:formatCode>General</c:formatCode>
                <c:ptCount val="3"/>
                <c:pt idx="0">
                  <c:v>100</c:v>
                </c:pt>
                <c:pt idx="1">
                  <c:v>899</c:v>
                </c:pt>
                <c:pt idx="2">
                  <c:v>296</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078.8"/>
          <c:min val="24.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Universal Razor Ind: All Other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49</c:v>
                </c:pt>
                <c:pt idx="2">
                  <c:v>28</c:v>
                </c:pt>
                <c:pt idx="3">
                  <c:v>2</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20.0"/>
          <c:min val="1.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83</c:v>
                </c:pt>
                <c:pt idx="2">
                  <c:v>80</c:v>
                </c:pt>
                <c:pt idx="3">
                  <c:v>60</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Universal Razor Ind: All Other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82</c:v>
                </c:pt>
                <c:pt idx="2">
                  <c:v>70</c:v>
                </c:pt>
                <c:pt idx="3">
                  <c:v>63</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0.0"/>
          <c:min val="48.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ilky Touch</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65</c:v>
                </c:pt>
                <c:pt idx="2">
                  <c:v>48</c:v>
                </c:pt>
                <c:pt idx="3">
                  <c:v>76</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6</c:v>
                </c:pt>
                <c:pt idx="2">
                  <c:v>100</c:v>
                </c:pt>
                <c:pt idx="3">
                  <c:v>87</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Procter &amp; Gamble: All Other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68</c:v>
                </c:pt>
                <c:pt idx="2">
                  <c:v>73</c:v>
                </c:pt>
                <c:pt idx="3">
                  <c:v>124</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Silk Effects</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81</c:v>
                </c:pt>
                <c:pt idx="2">
                  <c:v>130</c:v>
                </c:pt>
                <c:pt idx="3">
                  <c:v>221</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St2/Slim Twin</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52</c:v>
                </c:pt>
                <c:pt idx="2">
                  <c:v>65</c:v>
                </c:pt>
                <c:pt idx="3">
                  <c:v>89</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265.2"/>
          <c:min val="38.40000000000000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24</c:v>
                </c:pt>
                <c:pt idx="2">
                  <c:v>102</c:v>
                </c:pt>
                <c:pt idx="3">
                  <c:v>84</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ilky Touch</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1</c:v>
                </c:pt>
                <c:pt idx="2">
                  <c:v>77</c:v>
                </c:pt>
                <c:pt idx="3">
                  <c:v>96</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4</c:v>
                </c:pt>
                <c:pt idx="2">
                  <c:v>91</c:v>
                </c:pt>
                <c:pt idx="3">
                  <c:v>86</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Procter &amp; Gamble: All Other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19</c:v>
                </c:pt>
                <c:pt idx="2">
                  <c:v>102</c:v>
                </c:pt>
                <c:pt idx="3">
                  <c:v>102</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Silk Effects</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78</c:v>
                </c:pt>
                <c:pt idx="2">
                  <c:v>70</c:v>
                </c:pt>
                <c:pt idx="3">
                  <c:v>71</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St2/Slim Twin</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18</c:v>
                </c:pt>
                <c:pt idx="2">
                  <c:v>143</c:v>
                </c:pt>
                <c:pt idx="3">
                  <c:v>16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96.79999999999998"/>
          <c:min val="56.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39</c:v>
                </c:pt>
                <c:pt idx="2">
                  <c:v>151</c:v>
                </c:pt>
                <c:pt idx="3">
                  <c:v>171</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76</c:v>
                </c:pt>
                <c:pt idx="2">
                  <c:v>72</c:v>
                </c:pt>
                <c:pt idx="3">
                  <c:v>63</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5</c:v>
                </c:pt>
                <c:pt idx="2">
                  <c:v>114</c:v>
                </c:pt>
                <c:pt idx="3">
                  <c:v>191</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Rem Pl</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72</c:v>
                </c:pt>
                <c:pt idx="2">
                  <c:v>165</c:v>
                </c:pt>
                <c:pt idx="3">
                  <c:v>66</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314</c:v>
                </c:pt>
                <c:pt idx="2">
                  <c:v>401</c:v>
                </c:pt>
                <c:pt idx="3">
                  <c:v>708</c:v>
                </c:pt>
              </c:numCache>
            </c:numRef>
          </c:val>
          <c:smooth val="0"/>
          <c:extLst>
            <c:ext xmlns:c16="http://schemas.microsoft.com/office/drawing/2014/chart" uri="{C3380CC4-5D6E-409C-BE32-E72D297353CC}">
              <c16:uniqueId val="{00000007-0907-1A4C-A11F-73C2425749BA}"/>
            </c:ext>
          </c:extLst>
        </c:ser>
        <c:ser>
          <c:idx val="9"/>
          <c:order val="6"/>
          <c:tx>
            <c:strRef>
              <c:f>Sheet1!$H$1</c:f>
              <c:strCache>
                <c:ptCount val="1"/>
                <c:pt idx="0">
                  <c:v>Xtreme</c:v>
                </c:pt>
              </c:strCache>
            </c:strRef>
          </c:tx>
          <c:spPr>
            <a:ln w="19050" cap="rnd">
              <a:solidFill>
                <a:srgbClr val="FFFF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246</c:v>
                </c:pt>
                <c:pt idx="2">
                  <c:v>249</c:v>
                </c:pt>
                <c:pt idx="3">
                  <c:v>18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849.6"/>
          <c:min val="50.40000000000000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89</c:v>
                </c:pt>
                <c:pt idx="2">
                  <c:v>97</c:v>
                </c:pt>
                <c:pt idx="3">
                  <c:v>92</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4</c:v>
                </c:pt>
                <c:pt idx="2">
                  <c:v>110</c:v>
                </c:pt>
                <c:pt idx="3">
                  <c:v>112</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20</c:v>
                </c:pt>
                <c:pt idx="2">
                  <c:v>133</c:v>
                </c:pt>
                <c:pt idx="3">
                  <c:v>136</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3</c:v>
                </c:pt>
                <c:pt idx="2">
                  <c:v>77</c:v>
                </c:pt>
                <c:pt idx="3">
                  <c:v>75</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Rem Pl</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6</c:v>
                </c:pt>
                <c:pt idx="2">
                  <c:v>106</c:v>
                </c:pt>
                <c:pt idx="3">
                  <c:v>111</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6</c:v>
                </c:pt>
                <c:pt idx="2">
                  <c:v>111</c:v>
                </c:pt>
                <c:pt idx="3">
                  <c:v>121</c:v>
                </c:pt>
              </c:numCache>
            </c:numRef>
          </c:val>
          <c:smooth val="0"/>
          <c:extLst>
            <c:ext xmlns:c16="http://schemas.microsoft.com/office/drawing/2014/chart" uri="{C3380CC4-5D6E-409C-BE32-E72D297353CC}">
              <c16:uniqueId val="{00000003-F160-FB4E-B9E2-3D36233077E3}"/>
            </c:ext>
          </c:extLst>
        </c:ser>
        <c:ser>
          <c:idx val="9"/>
          <c:order val="6"/>
          <c:tx>
            <c:strRef>
              <c:f>Sheet1!$H$1</c:f>
              <c:strCache>
                <c:ptCount val="1"/>
                <c:pt idx="0">
                  <c:v>Xtreme</c:v>
                </c:pt>
              </c:strCache>
            </c:strRef>
          </c:tx>
          <c:spPr>
            <a:ln w="19050" cap="rnd">
              <a:solidFill>
                <a:srgbClr val="FFFF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78</c:v>
                </c:pt>
                <c:pt idx="2">
                  <c:v>69</c:v>
                </c:pt>
                <c:pt idx="3">
                  <c:v>58</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63.2"/>
          <c:min val="46.40000000000000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68</c:v>
                </c:pt>
                <c:pt idx="2">
                  <c:v>224</c:v>
                </c:pt>
                <c:pt idx="3">
                  <c:v>238</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Intuition</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0</c:v>
                </c:pt>
                <c:pt idx="2">
                  <c:v>88</c:v>
                </c:pt>
                <c:pt idx="3">
                  <c:v>87</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Quattro</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73</c:v>
                </c:pt>
                <c:pt idx="2">
                  <c:v>90</c:v>
                </c:pt>
                <c:pt idx="3">
                  <c:v>87</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Silk Effects</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9</c:v>
                </c:pt>
                <c:pt idx="2">
                  <c:v>5</c:v>
                </c:pt>
                <c:pt idx="3">
                  <c:v>19</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30</c:v>
                </c:pt>
                <c:pt idx="2">
                  <c:v>149</c:v>
                </c:pt>
                <c:pt idx="3">
                  <c:v>246</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295.2"/>
          <c:min val="4.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6</c:v>
                </c:pt>
                <c:pt idx="2">
                  <c:v>94</c:v>
                </c:pt>
                <c:pt idx="3">
                  <c:v>91</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6</c:v>
                </c:pt>
                <c:pt idx="2">
                  <c:v>111</c:v>
                </c:pt>
                <c:pt idx="3">
                  <c:v>114</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Intuition</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7</c:v>
                </c:pt>
                <c:pt idx="2">
                  <c:v>95</c:v>
                </c:pt>
                <c:pt idx="3">
                  <c:v>98</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Quattro</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17</c:v>
                </c:pt>
                <c:pt idx="2">
                  <c:v>104</c:v>
                </c:pt>
                <c:pt idx="3">
                  <c:v>88</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Silk Effects</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8</c:v>
                </c:pt>
                <c:pt idx="2">
                  <c:v>88</c:v>
                </c:pt>
                <c:pt idx="3">
                  <c:v>92</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1</c:v>
                </c:pt>
                <c:pt idx="2">
                  <c:v>82</c:v>
                </c:pt>
                <c:pt idx="3">
                  <c:v>76</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0.4"/>
          <c:min val="60.800000000000004"/>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57,08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49,20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77,84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257089</c:v>
                </c:pt>
                <c:pt idx="1">
                  <c:v>227139</c:v>
                </c:pt>
                <c:pt idx="2">
                  <c:v>599666</c:v>
                </c:pt>
                <c:pt idx="3">
                  <c:v>578918</c:v>
                </c:pt>
                <c:pt idx="4">
                  <c:v>623475</c:v>
                </c:pt>
                <c:pt idx="5">
                  <c:v>219473</c:v>
                </c:pt>
                <c:pt idx="6">
                  <c:v>222915</c:v>
                </c:pt>
                <c:pt idx="7">
                  <c:v>313188</c:v>
                </c:pt>
                <c:pt idx="8">
                  <c:v>393767</c:v>
                </c:pt>
                <c:pt idx="9">
                  <c:v>352197</c:v>
                </c:pt>
                <c:pt idx="10">
                  <c:v>311779</c:v>
                </c:pt>
                <c:pt idx="11">
                  <c:v>342018</c:v>
                </c:pt>
                <c:pt idx="12">
                  <c:v>415124</c:v>
                </c:pt>
                <c:pt idx="13">
                  <c:v>249206</c:v>
                </c:pt>
                <c:pt idx="14">
                  <c:v>626922</c:v>
                </c:pt>
                <c:pt idx="15">
                  <c:v>712675</c:v>
                </c:pt>
                <c:pt idx="16">
                  <c:v>731763</c:v>
                </c:pt>
                <c:pt idx="17">
                  <c:v>122662</c:v>
                </c:pt>
                <c:pt idx="18">
                  <c:v>86545</c:v>
                </c:pt>
                <c:pt idx="19">
                  <c:v>78469</c:v>
                </c:pt>
                <c:pt idx="20">
                  <c:v>187994</c:v>
                </c:pt>
                <c:pt idx="21">
                  <c:v>115217</c:v>
                </c:pt>
                <c:pt idx="22">
                  <c:v>96683</c:v>
                </c:pt>
                <c:pt idx="23">
                  <c:v>92944</c:v>
                </c:pt>
                <c:pt idx="24">
                  <c:v>7784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2.1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6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2.13</c:v>
                </c:pt>
                <c:pt idx="1">
                  <c:v>2.14</c:v>
                </c:pt>
                <c:pt idx="2">
                  <c:v>1.14</c:v>
                </c:pt>
                <c:pt idx="3">
                  <c:v>1.12</c:v>
                </c:pt>
                <c:pt idx="4">
                  <c:v>1.07</c:v>
                </c:pt>
                <c:pt idx="5">
                  <c:v>1.58</c:v>
                </c:pt>
                <c:pt idx="6">
                  <c:v>1.94</c:v>
                </c:pt>
                <c:pt idx="7">
                  <c:v>1.87</c:v>
                </c:pt>
                <c:pt idx="8">
                  <c:v>1.88</c:v>
                </c:pt>
                <c:pt idx="9">
                  <c:v>1.91</c:v>
                </c:pt>
                <c:pt idx="10">
                  <c:v>1.97</c:v>
                </c:pt>
                <c:pt idx="11">
                  <c:v>1.98</c:v>
                </c:pt>
                <c:pt idx="12">
                  <c:v>1.93</c:v>
                </c:pt>
                <c:pt idx="13">
                  <c:v>2.02</c:v>
                </c:pt>
                <c:pt idx="14">
                  <c:v>1.22</c:v>
                </c:pt>
                <c:pt idx="15">
                  <c:v>1.15</c:v>
                </c:pt>
                <c:pt idx="16">
                  <c:v>1.04</c:v>
                </c:pt>
                <c:pt idx="17">
                  <c:v>1.13</c:v>
                </c:pt>
                <c:pt idx="18">
                  <c:v>1.5</c:v>
                </c:pt>
                <c:pt idx="19">
                  <c:v>1.58</c:v>
                </c:pt>
                <c:pt idx="20">
                  <c:v>1.61</c:v>
                </c:pt>
                <c:pt idx="21">
                  <c:v>1.6</c:v>
                </c:pt>
                <c:pt idx="22">
                  <c:v>1.59</c:v>
                </c:pt>
                <c:pt idx="23">
                  <c:v>1.61</c:v>
                </c:pt>
                <c:pt idx="24">
                  <c:v>1.62</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4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Flamingo</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15</c:v>
                </c:pt>
                <c:pt idx="2">
                  <c:v>160</c:v>
                </c:pt>
                <c:pt idx="3">
                  <c:v>271</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68</c:v>
                </c:pt>
                <c:pt idx="2">
                  <c:v>182</c:v>
                </c:pt>
                <c:pt idx="3">
                  <c:v>203</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73</c:v>
                </c:pt>
                <c:pt idx="2">
                  <c:v>46</c:v>
                </c:pt>
                <c:pt idx="3">
                  <c:v>45</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4</c:v>
                </c:pt>
                <c:pt idx="2">
                  <c:v>108</c:v>
                </c:pt>
                <c:pt idx="3">
                  <c:v>72</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Joy</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57</c:v>
                </c:pt>
                <c:pt idx="2">
                  <c:v>35</c:v>
                </c:pt>
                <c:pt idx="3">
                  <c:v>39</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325.2"/>
          <c:min val="28.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10</c:v>
                </c:pt>
                <c:pt idx="2">
                  <c:v>106</c:v>
                </c:pt>
                <c:pt idx="3">
                  <c:v>105</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Flamingo</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89</c:v>
                </c:pt>
                <c:pt idx="2">
                  <c:v>78</c:v>
                </c:pt>
                <c:pt idx="3">
                  <c:v>68</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8</c:v>
                </c:pt>
                <c:pt idx="2">
                  <c:v>113</c:v>
                </c:pt>
                <c:pt idx="3">
                  <c:v>107</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11</c:v>
                </c:pt>
                <c:pt idx="2">
                  <c:v>109</c:v>
                </c:pt>
                <c:pt idx="3">
                  <c:v>107</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7</c:v>
                </c:pt>
                <c:pt idx="2">
                  <c:v>90</c:v>
                </c:pt>
                <c:pt idx="3">
                  <c:v>87</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Joy</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0</c:v>
                </c:pt>
                <c:pt idx="2">
                  <c:v>102</c:v>
                </c:pt>
                <c:pt idx="3">
                  <c:v>97</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5.6"/>
          <c:min val="54.40000000000000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m P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82</c:v>
                </c:pt>
                <c:pt idx="2">
                  <c:v>357</c:v>
                </c:pt>
                <c:pt idx="3">
                  <c:v>32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428.4"/>
          <c:min val="8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97</c:v>
                </c:pt>
                <c:pt idx="2">
                  <c:v>82</c:v>
                </c:pt>
                <c:pt idx="3">
                  <c:v>63</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m P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9</c:v>
                </c:pt>
                <c:pt idx="2">
                  <c:v>92</c:v>
                </c:pt>
                <c:pt idx="3">
                  <c:v>83</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0.0"/>
          <c:min val="50.40000000000000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Gillette Venu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6</c:v>
                </c:pt>
                <c:pt idx="2">
                  <c:v>1271</c:v>
                </c:pt>
                <c:pt idx="3">
                  <c:v>2581</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Intuition</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9</c:v>
                </c:pt>
                <c:pt idx="2">
                  <c:v>79</c:v>
                </c:pt>
                <c:pt idx="3">
                  <c:v>49</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Noxzema Base</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30</c:v>
                </c:pt>
                <c:pt idx="2">
                  <c:v>97</c:v>
                </c:pt>
                <c:pt idx="3">
                  <c:v>6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3097.2"/>
          <c:min val="39.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7</c:v>
                </c:pt>
                <c:pt idx="2">
                  <c:v>114</c:v>
                </c:pt>
                <c:pt idx="3">
                  <c:v>144</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Gillette Venu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7</c:v>
                </c:pt>
                <c:pt idx="2">
                  <c:v>134</c:v>
                </c:pt>
                <c:pt idx="3">
                  <c:v>134</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Intuition</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7</c:v>
                </c:pt>
                <c:pt idx="2">
                  <c:v>133</c:v>
                </c:pt>
                <c:pt idx="3">
                  <c:v>111</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Noxzema Base</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8</c:v>
                </c:pt>
                <c:pt idx="2">
                  <c:v>123</c:v>
                </c:pt>
                <c:pt idx="3">
                  <c:v>102</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72.79999999999998"/>
          <c:min val="78.4"/>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Gillette Venu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3</c:f>
              <c:numCache>
                <c:formatCode>General</c:formatCode>
                <c:ptCount val="2"/>
                <c:pt idx="0">
                  <c:v>100</c:v>
                </c:pt>
                <c:pt idx="1">
                  <c:v>68</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Intuition</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20.0"/>
          <c:min val="54.40000000000000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4</c:v>
                </c:pt>
                <c:pt idx="2">
                  <c:v>111</c:v>
                </c:pt>
                <c:pt idx="3">
                  <c:v>111</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Gillette Venu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3</c:f>
              <c:numCache>
                <c:formatCode>General</c:formatCode>
                <c:ptCount val="2"/>
                <c:pt idx="0">
                  <c:v>100</c:v>
                </c:pt>
                <c:pt idx="1">
                  <c:v>112</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Intuition</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4</c:v>
                </c:pt>
                <c:pt idx="2">
                  <c:v>111</c:v>
                </c:pt>
                <c:pt idx="3">
                  <c:v>111</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4.4"/>
          <c:min val="8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16</c:v>
                </c:pt>
                <c:pt idx="2">
                  <c:v>111</c:v>
                </c:pt>
                <c:pt idx="3">
                  <c:v>108</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Flamingo</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66</c:v>
                </c:pt>
                <c:pt idx="2">
                  <c:v>189</c:v>
                </c:pt>
                <c:pt idx="3">
                  <c:v>178</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7</c:v>
                </c:pt>
                <c:pt idx="2">
                  <c:v>96</c:v>
                </c:pt>
                <c:pt idx="3">
                  <c:v>97</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Hydro Silk</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8</c:v>
                </c:pt>
                <c:pt idx="2">
                  <c:v>99</c:v>
                </c:pt>
                <c:pt idx="3">
                  <c:v>81</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Intuition</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89</c:v>
                </c:pt>
                <c:pt idx="2">
                  <c:v>66</c:v>
                </c:pt>
                <c:pt idx="3">
                  <c:v>80</c:v>
                </c:pt>
              </c:numCache>
            </c:numRef>
          </c:val>
          <c:smooth val="0"/>
          <c:extLst>
            <c:ext xmlns:c16="http://schemas.microsoft.com/office/drawing/2014/chart" uri="{C3380CC4-5D6E-409C-BE32-E72D297353CC}">
              <c16:uniqueId val="{00000007-0907-1A4C-A11F-73C2425749BA}"/>
            </c:ext>
          </c:extLst>
        </c:ser>
        <c:ser>
          <c:idx val="9"/>
          <c:order val="6"/>
          <c:tx>
            <c:strRef>
              <c:f>Sheet1!$H$1</c:f>
              <c:strCache>
                <c:ptCount val="1"/>
                <c:pt idx="0">
                  <c:v>Joy</c:v>
                </c:pt>
              </c:strCache>
            </c:strRef>
          </c:tx>
          <c:spPr>
            <a:ln w="19050" cap="rnd">
              <a:solidFill>
                <a:srgbClr val="FFFF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90</c:v>
                </c:pt>
                <c:pt idx="2">
                  <c:v>70</c:v>
                </c:pt>
                <c:pt idx="3">
                  <c:v>59</c:v>
                </c:pt>
              </c:numCache>
            </c:numRef>
          </c:val>
          <c:smooth val="0"/>
          <c:extLst>
            <c:ext xmlns:c16="http://schemas.microsoft.com/office/drawing/2014/chart" uri="{C3380CC4-5D6E-409C-BE32-E72D297353CC}">
              <c16:uniqueId val="{00000007-0907-1A4C-A11F-73C2425749BA}"/>
            </c:ext>
          </c:extLst>
        </c:ser>
        <c:ser>
          <c:idx val="10"/>
          <c:order val="7"/>
          <c:tx>
            <c:strRef>
              <c:f>Sheet1!$I$1</c:f>
              <c:strCache>
                <c:ptCount val="1"/>
                <c:pt idx="0">
                  <c:v>Pbg Pl</c:v>
                </c:pt>
              </c:strCache>
            </c:strRef>
          </c:tx>
          <c:spPr>
            <a:ln w="19050" cap="rnd">
              <a:solidFill>
                <a:srgbClr val="00206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I$2:$I$5</c:f>
              <c:numCache>
                <c:formatCode>General</c:formatCode>
                <c:ptCount val="4"/>
                <c:pt idx="0">
                  <c:v>100</c:v>
                </c:pt>
                <c:pt idx="1">
                  <c:v>93</c:v>
                </c:pt>
                <c:pt idx="2">
                  <c:v>94</c:v>
                </c:pt>
                <c:pt idx="3">
                  <c:v>94</c:v>
                </c:pt>
              </c:numCache>
            </c:numRef>
          </c:val>
          <c:smooth val="0"/>
          <c:extLst>
            <c:ext xmlns:c16="http://schemas.microsoft.com/office/drawing/2014/chart" uri="{C3380CC4-5D6E-409C-BE32-E72D297353CC}">
              <c16:uniqueId val="{00000007-0907-1A4C-A11F-73C2425749BA}"/>
            </c:ext>
          </c:extLst>
        </c:ser>
        <c:ser>
          <c:idx val="11"/>
          <c:order val="8"/>
          <c:tx>
            <c:strRef>
              <c:f>Sheet1!$J$1</c:f>
              <c:strCache>
                <c:ptCount val="1"/>
                <c:pt idx="0">
                  <c:v>Skintimate</c:v>
                </c:pt>
              </c:strCache>
            </c:strRef>
          </c:tx>
          <c:spPr>
            <a:ln w="19050" cap="rnd">
              <a:solidFill>
                <a:srgbClr val="6DA5C9"/>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J$2:$J$5</c:f>
              <c:numCache>
                <c:formatCode>General</c:formatCode>
                <c:ptCount val="4"/>
                <c:pt idx="0">
                  <c:v>100</c:v>
                </c:pt>
                <c:pt idx="1">
                  <c:v>48</c:v>
                </c:pt>
                <c:pt idx="2">
                  <c:v>28</c:v>
                </c:pt>
                <c:pt idx="3">
                  <c:v>16</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226.79999999999998"/>
          <c:min val="12.8"/>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7</c:v>
                </c:pt>
                <c:pt idx="2">
                  <c:v>112</c:v>
                </c:pt>
                <c:pt idx="3">
                  <c:v>112</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2</c:v>
                </c:pt>
                <c:pt idx="2">
                  <c:v>111</c:v>
                </c:pt>
                <c:pt idx="3">
                  <c:v>103</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Flamingo</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87</c:v>
                </c:pt>
                <c:pt idx="2">
                  <c:v>84</c:v>
                </c:pt>
                <c:pt idx="3">
                  <c:v>78</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1</c:v>
                </c:pt>
                <c:pt idx="2">
                  <c:v>100</c:v>
                </c:pt>
                <c:pt idx="3">
                  <c:v>10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Hydro Silk</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8</c:v>
                </c:pt>
                <c:pt idx="2">
                  <c:v>99</c:v>
                </c:pt>
                <c:pt idx="3">
                  <c:v>99</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Intuition</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6</c:v>
                </c:pt>
                <c:pt idx="2">
                  <c:v>120</c:v>
                </c:pt>
                <c:pt idx="3">
                  <c:v>115</c:v>
                </c:pt>
              </c:numCache>
            </c:numRef>
          </c:val>
          <c:smooth val="0"/>
          <c:extLst>
            <c:ext xmlns:c16="http://schemas.microsoft.com/office/drawing/2014/chart" uri="{C3380CC4-5D6E-409C-BE32-E72D297353CC}">
              <c16:uniqueId val="{00000003-F160-FB4E-B9E2-3D36233077E3}"/>
            </c:ext>
          </c:extLst>
        </c:ser>
        <c:ser>
          <c:idx val="9"/>
          <c:order val="6"/>
          <c:tx>
            <c:strRef>
              <c:f>Sheet1!$H$1</c:f>
              <c:strCache>
                <c:ptCount val="1"/>
                <c:pt idx="0">
                  <c:v>Joy</c:v>
                </c:pt>
              </c:strCache>
            </c:strRef>
          </c:tx>
          <c:spPr>
            <a:ln w="19050" cap="rnd">
              <a:solidFill>
                <a:srgbClr val="FFFF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103</c:v>
                </c:pt>
                <c:pt idx="2">
                  <c:v>107</c:v>
                </c:pt>
                <c:pt idx="3">
                  <c:v>105</c:v>
                </c:pt>
              </c:numCache>
            </c:numRef>
          </c:val>
          <c:smooth val="0"/>
          <c:extLst>
            <c:ext xmlns:c16="http://schemas.microsoft.com/office/drawing/2014/chart" uri="{C3380CC4-5D6E-409C-BE32-E72D297353CC}">
              <c16:uniqueId val="{00000003-F160-FB4E-B9E2-3D36233077E3}"/>
            </c:ext>
          </c:extLst>
        </c:ser>
        <c:ser>
          <c:idx val="10"/>
          <c:order val="7"/>
          <c:tx>
            <c:strRef>
              <c:f>Sheet1!$I$1</c:f>
              <c:strCache>
                <c:ptCount val="1"/>
                <c:pt idx="0">
                  <c:v>Pbg Pl</c:v>
                </c:pt>
              </c:strCache>
            </c:strRef>
          </c:tx>
          <c:spPr>
            <a:ln w="19050" cap="rnd">
              <a:solidFill>
                <a:srgbClr val="00206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I$2:$I$5</c:f>
              <c:numCache>
                <c:formatCode>General</c:formatCode>
                <c:ptCount val="4"/>
                <c:pt idx="0">
                  <c:v>100</c:v>
                </c:pt>
                <c:pt idx="1">
                  <c:v>104</c:v>
                </c:pt>
                <c:pt idx="2">
                  <c:v>117</c:v>
                </c:pt>
                <c:pt idx="3">
                  <c:v>124</c:v>
                </c:pt>
              </c:numCache>
            </c:numRef>
          </c:val>
          <c:smooth val="0"/>
          <c:extLst>
            <c:ext xmlns:c16="http://schemas.microsoft.com/office/drawing/2014/chart" uri="{C3380CC4-5D6E-409C-BE32-E72D297353CC}">
              <c16:uniqueId val="{00000003-F160-FB4E-B9E2-3D36233077E3}"/>
            </c:ext>
          </c:extLst>
        </c:ser>
        <c:ser>
          <c:idx val="11"/>
          <c:order val="8"/>
          <c:tx>
            <c:strRef>
              <c:f>Sheet1!$J$1</c:f>
              <c:strCache>
                <c:ptCount val="1"/>
                <c:pt idx="0">
                  <c:v>Skintimate</c:v>
                </c:pt>
              </c:strCache>
            </c:strRef>
          </c:tx>
          <c:spPr>
            <a:ln w="19050" cap="rnd">
              <a:solidFill>
                <a:srgbClr val="6DA5C9"/>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J$2:$J$5</c:f>
              <c:numCache>
                <c:formatCode>General</c:formatCode>
                <c:ptCount val="4"/>
                <c:pt idx="0">
                  <c:v>100</c:v>
                </c:pt>
                <c:pt idx="1">
                  <c:v>107</c:v>
                </c:pt>
                <c:pt idx="2">
                  <c:v>116</c:v>
                </c:pt>
                <c:pt idx="3">
                  <c:v>113</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8.79999999999998"/>
          <c:min val="62.40000000000000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7,490,29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5,662,16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7,485,28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7490293</c:v>
                </c:pt>
                <c:pt idx="1">
                  <c:v>5875177</c:v>
                </c:pt>
                <c:pt idx="2">
                  <c:v>5802592</c:v>
                </c:pt>
                <c:pt idx="3">
                  <c:v>6022013</c:v>
                </c:pt>
                <c:pt idx="4">
                  <c:v>7946031</c:v>
                </c:pt>
                <c:pt idx="5">
                  <c:v>5064231</c:v>
                </c:pt>
                <c:pt idx="6">
                  <c:v>5190124</c:v>
                </c:pt>
                <c:pt idx="7">
                  <c:v>6211410</c:v>
                </c:pt>
                <c:pt idx="8">
                  <c:v>6170282</c:v>
                </c:pt>
                <c:pt idx="9">
                  <c:v>6839469</c:v>
                </c:pt>
                <c:pt idx="10">
                  <c:v>7074398</c:v>
                </c:pt>
                <c:pt idx="11">
                  <c:v>7545541</c:v>
                </c:pt>
                <c:pt idx="12">
                  <c:v>7123669</c:v>
                </c:pt>
                <c:pt idx="13">
                  <c:v>5662161</c:v>
                </c:pt>
                <c:pt idx="14">
                  <c:v>5573323</c:v>
                </c:pt>
                <c:pt idx="15">
                  <c:v>6007837</c:v>
                </c:pt>
                <c:pt idx="16">
                  <c:v>10127244</c:v>
                </c:pt>
                <c:pt idx="17">
                  <c:v>5096816</c:v>
                </c:pt>
                <c:pt idx="18">
                  <c:v>5874344</c:v>
                </c:pt>
                <c:pt idx="19">
                  <c:v>6980871</c:v>
                </c:pt>
                <c:pt idx="20">
                  <c:v>6321823</c:v>
                </c:pt>
                <c:pt idx="21">
                  <c:v>6852052</c:v>
                </c:pt>
                <c:pt idx="22">
                  <c:v>7539147</c:v>
                </c:pt>
                <c:pt idx="23">
                  <c:v>7791373</c:v>
                </c:pt>
                <c:pt idx="24">
                  <c:v>7485286</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5.3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5.3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5.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5.31</c:v>
                </c:pt>
                <c:pt idx="1">
                  <c:v>5.35</c:v>
                </c:pt>
                <c:pt idx="2">
                  <c:v>5.01</c:v>
                </c:pt>
                <c:pt idx="3">
                  <c:v>4.39</c:v>
                </c:pt>
                <c:pt idx="4">
                  <c:v>3.67</c:v>
                </c:pt>
                <c:pt idx="5">
                  <c:v>5.01</c:v>
                </c:pt>
                <c:pt idx="6">
                  <c:v>5.38</c:v>
                </c:pt>
                <c:pt idx="7">
                  <c:v>5.4</c:v>
                </c:pt>
                <c:pt idx="8">
                  <c:v>5.38</c:v>
                </c:pt>
                <c:pt idx="9">
                  <c:v>5.44</c:v>
                </c:pt>
                <c:pt idx="10">
                  <c:v>5.4</c:v>
                </c:pt>
                <c:pt idx="11">
                  <c:v>5.28</c:v>
                </c:pt>
                <c:pt idx="12">
                  <c:v>5.31</c:v>
                </c:pt>
                <c:pt idx="13">
                  <c:v>5.32</c:v>
                </c:pt>
                <c:pt idx="14">
                  <c:v>5.16</c:v>
                </c:pt>
                <c:pt idx="15">
                  <c:v>4.94</c:v>
                </c:pt>
                <c:pt idx="16">
                  <c:v>4.19</c:v>
                </c:pt>
                <c:pt idx="17">
                  <c:v>5.05</c:v>
                </c:pt>
                <c:pt idx="18">
                  <c:v>5.09</c:v>
                </c:pt>
                <c:pt idx="19">
                  <c:v>5.04</c:v>
                </c:pt>
                <c:pt idx="20">
                  <c:v>5.02</c:v>
                </c:pt>
                <c:pt idx="21">
                  <c:v>5.07</c:v>
                </c:pt>
                <c:pt idx="22">
                  <c:v>5.19</c:v>
                </c:pt>
                <c:pt idx="23">
                  <c:v>5.15</c:v>
                </c:pt>
                <c:pt idx="24">
                  <c:v>5.07</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4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Gillette Venu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852</c:v>
                </c:pt>
                <c:pt idx="2">
                  <c:v>2083</c:v>
                </c:pt>
                <c:pt idx="3">
                  <c:v>1579</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Hydro Silk</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6</c:v>
                </c:pt>
                <c:pt idx="2">
                  <c:v>119</c:v>
                </c:pt>
                <c:pt idx="3">
                  <c:v>11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Intuition</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7</c:v>
                </c:pt>
                <c:pt idx="2">
                  <c:v>85</c:v>
                </c:pt>
                <c:pt idx="3">
                  <c:v>58</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Japonesque</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4</c:v>
                </c:pt>
                <c:pt idx="2">
                  <c:v>97</c:v>
                </c:pt>
                <c:pt idx="3">
                  <c:v>107</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Rem Pl</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79</c:v>
                </c:pt>
                <c:pt idx="2">
                  <c:v>62</c:v>
                </c:pt>
                <c:pt idx="3">
                  <c:v>64</c:v>
                </c:pt>
              </c:numCache>
            </c:numRef>
          </c:val>
          <c:smooth val="0"/>
          <c:extLst>
            <c:ext xmlns:c16="http://schemas.microsoft.com/office/drawing/2014/chart" uri="{C3380CC4-5D6E-409C-BE32-E72D297353CC}">
              <c16:uniqueId val="{00000007-0907-1A4C-A11F-73C2425749BA}"/>
            </c:ext>
          </c:extLst>
        </c:ser>
        <c:ser>
          <c:idx val="9"/>
          <c:order val="6"/>
          <c:tx>
            <c:strRef>
              <c:f>Sheet1!$H$1</c:f>
              <c:strCache>
                <c:ptCount val="1"/>
                <c:pt idx="0">
                  <c:v>Skintimate</c:v>
                </c:pt>
              </c:strCache>
            </c:strRef>
          </c:tx>
          <c:spPr>
            <a:ln w="19050" cap="rnd">
              <a:solidFill>
                <a:srgbClr val="E5F4F3"/>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198679</c:v>
                </c:pt>
                <c:pt idx="2">
                  <c:v>2240</c:v>
                </c:pt>
                <c:pt idx="3">
                  <c:v>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238414.8"/>
          <c:min val="5.6000000000000005"/>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10</c:v>
                </c:pt>
                <c:pt idx="2">
                  <c:v>119</c:v>
                </c:pt>
                <c:pt idx="3">
                  <c:v>120</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Gillette Venu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229</c:v>
                </c:pt>
                <c:pt idx="2">
                  <c:v>204</c:v>
                </c:pt>
                <c:pt idx="3">
                  <c:v>277</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Hydro Silk</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7</c:v>
                </c:pt>
                <c:pt idx="2">
                  <c:v>86</c:v>
                </c:pt>
                <c:pt idx="3">
                  <c:v>87</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Intuition</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13</c:v>
                </c:pt>
                <c:pt idx="2">
                  <c:v>100</c:v>
                </c:pt>
                <c:pt idx="3">
                  <c:v>10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Japonesque</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6</c:v>
                </c:pt>
                <c:pt idx="2">
                  <c:v>105</c:v>
                </c:pt>
                <c:pt idx="3">
                  <c:v>104</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Rem Pl</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5</c:v>
                </c:pt>
                <c:pt idx="2">
                  <c:v>102</c:v>
                </c:pt>
                <c:pt idx="3">
                  <c:v>104</c:v>
                </c:pt>
              </c:numCache>
            </c:numRef>
          </c:val>
          <c:smooth val="0"/>
          <c:extLst>
            <c:ext xmlns:c16="http://schemas.microsoft.com/office/drawing/2014/chart" uri="{C3380CC4-5D6E-409C-BE32-E72D297353CC}">
              <c16:uniqueId val="{00000003-F160-FB4E-B9E2-3D36233077E3}"/>
            </c:ext>
          </c:extLst>
        </c:ser>
        <c:ser>
          <c:idx val="9"/>
          <c:order val="6"/>
          <c:tx>
            <c:strRef>
              <c:f>Sheet1!$H$1</c:f>
              <c:strCache>
                <c:ptCount val="1"/>
                <c:pt idx="0">
                  <c:v>Skintimate</c:v>
                </c:pt>
              </c:strCache>
            </c:strRef>
          </c:tx>
          <c:spPr>
            <a:ln w="19050" cap="rnd">
              <a:solidFill>
                <a:srgbClr val="E5F4F3"/>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72</c:v>
                </c:pt>
                <c:pt idx="2">
                  <c:v>36</c:v>
                </c:pt>
                <c:pt idx="3">
                  <c:v>37</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332.4"/>
          <c:min val="28.8"/>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5</c:v>
                </c:pt>
                <c:pt idx="2">
                  <c:v>89</c:v>
                </c:pt>
                <c:pt idx="3">
                  <c:v>73</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4</c:v>
                </c:pt>
                <c:pt idx="2">
                  <c:v>108</c:v>
                </c:pt>
                <c:pt idx="3">
                  <c:v>126</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8</c:v>
                </c:pt>
                <c:pt idx="2">
                  <c:v>90</c:v>
                </c:pt>
                <c:pt idx="3">
                  <c:v>72</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9</c:v>
                </c:pt>
                <c:pt idx="2">
                  <c:v>127</c:v>
                </c:pt>
                <c:pt idx="3">
                  <c:v>114</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8</c:v>
                </c:pt>
                <c:pt idx="2">
                  <c:v>145</c:v>
                </c:pt>
                <c:pt idx="3">
                  <c:v>141</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74.0"/>
          <c:min val="57.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12</c:v>
                </c:pt>
                <c:pt idx="2">
                  <c:v>124</c:v>
                </c:pt>
                <c:pt idx="3">
                  <c:v>12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12</c:v>
                </c:pt>
                <c:pt idx="2">
                  <c:v>120</c:v>
                </c:pt>
                <c:pt idx="3">
                  <c:v>136</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3</c:v>
                </c:pt>
                <c:pt idx="2">
                  <c:v>109</c:v>
                </c:pt>
                <c:pt idx="3">
                  <c:v>106</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5</c:v>
                </c:pt>
                <c:pt idx="2">
                  <c:v>118</c:v>
                </c:pt>
                <c:pt idx="3">
                  <c:v>114</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14</c:v>
                </c:pt>
                <c:pt idx="2">
                  <c:v>122</c:v>
                </c:pt>
                <c:pt idx="3">
                  <c:v>117</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2</c:v>
                </c:pt>
                <c:pt idx="2">
                  <c:v>100</c:v>
                </c:pt>
                <c:pt idx="3">
                  <c:v>99</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63.2"/>
          <c:min val="79.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Intuition</c:v>
                </c:pt>
              </c:strCache>
            </c:strRef>
          </c:tx>
          <c:spPr>
            <a:ln w="19050" cap="rnd">
              <a:solidFill>
                <a:srgbClr val="FFBFB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20.0"/>
          <c:min val="8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3</c:v>
                </c:pt>
                <c:pt idx="2">
                  <c:v>93</c:v>
                </c:pt>
                <c:pt idx="3">
                  <c:v>97</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Intuition</c:v>
                </c:pt>
              </c:strCache>
            </c:strRef>
          </c:tx>
          <c:spPr>
            <a:ln w="19050" cap="rnd">
              <a:solidFill>
                <a:srgbClr val="FFBFB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3</c:v>
                </c:pt>
                <c:pt idx="2">
                  <c:v>93</c:v>
                </c:pt>
                <c:pt idx="3">
                  <c:v>97</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3.6"/>
          <c:min val="74.4"/>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30</c:v>
                </c:pt>
                <c:pt idx="2">
                  <c:v>118</c:v>
                </c:pt>
                <c:pt idx="3">
                  <c:v>101</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Flamingo</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774</c:v>
                </c:pt>
                <c:pt idx="2">
                  <c:v>2440</c:v>
                </c:pt>
                <c:pt idx="3">
                  <c:v>318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6</c:v>
                </c:pt>
                <c:pt idx="2">
                  <c:v>95</c:v>
                </c:pt>
                <c:pt idx="3">
                  <c:v>89</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Hydro Silk</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80</c:v>
                </c:pt>
                <c:pt idx="2">
                  <c:v>65</c:v>
                </c:pt>
                <c:pt idx="3">
                  <c:v>63</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Intuition</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83</c:v>
                </c:pt>
                <c:pt idx="2">
                  <c:v>54</c:v>
                </c:pt>
                <c:pt idx="3">
                  <c:v>58</c:v>
                </c:pt>
              </c:numCache>
            </c:numRef>
          </c:val>
          <c:smooth val="0"/>
          <c:extLst>
            <c:ext xmlns:c16="http://schemas.microsoft.com/office/drawing/2014/chart" uri="{C3380CC4-5D6E-409C-BE32-E72D297353CC}">
              <c16:uniqueId val="{00000007-0907-1A4C-A11F-73C2425749BA}"/>
            </c:ext>
          </c:extLst>
        </c:ser>
        <c:ser>
          <c:idx val="9"/>
          <c:order val="6"/>
          <c:tx>
            <c:strRef>
              <c:f>Sheet1!$H$1</c:f>
              <c:strCache>
                <c:ptCount val="1"/>
                <c:pt idx="0">
                  <c:v>Joy</c:v>
                </c:pt>
              </c:strCache>
            </c:strRef>
          </c:tx>
          <c:spPr>
            <a:ln w="19050" cap="rnd">
              <a:solidFill>
                <a:srgbClr val="FFFF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91</c:v>
                </c:pt>
                <c:pt idx="2">
                  <c:v>73</c:v>
                </c:pt>
                <c:pt idx="3">
                  <c:v>66</c:v>
                </c:pt>
              </c:numCache>
            </c:numRef>
          </c:val>
          <c:smooth val="0"/>
          <c:extLst>
            <c:ext xmlns:c16="http://schemas.microsoft.com/office/drawing/2014/chart" uri="{C3380CC4-5D6E-409C-BE32-E72D297353CC}">
              <c16:uniqueId val="{00000007-0907-1A4C-A11F-73C2425749BA}"/>
            </c:ext>
          </c:extLst>
        </c:ser>
        <c:ser>
          <c:idx val="10"/>
          <c:order val="7"/>
          <c:tx>
            <c:strRef>
              <c:f>Sheet1!$I$1</c:f>
              <c:strCache>
                <c:ptCount val="1"/>
                <c:pt idx="0">
                  <c:v>Skintimate</c:v>
                </c:pt>
              </c:strCache>
            </c:strRef>
          </c:tx>
          <c:spPr>
            <a:ln w="19050" cap="rnd">
              <a:solidFill>
                <a:srgbClr val="306181"/>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I$2:$I$5</c:f>
              <c:numCache>
                <c:formatCode>General</c:formatCode>
                <c:ptCount val="4"/>
                <c:pt idx="0">
                  <c:v>100</c:v>
                </c:pt>
                <c:pt idx="1">
                  <c:v>162</c:v>
                </c:pt>
                <c:pt idx="2">
                  <c:v>169</c:v>
                </c:pt>
                <c:pt idx="3">
                  <c:v>131</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3816.0"/>
          <c:min val="43.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4</c:v>
                </c:pt>
                <c:pt idx="3">
                  <c:v>101</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3</c:v>
                </c:pt>
                <c:pt idx="2">
                  <c:v>111</c:v>
                </c:pt>
                <c:pt idx="3">
                  <c:v>115</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Flamingo</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40</c:v>
                </c:pt>
                <c:pt idx="2">
                  <c:v>36</c:v>
                </c:pt>
                <c:pt idx="3">
                  <c:v>35</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7</c:v>
                </c:pt>
                <c:pt idx="2">
                  <c:v>110</c:v>
                </c:pt>
                <c:pt idx="3">
                  <c:v>109</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Hydro Silk</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18</c:v>
                </c:pt>
                <c:pt idx="2">
                  <c:v>118</c:v>
                </c:pt>
                <c:pt idx="3">
                  <c:v>112</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Intuition</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11</c:v>
                </c:pt>
                <c:pt idx="2">
                  <c:v>112</c:v>
                </c:pt>
                <c:pt idx="3">
                  <c:v>98</c:v>
                </c:pt>
              </c:numCache>
            </c:numRef>
          </c:val>
          <c:smooth val="0"/>
          <c:extLst>
            <c:ext xmlns:c16="http://schemas.microsoft.com/office/drawing/2014/chart" uri="{C3380CC4-5D6E-409C-BE32-E72D297353CC}">
              <c16:uniqueId val="{00000003-F160-FB4E-B9E2-3D36233077E3}"/>
            </c:ext>
          </c:extLst>
        </c:ser>
        <c:ser>
          <c:idx val="9"/>
          <c:order val="6"/>
          <c:tx>
            <c:strRef>
              <c:f>Sheet1!$H$1</c:f>
              <c:strCache>
                <c:ptCount val="1"/>
                <c:pt idx="0">
                  <c:v>Joy</c:v>
                </c:pt>
              </c:strCache>
            </c:strRef>
          </c:tx>
          <c:spPr>
            <a:ln w="19050" cap="rnd">
              <a:solidFill>
                <a:srgbClr val="FFFF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93</c:v>
                </c:pt>
                <c:pt idx="2">
                  <c:v>101</c:v>
                </c:pt>
                <c:pt idx="3">
                  <c:v>92</c:v>
                </c:pt>
              </c:numCache>
            </c:numRef>
          </c:val>
          <c:smooth val="0"/>
          <c:extLst>
            <c:ext xmlns:c16="http://schemas.microsoft.com/office/drawing/2014/chart" uri="{C3380CC4-5D6E-409C-BE32-E72D297353CC}">
              <c16:uniqueId val="{00000003-F160-FB4E-B9E2-3D36233077E3}"/>
            </c:ext>
          </c:extLst>
        </c:ser>
        <c:ser>
          <c:idx val="10"/>
          <c:order val="7"/>
          <c:tx>
            <c:strRef>
              <c:f>Sheet1!$I$1</c:f>
              <c:strCache>
                <c:ptCount val="1"/>
                <c:pt idx="0">
                  <c:v>Skintimate</c:v>
                </c:pt>
              </c:strCache>
            </c:strRef>
          </c:tx>
          <c:spPr>
            <a:ln w="19050" cap="rnd">
              <a:solidFill>
                <a:srgbClr val="306181"/>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I$2:$I$5</c:f>
              <c:numCache>
                <c:formatCode>General</c:formatCode>
                <c:ptCount val="4"/>
                <c:pt idx="0">
                  <c:v>100</c:v>
                </c:pt>
                <c:pt idx="1">
                  <c:v>86</c:v>
                </c:pt>
                <c:pt idx="2">
                  <c:v>74</c:v>
                </c:pt>
                <c:pt idx="3">
                  <c:v>86</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1.6"/>
          <c:min val="28.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Amazon</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53</c:v>
                </c:pt>
                <c:pt idx="2">
                  <c:v>193</c:v>
                </c:pt>
                <c:pt idx="3">
                  <c:v>20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80</c:v>
                </c:pt>
                <c:pt idx="2">
                  <c:v>31</c:v>
                </c:pt>
                <c:pt idx="3">
                  <c:v>13</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364</c:v>
                </c:pt>
                <c:pt idx="2">
                  <c:v>429</c:v>
                </c:pt>
                <c:pt idx="3">
                  <c:v>545</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83</c:v>
                </c:pt>
                <c:pt idx="2">
                  <c:v>79</c:v>
                </c:pt>
                <c:pt idx="3">
                  <c:v>7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Quattro</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86</c:v>
                </c:pt>
                <c:pt idx="2">
                  <c:v>62</c:v>
                </c:pt>
                <c:pt idx="3">
                  <c:v>44</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654.0"/>
          <c:min val="10.4"/>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98</c:v>
                </c:pt>
                <c:pt idx="2">
                  <c:v>94</c:v>
                </c:pt>
                <c:pt idx="3">
                  <c:v>92</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Amazon</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8</c:v>
                </c:pt>
                <c:pt idx="2">
                  <c:v>105</c:v>
                </c:pt>
                <c:pt idx="3">
                  <c:v>103</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21</c:v>
                </c:pt>
                <c:pt idx="2">
                  <c:v>148</c:v>
                </c:pt>
                <c:pt idx="3">
                  <c:v>137</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9</c:v>
                </c:pt>
                <c:pt idx="2">
                  <c:v>107</c:v>
                </c:pt>
                <c:pt idx="3">
                  <c:v>111</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2</c:v>
                </c:pt>
                <c:pt idx="2">
                  <c:v>93</c:v>
                </c:pt>
                <c:pt idx="3">
                  <c:v>9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Quattro</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14</c:v>
                </c:pt>
                <c:pt idx="2">
                  <c:v>126</c:v>
                </c:pt>
                <c:pt idx="3">
                  <c:v>103</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77.6"/>
          <c:min val="72.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9,368,07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7,914,36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9,123,59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9368076</c:v>
                </c:pt>
                <c:pt idx="1">
                  <c:v>7996697</c:v>
                </c:pt>
                <c:pt idx="2">
                  <c:v>7859866</c:v>
                </c:pt>
                <c:pt idx="3">
                  <c:v>7057229</c:v>
                </c:pt>
                <c:pt idx="4">
                  <c:v>8033603</c:v>
                </c:pt>
                <c:pt idx="5">
                  <c:v>7355068</c:v>
                </c:pt>
                <c:pt idx="6">
                  <c:v>7032624</c:v>
                </c:pt>
                <c:pt idx="7">
                  <c:v>7999038</c:v>
                </c:pt>
                <c:pt idx="8">
                  <c:v>7727302</c:v>
                </c:pt>
                <c:pt idx="9">
                  <c:v>8641783</c:v>
                </c:pt>
                <c:pt idx="10">
                  <c:v>9069323</c:v>
                </c:pt>
                <c:pt idx="11">
                  <c:v>9549303</c:v>
                </c:pt>
                <c:pt idx="12">
                  <c:v>9441156</c:v>
                </c:pt>
                <c:pt idx="13">
                  <c:v>7914369</c:v>
                </c:pt>
                <c:pt idx="14">
                  <c:v>7639840</c:v>
                </c:pt>
                <c:pt idx="15">
                  <c:v>7076612</c:v>
                </c:pt>
                <c:pt idx="16">
                  <c:v>8142865</c:v>
                </c:pt>
                <c:pt idx="17">
                  <c:v>7162256</c:v>
                </c:pt>
                <c:pt idx="18">
                  <c:v>7236041</c:v>
                </c:pt>
                <c:pt idx="19">
                  <c:v>8056635</c:v>
                </c:pt>
                <c:pt idx="20">
                  <c:v>7652704</c:v>
                </c:pt>
                <c:pt idx="21">
                  <c:v>8560525</c:v>
                </c:pt>
                <c:pt idx="22">
                  <c:v>9090783</c:v>
                </c:pt>
                <c:pt idx="23">
                  <c:v>9257774</c:v>
                </c:pt>
                <c:pt idx="24">
                  <c:v>9123592</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3.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3.0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12</c:v>
                </c:pt>
                <c:pt idx="1">
                  <c:v>3.12</c:v>
                </c:pt>
                <c:pt idx="2">
                  <c:v>3.13</c:v>
                </c:pt>
                <c:pt idx="3">
                  <c:v>3.14</c:v>
                </c:pt>
                <c:pt idx="4">
                  <c:v>3.14</c:v>
                </c:pt>
                <c:pt idx="5">
                  <c:v>3.02</c:v>
                </c:pt>
                <c:pt idx="6">
                  <c:v>3.03</c:v>
                </c:pt>
                <c:pt idx="7">
                  <c:v>3.06</c:v>
                </c:pt>
                <c:pt idx="8">
                  <c:v>3.09</c:v>
                </c:pt>
                <c:pt idx="9">
                  <c:v>3.11</c:v>
                </c:pt>
                <c:pt idx="10">
                  <c:v>3.09</c:v>
                </c:pt>
                <c:pt idx="11">
                  <c:v>3.07</c:v>
                </c:pt>
                <c:pt idx="12">
                  <c:v>3.05</c:v>
                </c:pt>
                <c:pt idx="13">
                  <c:v>3.06</c:v>
                </c:pt>
                <c:pt idx="14">
                  <c:v>3.05</c:v>
                </c:pt>
                <c:pt idx="15">
                  <c:v>3.04</c:v>
                </c:pt>
                <c:pt idx="16">
                  <c:v>3.03</c:v>
                </c:pt>
                <c:pt idx="17">
                  <c:v>2.95</c:v>
                </c:pt>
                <c:pt idx="18">
                  <c:v>3.0</c:v>
                </c:pt>
                <c:pt idx="19">
                  <c:v>3.01</c:v>
                </c:pt>
                <c:pt idx="20">
                  <c:v>3.02</c:v>
                </c:pt>
                <c:pt idx="21">
                  <c:v>3.01</c:v>
                </c:pt>
                <c:pt idx="22">
                  <c:v>3.01</c:v>
                </c:pt>
                <c:pt idx="23">
                  <c:v>3.01</c:v>
                </c:pt>
                <c:pt idx="24">
                  <c:v>3.01</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4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0</c:v>
                </c:pt>
                <c:pt idx="2">
                  <c:v>110</c:v>
                </c:pt>
                <c:pt idx="3">
                  <c:v>93</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4</c:v>
                </c:pt>
                <c:pt idx="2">
                  <c:v>89</c:v>
                </c:pt>
                <c:pt idx="3">
                  <c:v>98</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3</c:v>
                </c:pt>
                <c:pt idx="2">
                  <c:v>98</c:v>
                </c:pt>
                <c:pt idx="3">
                  <c:v>93</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43</c:v>
                </c:pt>
                <c:pt idx="2">
                  <c:v>197</c:v>
                </c:pt>
                <c:pt idx="3">
                  <c:v>196</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Quattro</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82</c:v>
                </c:pt>
                <c:pt idx="2">
                  <c:v>76</c:v>
                </c:pt>
                <c:pt idx="3">
                  <c:v>55</c:v>
                </c:pt>
              </c:numCache>
            </c:numRef>
          </c:val>
          <c:smooth val="0"/>
          <c:extLst>
            <c:ext xmlns:c16="http://schemas.microsoft.com/office/drawing/2014/chart" uri="{C3380CC4-5D6E-409C-BE32-E72D297353CC}">
              <c16:uniqueId val="{00000007-0907-1A4C-A11F-73C2425749BA}"/>
            </c:ext>
          </c:extLst>
        </c:ser>
        <c:ser>
          <c:idx val="9"/>
          <c:order val="6"/>
          <c:tx>
            <c:strRef>
              <c:f>Sheet1!$H$1</c:f>
              <c:strCache>
                <c:ptCount val="1"/>
                <c:pt idx="0">
                  <c:v>Skintimate</c:v>
                </c:pt>
              </c:strCache>
            </c:strRef>
          </c:tx>
          <c:spPr>
            <a:ln w="19050" cap="rnd">
              <a:solidFill>
                <a:srgbClr val="E5F4F3"/>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174</c:v>
                </c:pt>
                <c:pt idx="2">
                  <c:v>240</c:v>
                </c:pt>
                <c:pt idx="3">
                  <c:v>299</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358.8"/>
          <c:min val="44.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6</c:v>
                </c:pt>
                <c:pt idx="2">
                  <c:v>106</c:v>
                </c:pt>
                <c:pt idx="3">
                  <c:v>105</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1</c:v>
                </c:pt>
                <c:pt idx="2">
                  <c:v>100</c:v>
                </c:pt>
                <c:pt idx="3">
                  <c:v>114</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8</c:v>
                </c:pt>
                <c:pt idx="2">
                  <c:v>102</c:v>
                </c:pt>
                <c:pt idx="3">
                  <c:v>101</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3</c:v>
                </c:pt>
                <c:pt idx="2">
                  <c:v>105</c:v>
                </c:pt>
                <c:pt idx="3">
                  <c:v>10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5</c:v>
                </c:pt>
                <c:pt idx="2">
                  <c:v>89</c:v>
                </c:pt>
                <c:pt idx="3">
                  <c:v>95</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Quattro</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9</c:v>
                </c:pt>
                <c:pt idx="2">
                  <c:v>106</c:v>
                </c:pt>
                <c:pt idx="3">
                  <c:v>105</c:v>
                </c:pt>
              </c:numCache>
            </c:numRef>
          </c:val>
          <c:smooth val="0"/>
          <c:extLst>
            <c:ext xmlns:c16="http://schemas.microsoft.com/office/drawing/2014/chart" uri="{C3380CC4-5D6E-409C-BE32-E72D297353CC}">
              <c16:uniqueId val="{00000003-F160-FB4E-B9E2-3D36233077E3}"/>
            </c:ext>
          </c:extLst>
        </c:ser>
        <c:ser>
          <c:idx val="9"/>
          <c:order val="6"/>
          <c:tx>
            <c:strRef>
              <c:f>Sheet1!$H$1</c:f>
              <c:strCache>
                <c:ptCount val="1"/>
                <c:pt idx="0">
                  <c:v>Skintimate</c:v>
                </c:pt>
              </c:strCache>
            </c:strRef>
          </c:tx>
          <c:spPr>
            <a:ln w="19050" cap="rnd">
              <a:solidFill>
                <a:srgbClr val="E5F4F3"/>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105</c:v>
                </c:pt>
                <c:pt idx="2">
                  <c:v>114</c:v>
                </c:pt>
                <c:pt idx="3">
                  <c:v>111</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6.79999999999998"/>
          <c:min val="71.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Gillette Venu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3</c:f>
              <c:numCache>
                <c:formatCode>General</c:formatCode>
                <c:ptCount val="2"/>
                <c:pt idx="0">
                  <c:v>100</c:v>
                </c:pt>
                <c:pt idx="1">
                  <c:v>58</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Intuition</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20.0"/>
          <c:min val="46.40000000000000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5</c:v>
                </c:pt>
                <c:pt idx="2">
                  <c:v>115</c:v>
                </c:pt>
                <c:pt idx="3">
                  <c:v>116</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Gillette Venu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3</c:f>
              <c:numCache>
                <c:formatCode>General</c:formatCode>
                <c:ptCount val="2"/>
                <c:pt idx="0">
                  <c:v>100</c:v>
                </c:pt>
                <c:pt idx="1">
                  <c:v>114</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Intuition</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5</c:v>
                </c:pt>
                <c:pt idx="2">
                  <c:v>115</c:v>
                </c:pt>
                <c:pt idx="3">
                  <c:v>116</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9.2"/>
          <c:min val="8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Flamingo</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33</c:v>
                </c:pt>
                <c:pt idx="2">
                  <c:v>148</c:v>
                </c:pt>
                <c:pt idx="3">
                  <c:v>152</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4</c:v>
                </c:pt>
                <c:pt idx="2">
                  <c:v>105</c:v>
                </c:pt>
                <c:pt idx="3">
                  <c:v>109</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69</c:v>
                </c:pt>
                <c:pt idx="2">
                  <c:v>163</c:v>
                </c:pt>
                <c:pt idx="3">
                  <c:v>122</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6</c:v>
                </c:pt>
                <c:pt idx="2">
                  <c:v>87</c:v>
                </c:pt>
                <c:pt idx="3">
                  <c:v>84</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71</c:v>
                </c:pt>
                <c:pt idx="2">
                  <c:v>57</c:v>
                </c:pt>
                <c:pt idx="3">
                  <c:v>32</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202.79999999999998"/>
          <c:min val="25.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7</c:v>
                </c:pt>
                <c:pt idx="2">
                  <c:v>111</c:v>
                </c:pt>
                <c:pt idx="3">
                  <c:v>10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Flamingo</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0</c:v>
                </c:pt>
                <c:pt idx="2">
                  <c:v>86</c:v>
                </c:pt>
                <c:pt idx="3">
                  <c:v>78</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6</c:v>
                </c:pt>
                <c:pt idx="2">
                  <c:v>99</c:v>
                </c:pt>
                <c:pt idx="3">
                  <c:v>91</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89</c:v>
                </c:pt>
                <c:pt idx="2">
                  <c:v>90</c:v>
                </c:pt>
                <c:pt idx="3">
                  <c:v>98</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87</c:v>
                </c:pt>
                <c:pt idx="2">
                  <c:v>101</c:v>
                </c:pt>
                <c:pt idx="3">
                  <c:v>101</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17</c:v>
                </c:pt>
                <c:pt idx="2">
                  <c:v>113</c:v>
                </c:pt>
                <c:pt idx="3">
                  <c:v>11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0.4"/>
          <c:min val="62.40000000000000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Ardel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65</c:v>
                </c:pt>
                <c:pt idx="2">
                  <c:v>44</c:v>
                </c:pt>
                <c:pt idx="3">
                  <c:v>23</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Clio</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24</c:v>
                </c:pt>
                <c:pt idx="2">
                  <c:v>147</c:v>
                </c:pt>
                <c:pt idx="3">
                  <c:v>121</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16</c:v>
                </c:pt>
                <c:pt idx="2">
                  <c:v>107</c:v>
                </c:pt>
                <c:pt idx="3">
                  <c:v>92</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c:v>
                </c:pt>
                <c:pt idx="2">
                  <c:v>0</c:v>
                </c:pt>
                <c:pt idx="3">
                  <c:v>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Revlon</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81</c:v>
                </c:pt>
                <c:pt idx="2">
                  <c:v>122</c:v>
                </c:pt>
                <c:pt idx="3">
                  <c:v>62</c:v>
                </c:pt>
              </c:numCache>
            </c:numRef>
          </c:val>
          <c:smooth val="0"/>
          <c:extLst>
            <c:ext xmlns:c16="http://schemas.microsoft.com/office/drawing/2014/chart" uri="{C3380CC4-5D6E-409C-BE32-E72D297353CC}">
              <c16:uniqueId val="{00000007-0907-1A4C-A11F-73C2425749BA}"/>
            </c:ext>
          </c:extLst>
        </c:ser>
        <c:ser>
          <c:idx val="9"/>
          <c:order val="6"/>
          <c:tx>
            <c:strRef>
              <c:f>Sheet1!$H$1</c:f>
              <c:strCache>
                <c:ptCount val="1"/>
                <c:pt idx="0">
                  <c:v>Universal Razor</c:v>
                </c:pt>
              </c:strCache>
            </c:strRef>
          </c:tx>
          <c:spPr>
            <a:ln w="19050" cap="rnd">
              <a:solidFill>
                <a:srgbClr val="FFFF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72</c:v>
                </c:pt>
                <c:pt idx="2">
                  <c:v>59</c:v>
                </c:pt>
                <c:pt idx="3">
                  <c:v>54</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76.4"/>
          <c:min val="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20</c:v>
                </c:pt>
                <c:pt idx="2">
                  <c:v>127</c:v>
                </c:pt>
                <c:pt idx="3">
                  <c:v>126</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Ardel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Clio</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9</c:v>
                </c:pt>
                <c:pt idx="2">
                  <c:v>91</c:v>
                </c:pt>
                <c:pt idx="3">
                  <c:v>102</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4</c:v>
                </c:pt>
                <c:pt idx="2">
                  <c:v>115</c:v>
                </c:pt>
                <c:pt idx="3">
                  <c:v>116</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7</c:v>
                </c:pt>
                <c:pt idx="2">
                  <c:v>96</c:v>
                </c:pt>
                <c:pt idx="3">
                  <c:v>93</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Revlon</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3</c:v>
                </c:pt>
                <c:pt idx="2">
                  <c:v>96</c:v>
                </c:pt>
                <c:pt idx="3">
                  <c:v>87</c:v>
                </c:pt>
              </c:numCache>
            </c:numRef>
          </c:val>
          <c:smooth val="0"/>
          <c:extLst>
            <c:ext xmlns:c16="http://schemas.microsoft.com/office/drawing/2014/chart" uri="{C3380CC4-5D6E-409C-BE32-E72D297353CC}">
              <c16:uniqueId val="{00000003-F160-FB4E-B9E2-3D36233077E3}"/>
            </c:ext>
          </c:extLst>
        </c:ser>
        <c:ser>
          <c:idx val="9"/>
          <c:order val="6"/>
          <c:tx>
            <c:strRef>
              <c:f>Sheet1!$H$1</c:f>
              <c:strCache>
                <c:ptCount val="1"/>
                <c:pt idx="0">
                  <c:v>Universal Razor</c:v>
                </c:pt>
              </c:strCache>
            </c:strRef>
          </c:tx>
          <c:spPr>
            <a:ln w="19050" cap="rnd">
              <a:solidFill>
                <a:srgbClr val="FFFF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106</c:v>
                </c:pt>
                <c:pt idx="2">
                  <c:v>102</c:v>
                </c:pt>
                <c:pt idx="3">
                  <c:v>108</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2.4"/>
          <c:min val="69.6000000000000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Flamingo</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27</c:v>
                </c:pt>
                <c:pt idx="2">
                  <c:v>2</c:v>
                </c:pt>
                <c:pt idx="3">
                  <c:v>37</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2</c:v>
                </c:pt>
                <c:pt idx="2">
                  <c:v>111</c:v>
                </c:pt>
                <c:pt idx="3">
                  <c:v>122</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9</c:v>
                </c:pt>
                <c:pt idx="2">
                  <c:v>102</c:v>
                </c:pt>
                <c:pt idx="3">
                  <c:v>93</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21</c:v>
                </c:pt>
                <c:pt idx="2">
                  <c:v>128</c:v>
                </c:pt>
                <c:pt idx="3">
                  <c:v>103</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62</c:v>
                </c:pt>
                <c:pt idx="2">
                  <c:v>62</c:v>
                </c:pt>
                <c:pt idx="3">
                  <c:v>5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53.6"/>
          <c:min val="1.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14</c:v>
                </c:pt>
                <c:pt idx="2">
                  <c:v>112</c:v>
                </c:pt>
                <c:pt idx="3">
                  <c:v>105</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Flamingo</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2</c:v>
                </c:pt>
                <c:pt idx="2">
                  <c:v>106</c:v>
                </c:pt>
                <c:pt idx="3">
                  <c:v>258</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2</c:v>
                </c:pt>
                <c:pt idx="2">
                  <c:v>104</c:v>
                </c:pt>
                <c:pt idx="3">
                  <c:v>95</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1</c:v>
                </c:pt>
                <c:pt idx="2">
                  <c:v>99</c:v>
                </c:pt>
                <c:pt idx="3">
                  <c:v>88</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4</c:v>
                </c:pt>
                <c:pt idx="2">
                  <c:v>110</c:v>
                </c:pt>
                <c:pt idx="3">
                  <c:v>109</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10</c:v>
                </c:pt>
                <c:pt idx="2">
                  <c:v>115</c:v>
                </c:pt>
                <c:pt idx="3">
                  <c:v>118</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309.59999999999997"/>
          <c:min val="70.4"/>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6,273,13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6,451,06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8,971,07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6273136</c:v>
                </c:pt>
                <c:pt idx="1">
                  <c:v>5858978</c:v>
                </c:pt>
                <c:pt idx="2">
                  <c:v>6076797</c:v>
                </c:pt>
                <c:pt idx="3">
                  <c:v>5671158</c:v>
                </c:pt>
                <c:pt idx="4">
                  <c:v>6076375</c:v>
                </c:pt>
                <c:pt idx="5">
                  <c:v>6284296</c:v>
                </c:pt>
                <c:pt idx="6">
                  <c:v>6105338</c:v>
                </c:pt>
                <c:pt idx="7">
                  <c:v>6341406</c:v>
                </c:pt>
                <c:pt idx="8">
                  <c:v>6290806</c:v>
                </c:pt>
                <c:pt idx="9">
                  <c:v>6886812</c:v>
                </c:pt>
                <c:pt idx="10">
                  <c:v>7163638</c:v>
                </c:pt>
                <c:pt idx="11">
                  <c:v>8611632</c:v>
                </c:pt>
                <c:pt idx="12">
                  <c:v>7021984</c:v>
                </c:pt>
                <c:pt idx="13">
                  <c:v>6451062</c:v>
                </c:pt>
                <c:pt idx="14">
                  <c:v>6666228</c:v>
                </c:pt>
                <c:pt idx="15">
                  <c:v>6415720</c:v>
                </c:pt>
                <c:pt idx="16">
                  <c:v>6244320</c:v>
                </c:pt>
                <c:pt idx="17">
                  <c:v>6364009</c:v>
                </c:pt>
                <c:pt idx="18">
                  <c:v>6340183</c:v>
                </c:pt>
                <c:pt idx="19">
                  <c:v>7434128</c:v>
                </c:pt>
                <c:pt idx="20">
                  <c:v>7632142</c:v>
                </c:pt>
                <c:pt idx="21">
                  <c:v>8217664</c:v>
                </c:pt>
                <c:pt idx="22">
                  <c:v>8589457</c:v>
                </c:pt>
                <c:pt idx="23">
                  <c:v>10569101</c:v>
                </c:pt>
                <c:pt idx="24">
                  <c:v>8971076</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2.2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2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2.2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2.25</c:v>
                </c:pt>
                <c:pt idx="1">
                  <c:v>2.21</c:v>
                </c:pt>
                <c:pt idx="2">
                  <c:v>2.11</c:v>
                </c:pt>
                <c:pt idx="3">
                  <c:v>2.08</c:v>
                </c:pt>
                <c:pt idx="4">
                  <c:v>2.29</c:v>
                </c:pt>
                <c:pt idx="5">
                  <c:v>2.37</c:v>
                </c:pt>
                <c:pt idx="6">
                  <c:v>2.08</c:v>
                </c:pt>
                <c:pt idx="7">
                  <c:v>2.31</c:v>
                </c:pt>
                <c:pt idx="8">
                  <c:v>2.32</c:v>
                </c:pt>
                <c:pt idx="9">
                  <c:v>2.18</c:v>
                </c:pt>
                <c:pt idx="10">
                  <c:v>2.29</c:v>
                </c:pt>
                <c:pt idx="11">
                  <c:v>2.1</c:v>
                </c:pt>
                <c:pt idx="12">
                  <c:v>2.26</c:v>
                </c:pt>
                <c:pt idx="13">
                  <c:v>2.26</c:v>
                </c:pt>
                <c:pt idx="14">
                  <c:v>2.2</c:v>
                </c:pt>
                <c:pt idx="15">
                  <c:v>2.14</c:v>
                </c:pt>
                <c:pt idx="16">
                  <c:v>2.19</c:v>
                </c:pt>
                <c:pt idx="17">
                  <c:v>2.11</c:v>
                </c:pt>
                <c:pt idx="18">
                  <c:v>2.15</c:v>
                </c:pt>
                <c:pt idx="19">
                  <c:v>2.12</c:v>
                </c:pt>
                <c:pt idx="20">
                  <c:v>2.23</c:v>
                </c:pt>
                <c:pt idx="21">
                  <c:v>2.23</c:v>
                </c:pt>
                <c:pt idx="22">
                  <c:v>2.21</c:v>
                </c:pt>
                <c:pt idx="23">
                  <c:v>2.1</c:v>
                </c:pt>
                <c:pt idx="24">
                  <c:v>2.21</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5,14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0,88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61,5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5144</c:v>
                </c:pt>
                <c:pt idx="1">
                  <c:v>5544</c:v>
                </c:pt>
                <c:pt idx="2">
                  <c:v>5970</c:v>
                </c:pt>
                <c:pt idx="3">
                  <c:v>7148</c:v>
                </c:pt>
                <c:pt idx="4">
                  <c:v>4689</c:v>
                </c:pt>
                <c:pt idx="5">
                  <c:v>6819</c:v>
                </c:pt>
                <c:pt idx="6">
                  <c:v>9954</c:v>
                </c:pt>
                <c:pt idx="7">
                  <c:v>17341</c:v>
                </c:pt>
                <c:pt idx="8">
                  <c:v>24962</c:v>
                </c:pt>
                <c:pt idx="9">
                  <c:v>37270</c:v>
                </c:pt>
                <c:pt idx="10">
                  <c:v>18728</c:v>
                </c:pt>
                <c:pt idx="11">
                  <c:v>26982</c:v>
                </c:pt>
                <c:pt idx="12">
                  <c:v>12981</c:v>
                </c:pt>
                <c:pt idx="13">
                  <c:v>10888</c:v>
                </c:pt>
                <c:pt idx="14">
                  <c:v>11529</c:v>
                </c:pt>
                <c:pt idx="15">
                  <c:v>12459</c:v>
                </c:pt>
                <c:pt idx="16">
                  <c:v>13156</c:v>
                </c:pt>
                <c:pt idx="17">
                  <c:v>29597</c:v>
                </c:pt>
                <c:pt idx="18">
                  <c:v>15587</c:v>
                </c:pt>
                <c:pt idx="19">
                  <c:v>16043</c:v>
                </c:pt>
                <c:pt idx="20">
                  <c:v>17067</c:v>
                </c:pt>
                <c:pt idx="21">
                  <c:v>19990</c:v>
                </c:pt>
                <c:pt idx="22">
                  <c:v>25081</c:v>
                </c:pt>
                <c:pt idx="23">
                  <c:v>24609</c:v>
                </c:pt>
                <c:pt idx="24">
                  <c:v>615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2.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9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2.06</c:v>
                </c:pt>
                <c:pt idx="1">
                  <c:v>2.07</c:v>
                </c:pt>
                <c:pt idx="2">
                  <c:v>2.07</c:v>
                </c:pt>
                <c:pt idx="3">
                  <c:v>1.84</c:v>
                </c:pt>
                <c:pt idx="4">
                  <c:v>1.94</c:v>
                </c:pt>
                <c:pt idx="5">
                  <c:v>2.06</c:v>
                </c:pt>
                <c:pt idx="6">
                  <c:v>1.32</c:v>
                </c:pt>
                <c:pt idx="7">
                  <c:v>1.25</c:v>
                </c:pt>
                <c:pt idx="8">
                  <c:v>1.22</c:v>
                </c:pt>
                <c:pt idx="9">
                  <c:v>1.22</c:v>
                </c:pt>
                <c:pt idx="10">
                  <c:v>1.49</c:v>
                </c:pt>
                <c:pt idx="11">
                  <c:v>1.44</c:v>
                </c:pt>
                <c:pt idx="12">
                  <c:v>1.94</c:v>
                </c:pt>
                <c:pt idx="13">
                  <c:v>1.92</c:v>
                </c:pt>
                <c:pt idx="14">
                  <c:v>2.1</c:v>
                </c:pt>
                <c:pt idx="15">
                  <c:v>2.1</c:v>
                </c:pt>
                <c:pt idx="16">
                  <c:v>2.03</c:v>
                </c:pt>
                <c:pt idx="17">
                  <c:v>1.92</c:v>
                </c:pt>
                <c:pt idx="18">
                  <c:v>2.15</c:v>
                </c:pt>
                <c:pt idx="19">
                  <c:v>2.27</c:v>
                </c:pt>
                <c:pt idx="20">
                  <c:v>2.17</c:v>
                </c:pt>
                <c:pt idx="21">
                  <c:v>2.12</c:v>
                </c:pt>
                <c:pt idx="22">
                  <c:v>2.09</c:v>
                </c:pt>
                <c:pt idx="23">
                  <c:v>2.2</c:v>
                </c:pt>
                <c:pt idx="24">
                  <c:v>1.94</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5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Intuition</c:v>
                </c:pt>
              </c:strCache>
            </c:strRef>
          </c:tx>
          <c:spPr>
            <a:ln w="19050" cap="rnd">
              <a:solidFill>
                <a:srgbClr val="FFBFB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20.0"/>
          <c:min val="8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8</c:v>
                </c:pt>
                <c:pt idx="2">
                  <c:v>116</c:v>
                </c:pt>
                <c:pt idx="3">
                  <c:v>115</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Intuition</c:v>
                </c:pt>
              </c:strCache>
            </c:strRef>
          </c:tx>
          <c:spPr>
            <a:ln w="19050" cap="rnd">
              <a:solidFill>
                <a:srgbClr val="FFBFB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8</c:v>
                </c:pt>
                <c:pt idx="2">
                  <c:v>116</c:v>
                </c:pt>
                <c:pt idx="3">
                  <c:v>115</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9.2"/>
          <c:min val="8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ilky Touch</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5</c:v>
                </c:pt>
                <c:pt idx="2">
                  <c:v>96</c:v>
                </c:pt>
                <c:pt idx="3">
                  <c:v>10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Bic Solei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26</c:v>
                </c:pt>
                <c:pt idx="2">
                  <c:v>131</c:v>
                </c:pt>
                <c:pt idx="3">
                  <c:v>102</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1</c:v>
                </c:pt>
                <c:pt idx="2">
                  <c:v>94</c:v>
                </c:pt>
                <c:pt idx="3">
                  <c:v>98</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Hydro Silk</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73</c:v>
                </c:pt>
                <c:pt idx="2">
                  <c:v>67</c:v>
                </c:pt>
                <c:pt idx="3">
                  <c:v>63</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Intuition</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30</c:v>
                </c:pt>
                <c:pt idx="2">
                  <c:v>95</c:v>
                </c:pt>
                <c:pt idx="3">
                  <c:v>103</c:v>
                </c:pt>
              </c:numCache>
            </c:numRef>
          </c:val>
          <c:smooth val="0"/>
          <c:extLst>
            <c:ext xmlns:c16="http://schemas.microsoft.com/office/drawing/2014/chart" uri="{C3380CC4-5D6E-409C-BE32-E72D297353CC}">
              <c16:uniqueId val="{00000007-0907-1A4C-A11F-73C2425749BA}"/>
            </c:ext>
          </c:extLst>
        </c:ser>
        <c:ser>
          <c:idx val="9"/>
          <c:order val="6"/>
          <c:tx>
            <c:strRef>
              <c:f>Sheet1!$H$1</c:f>
              <c:strCache>
                <c:ptCount val="1"/>
                <c:pt idx="0">
                  <c:v>Joy</c:v>
                </c:pt>
              </c:strCache>
            </c:strRef>
          </c:tx>
          <c:spPr>
            <a:ln w="19050" cap="rnd">
              <a:solidFill>
                <a:srgbClr val="FFFF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87</c:v>
                </c:pt>
                <c:pt idx="2">
                  <c:v>75</c:v>
                </c:pt>
                <c:pt idx="3">
                  <c:v>70</c:v>
                </c:pt>
              </c:numCache>
            </c:numRef>
          </c:val>
          <c:smooth val="0"/>
          <c:extLst>
            <c:ext xmlns:c16="http://schemas.microsoft.com/office/drawing/2014/chart" uri="{C3380CC4-5D6E-409C-BE32-E72D297353CC}">
              <c16:uniqueId val="{00000007-0907-1A4C-A11F-73C2425749BA}"/>
            </c:ext>
          </c:extLst>
        </c:ser>
        <c:ser>
          <c:idx val="10"/>
          <c:order val="7"/>
          <c:tx>
            <c:strRef>
              <c:f>Sheet1!$I$1</c:f>
              <c:strCache>
                <c:ptCount val="1"/>
                <c:pt idx="0">
                  <c:v>Pbg Pl</c:v>
                </c:pt>
              </c:strCache>
            </c:strRef>
          </c:tx>
          <c:spPr>
            <a:ln w="19050" cap="rnd">
              <a:solidFill>
                <a:srgbClr val="00206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I$2:$I$5</c:f>
              <c:numCache>
                <c:formatCode>General</c:formatCode>
                <c:ptCount val="4"/>
                <c:pt idx="0">
                  <c:v>100</c:v>
                </c:pt>
                <c:pt idx="1">
                  <c:v>90</c:v>
                </c:pt>
                <c:pt idx="2">
                  <c:v>93</c:v>
                </c:pt>
                <c:pt idx="3">
                  <c:v>99</c:v>
                </c:pt>
              </c:numCache>
            </c:numRef>
          </c:val>
          <c:smooth val="0"/>
          <c:extLst>
            <c:ext xmlns:c16="http://schemas.microsoft.com/office/drawing/2014/chart" uri="{C3380CC4-5D6E-409C-BE32-E72D297353CC}">
              <c16:uniqueId val="{00000007-0907-1A4C-A11F-73C2425749BA}"/>
            </c:ext>
          </c:extLst>
        </c:ser>
        <c:ser>
          <c:idx val="11"/>
          <c:order val="8"/>
          <c:tx>
            <c:strRef>
              <c:f>Sheet1!$J$1</c:f>
              <c:strCache>
                <c:ptCount val="1"/>
                <c:pt idx="0">
                  <c:v>Skintimate</c:v>
                </c:pt>
              </c:strCache>
            </c:strRef>
          </c:tx>
          <c:spPr>
            <a:ln w="19050" cap="rnd">
              <a:solidFill>
                <a:srgbClr val="6DA5C9"/>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J$2:$J$5</c:f>
              <c:numCache>
                <c:formatCode>General</c:formatCode>
                <c:ptCount val="4"/>
                <c:pt idx="0">
                  <c:v>100</c:v>
                </c:pt>
                <c:pt idx="1">
                  <c:v>25</c:v>
                </c:pt>
                <c:pt idx="2">
                  <c:v>9</c:v>
                </c:pt>
                <c:pt idx="3">
                  <c:v>1</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57.2"/>
          <c:min val="0.8"/>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8</c:v>
                </c:pt>
                <c:pt idx="2">
                  <c:v>110</c:v>
                </c:pt>
                <c:pt idx="3">
                  <c:v>111</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ilky Touch</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1</c:v>
                </c:pt>
                <c:pt idx="2">
                  <c:v>98</c:v>
                </c:pt>
                <c:pt idx="3">
                  <c:v>96</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Bic Solei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4</c:v>
                </c:pt>
                <c:pt idx="2">
                  <c:v>119</c:v>
                </c:pt>
                <c:pt idx="3">
                  <c:v>126</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3</c:v>
                </c:pt>
                <c:pt idx="2">
                  <c:v>88</c:v>
                </c:pt>
                <c:pt idx="3">
                  <c:v>91</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Hydro Silk</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5</c:v>
                </c:pt>
                <c:pt idx="2">
                  <c:v>94</c:v>
                </c:pt>
                <c:pt idx="3">
                  <c:v>91</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Intuition</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84</c:v>
                </c:pt>
                <c:pt idx="2">
                  <c:v>96</c:v>
                </c:pt>
                <c:pt idx="3">
                  <c:v>100</c:v>
                </c:pt>
              </c:numCache>
            </c:numRef>
          </c:val>
          <c:smooth val="0"/>
          <c:extLst>
            <c:ext xmlns:c16="http://schemas.microsoft.com/office/drawing/2014/chart" uri="{C3380CC4-5D6E-409C-BE32-E72D297353CC}">
              <c16:uniqueId val="{00000003-F160-FB4E-B9E2-3D36233077E3}"/>
            </c:ext>
          </c:extLst>
        </c:ser>
        <c:ser>
          <c:idx val="9"/>
          <c:order val="6"/>
          <c:tx>
            <c:strRef>
              <c:f>Sheet1!$H$1</c:f>
              <c:strCache>
                <c:ptCount val="1"/>
                <c:pt idx="0">
                  <c:v>Joy</c:v>
                </c:pt>
              </c:strCache>
            </c:strRef>
          </c:tx>
          <c:spPr>
            <a:ln w="19050" cap="rnd">
              <a:solidFill>
                <a:srgbClr val="FFFF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105</c:v>
                </c:pt>
                <c:pt idx="2">
                  <c:v>114</c:v>
                </c:pt>
                <c:pt idx="3">
                  <c:v>114</c:v>
                </c:pt>
              </c:numCache>
            </c:numRef>
          </c:val>
          <c:smooth val="0"/>
          <c:extLst>
            <c:ext xmlns:c16="http://schemas.microsoft.com/office/drawing/2014/chart" uri="{C3380CC4-5D6E-409C-BE32-E72D297353CC}">
              <c16:uniqueId val="{00000003-F160-FB4E-B9E2-3D36233077E3}"/>
            </c:ext>
          </c:extLst>
        </c:ser>
        <c:ser>
          <c:idx val="10"/>
          <c:order val="7"/>
          <c:tx>
            <c:strRef>
              <c:f>Sheet1!$I$1</c:f>
              <c:strCache>
                <c:ptCount val="1"/>
                <c:pt idx="0">
                  <c:v>Pbg Pl</c:v>
                </c:pt>
              </c:strCache>
            </c:strRef>
          </c:tx>
          <c:spPr>
            <a:ln w="19050" cap="rnd">
              <a:solidFill>
                <a:srgbClr val="00206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I$2:$I$5</c:f>
              <c:numCache>
                <c:formatCode>General</c:formatCode>
                <c:ptCount val="4"/>
                <c:pt idx="0">
                  <c:v>100</c:v>
                </c:pt>
                <c:pt idx="1">
                  <c:v>105</c:v>
                </c:pt>
                <c:pt idx="2">
                  <c:v>119</c:v>
                </c:pt>
                <c:pt idx="3">
                  <c:v>129</c:v>
                </c:pt>
              </c:numCache>
            </c:numRef>
          </c:val>
          <c:smooth val="0"/>
          <c:extLst>
            <c:ext xmlns:c16="http://schemas.microsoft.com/office/drawing/2014/chart" uri="{C3380CC4-5D6E-409C-BE32-E72D297353CC}">
              <c16:uniqueId val="{00000003-F160-FB4E-B9E2-3D36233077E3}"/>
            </c:ext>
          </c:extLst>
        </c:ser>
        <c:ser>
          <c:idx val="11"/>
          <c:order val="8"/>
          <c:tx>
            <c:strRef>
              <c:f>Sheet1!$J$1</c:f>
              <c:strCache>
                <c:ptCount val="1"/>
                <c:pt idx="0">
                  <c:v>Skintimate</c:v>
                </c:pt>
              </c:strCache>
            </c:strRef>
          </c:tx>
          <c:spPr>
            <a:ln w="19050" cap="rnd">
              <a:solidFill>
                <a:srgbClr val="6DA5C9"/>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J$2:$J$5</c:f>
              <c:numCache>
                <c:formatCode>General</c:formatCode>
                <c:ptCount val="4"/>
                <c:pt idx="0">
                  <c:v>100</c:v>
                </c:pt>
                <c:pt idx="1">
                  <c:v>96</c:v>
                </c:pt>
                <c:pt idx="2">
                  <c:v>99</c:v>
                </c:pt>
                <c:pt idx="3">
                  <c:v>67</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4.79999999999998"/>
          <c:min val="53.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Evribeauty</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38</c:v>
                </c:pt>
                <c:pt idx="2">
                  <c:v>30</c:v>
                </c:pt>
                <c:pt idx="3">
                  <c:v>38</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Hydro Silk</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37</c:v>
                </c:pt>
                <c:pt idx="2">
                  <c:v>172</c:v>
                </c:pt>
                <c:pt idx="3">
                  <c:v>164</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Intuition</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34164833</c:v>
                </c:pt>
                <c:pt idx="2">
                  <c:v>27334173</c:v>
                </c:pt>
                <c:pt idx="3">
                  <c:v>154742</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Rem Pl</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60</c:v>
                </c:pt>
                <c:pt idx="2">
                  <c:v>52</c:v>
                </c:pt>
                <c:pt idx="3">
                  <c:v>66</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Revlon</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84</c:v>
                </c:pt>
                <c:pt idx="2">
                  <c:v>72</c:v>
                </c:pt>
                <c:pt idx="3">
                  <c:v>109</c:v>
                </c:pt>
              </c:numCache>
            </c:numRef>
          </c:val>
          <c:smooth val="0"/>
          <c:extLst>
            <c:ext xmlns:c16="http://schemas.microsoft.com/office/drawing/2014/chart" uri="{C3380CC4-5D6E-409C-BE32-E72D297353CC}">
              <c16:uniqueId val="{00000007-0907-1A4C-A11F-73C2425749BA}"/>
            </c:ext>
          </c:extLst>
        </c:ser>
        <c:ser>
          <c:idx val="9"/>
          <c:order val="6"/>
          <c:tx>
            <c:strRef>
              <c:f>Sheet1!$H$1</c:f>
              <c:strCache>
                <c:ptCount val="1"/>
                <c:pt idx="0">
                  <c:v>Universal Razor</c:v>
                </c:pt>
              </c:strCache>
            </c:strRef>
          </c:tx>
          <c:spPr>
            <a:ln w="19050" cap="rnd">
              <a:solidFill>
                <a:srgbClr val="FFFF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139</c:v>
                </c:pt>
                <c:pt idx="2">
                  <c:v>135</c:v>
                </c:pt>
                <c:pt idx="3">
                  <c:v>15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40997799.6"/>
          <c:min val="24.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19</c:v>
                </c:pt>
                <c:pt idx="2">
                  <c:v>132</c:v>
                </c:pt>
                <c:pt idx="3">
                  <c:v>123</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Evribeauty</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4</c:v>
                </c:pt>
                <c:pt idx="2">
                  <c:v>107</c:v>
                </c:pt>
                <c:pt idx="3">
                  <c:v>106</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Hydro Silk</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28</c:v>
                </c:pt>
                <c:pt idx="2">
                  <c:v>22</c:v>
                </c:pt>
                <c:pt idx="3">
                  <c:v>22</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Intuition</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71</c:v>
                </c:pt>
                <c:pt idx="2">
                  <c:v>891</c:v>
                </c:pt>
                <c:pt idx="3">
                  <c:v>30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Rem Pl</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2</c:v>
                </c:pt>
                <c:pt idx="2">
                  <c:v>106</c:v>
                </c:pt>
                <c:pt idx="3">
                  <c:v>11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Revlon</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6</c:v>
                </c:pt>
                <c:pt idx="2">
                  <c:v>114</c:v>
                </c:pt>
                <c:pt idx="3">
                  <c:v>120</c:v>
                </c:pt>
              </c:numCache>
            </c:numRef>
          </c:val>
          <c:smooth val="0"/>
          <c:extLst>
            <c:ext xmlns:c16="http://schemas.microsoft.com/office/drawing/2014/chart" uri="{C3380CC4-5D6E-409C-BE32-E72D297353CC}">
              <c16:uniqueId val="{00000003-F160-FB4E-B9E2-3D36233077E3}"/>
            </c:ext>
          </c:extLst>
        </c:ser>
        <c:ser>
          <c:idx val="9"/>
          <c:order val="6"/>
          <c:tx>
            <c:strRef>
              <c:f>Sheet1!$H$1</c:f>
              <c:strCache>
                <c:ptCount val="1"/>
                <c:pt idx="0">
                  <c:v>Universal Razor</c:v>
                </c:pt>
              </c:strCache>
            </c:strRef>
          </c:tx>
          <c:spPr>
            <a:ln w="19050" cap="rnd">
              <a:solidFill>
                <a:srgbClr val="FFFF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102</c:v>
                </c:pt>
                <c:pt idx="2">
                  <c:v>104</c:v>
                </c:pt>
                <c:pt idx="3">
                  <c:v>102</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165.2"/>
          <c:min val="17.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0</c:v>
                </c:pt>
                <c:pt idx="2">
                  <c:v>91</c:v>
                </c:pt>
                <c:pt idx="3">
                  <c:v>85</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22</c:v>
                </c:pt>
                <c:pt idx="2">
                  <c:v>118</c:v>
                </c:pt>
                <c:pt idx="3">
                  <c:v>145</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0</c:v>
                </c:pt>
                <c:pt idx="2">
                  <c:v>87</c:v>
                </c:pt>
                <c:pt idx="3">
                  <c:v>6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1</c:v>
                </c:pt>
                <c:pt idx="2">
                  <c:v>101</c:v>
                </c:pt>
                <c:pt idx="3">
                  <c:v>102</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1</c:v>
                </c:pt>
                <c:pt idx="2">
                  <c:v>207</c:v>
                </c:pt>
                <c:pt idx="3">
                  <c:v>159</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248.39999999999998"/>
          <c:min val="48.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20</c:v>
                </c:pt>
                <c:pt idx="2">
                  <c:v>133</c:v>
                </c:pt>
                <c:pt idx="3">
                  <c:v>133</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11</c:v>
                </c:pt>
                <c:pt idx="2">
                  <c:v>118</c:v>
                </c:pt>
                <c:pt idx="3">
                  <c:v>114</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1</c:v>
                </c:pt>
                <c:pt idx="2">
                  <c:v>116</c:v>
                </c:pt>
                <c:pt idx="3">
                  <c:v>119</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3</c:v>
                </c:pt>
                <c:pt idx="2">
                  <c:v>121</c:v>
                </c:pt>
                <c:pt idx="3">
                  <c:v>122</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23</c:v>
                </c:pt>
                <c:pt idx="2">
                  <c:v>132</c:v>
                </c:pt>
                <c:pt idx="3">
                  <c:v>126</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4</c:v>
                </c:pt>
                <c:pt idx="2">
                  <c:v>99</c:v>
                </c:pt>
                <c:pt idx="3">
                  <c:v>101</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9.6"/>
          <c:min val="79.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Intuition</c:v>
                </c:pt>
              </c:strCache>
            </c:strRef>
          </c:tx>
          <c:spPr>
            <a:ln w="19050" cap="rnd">
              <a:solidFill>
                <a:srgbClr val="FFBFB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20.0"/>
          <c:min val="8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5</c:v>
                </c:pt>
                <c:pt idx="2">
                  <c:v>118</c:v>
                </c:pt>
                <c:pt idx="3">
                  <c:v>108</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Intuition</c:v>
                </c:pt>
              </c:strCache>
            </c:strRef>
          </c:tx>
          <c:spPr>
            <a:ln w="19050" cap="rnd">
              <a:solidFill>
                <a:srgbClr val="FFBFB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5</c:v>
                </c:pt>
                <c:pt idx="2">
                  <c:v>118</c:v>
                </c:pt>
                <c:pt idx="3">
                  <c:v>108</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1.6"/>
          <c:min val="8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347,50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248,49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3,230,64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2347501</c:v>
                </c:pt>
                <c:pt idx="1">
                  <c:v>2119766</c:v>
                </c:pt>
                <c:pt idx="2">
                  <c:v>2312508</c:v>
                </c:pt>
                <c:pt idx="3">
                  <c:v>2232121</c:v>
                </c:pt>
                <c:pt idx="4">
                  <c:v>2446002</c:v>
                </c:pt>
                <c:pt idx="5">
                  <c:v>2481002</c:v>
                </c:pt>
                <c:pt idx="6">
                  <c:v>2225934</c:v>
                </c:pt>
                <c:pt idx="7">
                  <c:v>2421627</c:v>
                </c:pt>
                <c:pt idx="8">
                  <c:v>2349882</c:v>
                </c:pt>
                <c:pt idx="9">
                  <c:v>2520324</c:v>
                </c:pt>
                <c:pt idx="10">
                  <c:v>2489401</c:v>
                </c:pt>
                <c:pt idx="11">
                  <c:v>3305437</c:v>
                </c:pt>
                <c:pt idx="12">
                  <c:v>2545327</c:v>
                </c:pt>
                <c:pt idx="13">
                  <c:v>2248491</c:v>
                </c:pt>
                <c:pt idx="14">
                  <c:v>2378686</c:v>
                </c:pt>
                <c:pt idx="15">
                  <c:v>2320287</c:v>
                </c:pt>
                <c:pt idx="16">
                  <c:v>2099794</c:v>
                </c:pt>
                <c:pt idx="17">
                  <c:v>2113729</c:v>
                </c:pt>
                <c:pt idx="18">
                  <c:v>2117861</c:v>
                </c:pt>
                <c:pt idx="19">
                  <c:v>2534092</c:v>
                </c:pt>
                <c:pt idx="20">
                  <c:v>2730535</c:v>
                </c:pt>
                <c:pt idx="21">
                  <c:v>3035588</c:v>
                </c:pt>
                <c:pt idx="22">
                  <c:v>3130231</c:v>
                </c:pt>
                <c:pt idx="23">
                  <c:v>3915513</c:v>
                </c:pt>
                <c:pt idx="24">
                  <c:v>3230644</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1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3.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3.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18</c:v>
                </c:pt>
                <c:pt idx="1">
                  <c:v>2.86</c:v>
                </c:pt>
                <c:pt idx="2">
                  <c:v>2.76</c:v>
                </c:pt>
                <c:pt idx="3">
                  <c:v>2.84</c:v>
                </c:pt>
                <c:pt idx="4">
                  <c:v>3.23</c:v>
                </c:pt>
                <c:pt idx="5">
                  <c:v>3.18</c:v>
                </c:pt>
                <c:pt idx="6">
                  <c:v>3.16</c:v>
                </c:pt>
                <c:pt idx="7">
                  <c:v>3.2</c:v>
                </c:pt>
                <c:pt idx="8">
                  <c:v>3.24</c:v>
                </c:pt>
                <c:pt idx="9">
                  <c:v>3.13</c:v>
                </c:pt>
                <c:pt idx="10">
                  <c:v>3.2</c:v>
                </c:pt>
                <c:pt idx="11">
                  <c:v>2.74</c:v>
                </c:pt>
                <c:pt idx="12">
                  <c:v>2.99</c:v>
                </c:pt>
                <c:pt idx="13">
                  <c:v>3.07</c:v>
                </c:pt>
                <c:pt idx="14">
                  <c:v>2.96</c:v>
                </c:pt>
                <c:pt idx="15">
                  <c:v>2.95</c:v>
                </c:pt>
                <c:pt idx="16">
                  <c:v>3.29</c:v>
                </c:pt>
                <c:pt idx="17">
                  <c:v>2.85</c:v>
                </c:pt>
                <c:pt idx="18">
                  <c:v>3.1</c:v>
                </c:pt>
                <c:pt idx="19">
                  <c:v>3.32</c:v>
                </c:pt>
                <c:pt idx="20">
                  <c:v>3.26</c:v>
                </c:pt>
                <c:pt idx="21">
                  <c:v>3.17</c:v>
                </c:pt>
                <c:pt idx="22">
                  <c:v>3.4</c:v>
                </c:pt>
                <c:pt idx="23">
                  <c:v>3.12</c:v>
                </c:pt>
                <c:pt idx="24">
                  <c:v>3.38</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5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ilky Touch</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9</c:v>
                </c:pt>
                <c:pt idx="2">
                  <c:v>93</c:v>
                </c:pt>
                <c:pt idx="3">
                  <c:v>9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Bic Solei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32</c:v>
                </c:pt>
                <c:pt idx="2">
                  <c:v>113</c:v>
                </c:pt>
                <c:pt idx="3">
                  <c:v>93</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6</c:v>
                </c:pt>
                <c:pt idx="2">
                  <c:v>94</c:v>
                </c:pt>
                <c:pt idx="3">
                  <c:v>89</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Hydro Silk</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1</c:v>
                </c:pt>
                <c:pt idx="2">
                  <c:v>69</c:v>
                </c:pt>
                <c:pt idx="3">
                  <c:v>64</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Intuition</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77</c:v>
                </c:pt>
                <c:pt idx="2">
                  <c:v>52</c:v>
                </c:pt>
                <c:pt idx="3">
                  <c:v>61</c:v>
                </c:pt>
              </c:numCache>
            </c:numRef>
          </c:val>
          <c:smooth val="0"/>
          <c:extLst>
            <c:ext xmlns:c16="http://schemas.microsoft.com/office/drawing/2014/chart" uri="{C3380CC4-5D6E-409C-BE32-E72D297353CC}">
              <c16:uniqueId val="{00000007-0907-1A4C-A11F-73C2425749BA}"/>
            </c:ext>
          </c:extLst>
        </c:ser>
        <c:ser>
          <c:idx val="9"/>
          <c:order val="6"/>
          <c:tx>
            <c:strRef>
              <c:f>Sheet1!$H$1</c:f>
              <c:strCache>
                <c:ptCount val="1"/>
                <c:pt idx="0">
                  <c:v>Joy</c:v>
                </c:pt>
              </c:strCache>
            </c:strRef>
          </c:tx>
          <c:spPr>
            <a:ln w="19050" cap="rnd">
              <a:solidFill>
                <a:srgbClr val="FFFF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125</c:v>
                </c:pt>
                <c:pt idx="2">
                  <c:v>119</c:v>
                </c:pt>
                <c:pt idx="3">
                  <c:v>95</c:v>
                </c:pt>
              </c:numCache>
            </c:numRef>
          </c:val>
          <c:smooth val="0"/>
          <c:extLst>
            <c:ext xmlns:c16="http://schemas.microsoft.com/office/drawing/2014/chart" uri="{C3380CC4-5D6E-409C-BE32-E72D297353CC}">
              <c16:uniqueId val="{00000007-0907-1A4C-A11F-73C2425749BA}"/>
            </c:ext>
          </c:extLst>
        </c:ser>
        <c:ser>
          <c:idx val="10"/>
          <c:order val="7"/>
          <c:tx>
            <c:strRef>
              <c:f>Sheet1!$I$1</c:f>
              <c:strCache>
                <c:ptCount val="1"/>
                <c:pt idx="0">
                  <c:v>Skintimate</c:v>
                </c:pt>
              </c:strCache>
            </c:strRef>
          </c:tx>
          <c:spPr>
            <a:ln w="19050" cap="rnd">
              <a:solidFill>
                <a:srgbClr val="306181"/>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I$2:$I$5</c:f>
              <c:numCache>
                <c:formatCode>General</c:formatCode>
                <c:ptCount val="4"/>
                <c:pt idx="0">
                  <c:v>100</c:v>
                </c:pt>
                <c:pt idx="1">
                  <c:v>158</c:v>
                </c:pt>
                <c:pt idx="2">
                  <c:v>143</c:v>
                </c:pt>
                <c:pt idx="3">
                  <c:v>56</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89.6"/>
          <c:min val="41.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99</c:v>
                </c:pt>
                <c:pt idx="2">
                  <c:v>103</c:v>
                </c:pt>
                <c:pt idx="3">
                  <c:v>101</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ilky Touch</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16</c:v>
                </c:pt>
                <c:pt idx="2">
                  <c:v>109</c:v>
                </c:pt>
                <c:pt idx="3">
                  <c:v>112</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Bic Solei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1</c:v>
                </c:pt>
                <c:pt idx="2">
                  <c:v>109</c:v>
                </c:pt>
                <c:pt idx="3">
                  <c:v>114</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6</c:v>
                </c:pt>
                <c:pt idx="2">
                  <c:v>110</c:v>
                </c:pt>
                <c:pt idx="3">
                  <c:v>109</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Hydro Silk</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20</c:v>
                </c:pt>
                <c:pt idx="2">
                  <c:v>124</c:v>
                </c:pt>
                <c:pt idx="3">
                  <c:v>118</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Intuition</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21</c:v>
                </c:pt>
                <c:pt idx="2">
                  <c:v>108</c:v>
                </c:pt>
                <c:pt idx="3">
                  <c:v>96</c:v>
                </c:pt>
              </c:numCache>
            </c:numRef>
          </c:val>
          <c:smooth val="0"/>
          <c:extLst>
            <c:ext xmlns:c16="http://schemas.microsoft.com/office/drawing/2014/chart" uri="{C3380CC4-5D6E-409C-BE32-E72D297353CC}">
              <c16:uniqueId val="{00000003-F160-FB4E-B9E2-3D36233077E3}"/>
            </c:ext>
          </c:extLst>
        </c:ser>
        <c:ser>
          <c:idx val="9"/>
          <c:order val="6"/>
          <c:tx>
            <c:strRef>
              <c:f>Sheet1!$H$1</c:f>
              <c:strCache>
                <c:ptCount val="1"/>
                <c:pt idx="0">
                  <c:v>Joy</c:v>
                </c:pt>
              </c:strCache>
            </c:strRef>
          </c:tx>
          <c:spPr>
            <a:ln w="19050" cap="rnd">
              <a:solidFill>
                <a:srgbClr val="FFFF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80</c:v>
                </c:pt>
                <c:pt idx="2">
                  <c:v>90</c:v>
                </c:pt>
                <c:pt idx="3">
                  <c:v>81</c:v>
                </c:pt>
              </c:numCache>
            </c:numRef>
          </c:val>
          <c:smooth val="0"/>
          <c:extLst>
            <c:ext xmlns:c16="http://schemas.microsoft.com/office/drawing/2014/chart" uri="{C3380CC4-5D6E-409C-BE32-E72D297353CC}">
              <c16:uniqueId val="{00000003-F160-FB4E-B9E2-3D36233077E3}"/>
            </c:ext>
          </c:extLst>
        </c:ser>
        <c:ser>
          <c:idx val="10"/>
          <c:order val="7"/>
          <c:tx>
            <c:strRef>
              <c:f>Sheet1!$I$1</c:f>
              <c:strCache>
                <c:ptCount val="1"/>
                <c:pt idx="0">
                  <c:v>Skintimate</c:v>
                </c:pt>
              </c:strCache>
            </c:strRef>
          </c:tx>
          <c:spPr>
            <a:ln w="19050" cap="rnd">
              <a:solidFill>
                <a:srgbClr val="306181"/>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I$2:$I$5</c:f>
              <c:numCache>
                <c:formatCode>General</c:formatCode>
                <c:ptCount val="4"/>
                <c:pt idx="0">
                  <c:v>100</c:v>
                </c:pt>
                <c:pt idx="1">
                  <c:v>82</c:v>
                </c:pt>
                <c:pt idx="2">
                  <c:v>78</c:v>
                </c:pt>
                <c:pt idx="3">
                  <c:v>9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8.79999999999998"/>
          <c:min val="62.40000000000000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Almay And Skintimate</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64</c:v>
                </c:pt>
                <c:pt idx="2">
                  <c:v>489</c:v>
                </c:pt>
                <c:pt idx="3">
                  <c:v>79</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Amazon</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32</c:v>
                </c:pt>
                <c:pt idx="2">
                  <c:v>161</c:v>
                </c:pt>
                <c:pt idx="3">
                  <c:v>172</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361</c:v>
                </c:pt>
                <c:pt idx="2">
                  <c:v>431</c:v>
                </c:pt>
                <c:pt idx="3">
                  <c:v>559</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64</c:v>
                </c:pt>
                <c:pt idx="2">
                  <c:v>47</c:v>
                </c:pt>
                <c:pt idx="3">
                  <c:v>38</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Quattro</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74</c:v>
                </c:pt>
                <c:pt idx="2">
                  <c:v>53</c:v>
                </c:pt>
                <c:pt idx="3">
                  <c:v>3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670.8"/>
          <c:min val="24.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96</c:v>
                </c:pt>
                <c:pt idx="2">
                  <c:v>96</c:v>
                </c:pt>
                <c:pt idx="3">
                  <c:v>94</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Almay And Skintimate</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2</c:v>
                </c:pt>
                <c:pt idx="2">
                  <c:v>115</c:v>
                </c:pt>
                <c:pt idx="3">
                  <c:v>119</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Amazon</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8</c:v>
                </c:pt>
                <c:pt idx="2">
                  <c:v>106</c:v>
                </c:pt>
                <c:pt idx="3">
                  <c:v>103</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4</c:v>
                </c:pt>
                <c:pt idx="2">
                  <c:v>103</c:v>
                </c:pt>
                <c:pt idx="3">
                  <c:v>108</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4</c:v>
                </c:pt>
                <c:pt idx="2">
                  <c:v>107</c:v>
                </c:pt>
                <c:pt idx="3">
                  <c:v>109</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Quattro</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12</c:v>
                </c:pt>
                <c:pt idx="2">
                  <c:v>128</c:v>
                </c:pt>
                <c:pt idx="3">
                  <c:v>106</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3.6"/>
          <c:min val="75.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83</c:v>
                </c:pt>
                <c:pt idx="2">
                  <c:v>113</c:v>
                </c:pt>
                <c:pt idx="3">
                  <c:v>116</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7</c:v>
                </c:pt>
                <c:pt idx="2">
                  <c:v>84</c:v>
                </c:pt>
                <c:pt idx="3">
                  <c:v>9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7</c:v>
                </c:pt>
                <c:pt idx="2">
                  <c:v>106</c:v>
                </c:pt>
                <c:pt idx="3">
                  <c:v>102</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250</c:v>
                </c:pt>
                <c:pt idx="2">
                  <c:v>264</c:v>
                </c:pt>
                <c:pt idx="3">
                  <c:v>263</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Quattro</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2</c:v>
                </c:pt>
                <c:pt idx="2">
                  <c:v>73</c:v>
                </c:pt>
                <c:pt idx="3">
                  <c:v>34</c:v>
                </c:pt>
              </c:numCache>
            </c:numRef>
          </c:val>
          <c:smooth val="0"/>
          <c:extLst>
            <c:ext xmlns:c16="http://schemas.microsoft.com/office/drawing/2014/chart" uri="{C3380CC4-5D6E-409C-BE32-E72D297353CC}">
              <c16:uniqueId val="{00000007-0907-1A4C-A11F-73C2425749BA}"/>
            </c:ext>
          </c:extLst>
        </c:ser>
        <c:ser>
          <c:idx val="9"/>
          <c:order val="6"/>
          <c:tx>
            <c:strRef>
              <c:f>Sheet1!$H$1</c:f>
              <c:strCache>
                <c:ptCount val="1"/>
                <c:pt idx="0">
                  <c:v>Skintimate</c:v>
                </c:pt>
              </c:strCache>
            </c:strRef>
          </c:tx>
          <c:spPr>
            <a:ln w="19050" cap="rnd">
              <a:solidFill>
                <a:srgbClr val="E5F4F3"/>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11</c:v>
                </c:pt>
                <c:pt idx="2">
                  <c:v>2</c:v>
                </c:pt>
                <c:pt idx="3">
                  <c:v>6</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316.8"/>
          <c:min val="1.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3</c:v>
                </c:pt>
                <c:pt idx="2">
                  <c:v>104</c:v>
                </c:pt>
                <c:pt idx="3">
                  <c:v>101</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4</c:v>
                </c:pt>
                <c:pt idx="2">
                  <c:v>109</c:v>
                </c:pt>
                <c:pt idx="3">
                  <c:v>129</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2</c:v>
                </c:pt>
                <c:pt idx="2">
                  <c:v>97</c:v>
                </c:pt>
                <c:pt idx="3">
                  <c:v>97</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2</c:v>
                </c:pt>
                <c:pt idx="2">
                  <c:v>106</c:v>
                </c:pt>
                <c:pt idx="3">
                  <c:v>10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2</c:v>
                </c:pt>
                <c:pt idx="2">
                  <c:v>94</c:v>
                </c:pt>
                <c:pt idx="3">
                  <c:v>95</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Quattro</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7</c:v>
                </c:pt>
                <c:pt idx="2">
                  <c:v>98</c:v>
                </c:pt>
                <c:pt idx="3">
                  <c:v>97</c:v>
                </c:pt>
              </c:numCache>
            </c:numRef>
          </c:val>
          <c:smooth val="0"/>
          <c:extLst>
            <c:ext xmlns:c16="http://schemas.microsoft.com/office/drawing/2014/chart" uri="{C3380CC4-5D6E-409C-BE32-E72D297353CC}">
              <c16:uniqueId val="{00000003-F160-FB4E-B9E2-3D36233077E3}"/>
            </c:ext>
          </c:extLst>
        </c:ser>
        <c:ser>
          <c:idx val="9"/>
          <c:order val="6"/>
          <c:tx>
            <c:strRef>
              <c:f>Sheet1!$H$1</c:f>
              <c:strCache>
                <c:ptCount val="1"/>
                <c:pt idx="0">
                  <c:v>Skintimate</c:v>
                </c:pt>
              </c:strCache>
            </c:strRef>
          </c:tx>
          <c:spPr>
            <a:ln w="19050" cap="rnd">
              <a:solidFill>
                <a:srgbClr val="E5F4F3"/>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97</c:v>
                </c:pt>
                <c:pt idx="2">
                  <c:v>141</c:v>
                </c:pt>
                <c:pt idx="3">
                  <c:v>127</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69.2"/>
          <c:min val="73.6000000000000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Gillette Venu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3</c:f>
              <c:numCache>
                <c:formatCode>General</c:formatCode>
                <c:ptCount val="2"/>
                <c:pt idx="0">
                  <c:v>100</c:v>
                </c:pt>
                <c:pt idx="1">
                  <c:v>58</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Intuition</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20.0"/>
          <c:min val="46.40000000000000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5</c:v>
                </c:pt>
                <c:pt idx="2">
                  <c:v>115</c:v>
                </c:pt>
                <c:pt idx="3">
                  <c:v>116</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Gillette Venu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3</c:f>
              <c:numCache>
                <c:formatCode>General</c:formatCode>
                <c:ptCount val="2"/>
                <c:pt idx="0">
                  <c:v>100</c:v>
                </c:pt>
                <c:pt idx="1">
                  <c:v>114</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Intuition</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5</c:v>
                </c:pt>
                <c:pt idx="2">
                  <c:v>115</c:v>
                </c:pt>
                <c:pt idx="3">
                  <c:v>116</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9.2"/>
          <c:min val="8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Flamingo</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33</c:v>
                </c:pt>
                <c:pt idx="2">
                  <c:v>148</c:v>
                </c:pt>
                <c:pt idx="3">
                  <c:v>152</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4</c:v>
                </c:pt>
                <c:pt idx="2">
                  <c:v>105</c:v>
                </c:pt>
                <c:pt idx="3">
                  <c:v>109</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69</c:v>
                </c:pt>
                <c:pt idx="2">
                  <c:v>163</c:v>
                </c:pt>
                <c:pt idx="3">
                  <c:v>122</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6</c:v>
                </c:pt>
                <c:pt idx="2">
                  <c:v>87</c:v>
                </c:pt>
                <c:pt idx="3">
                  <c:v>84</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71</c:v>
                </c:pt>
                <c:pt idx="2">
                  <c:v>57</c:v>
                </c:pt>
                <c:pt idx="3">
                  <c:v>32</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202.79999999999998"/>
          <c:min val="25.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7</c:v>
                </c:pt>
                <c:pt idx="2">
                  <c:v>111</c:v>
                </c:pt>
                <c:pt idx="3">
                  <c:v>10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Flamingo</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0</c:v>
                </c:pt>
                <c:pt idx="2">
                  <c:v>86</c:v>
                </c:pt>
                <c:pt idx="3">
                  <c:v>78</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6</c:v>
                </c:pt>
                <c:pt idx="2">
                  <c:v>99</c:v>
                </c:pt>
                <c:pt idx="3">
                  <c:v>91</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89</c:v>
                </c:pt>
                <c:pt idx="2">
                  <c:v>90</c:v>
                </c:pt>
                <c:pt idx="3">
                  <c:v>98</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87</c:v>
                </c:pt>
                <c:pt idx="2">
                  <c:v>101</c:v>
                </c:pt>
                <c:pt idx="3">
                  <c:v>101</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17</c:v>
                </c:pt>
                <c:pt idx="2">
                  <c:v>113</c:v>
                </c:pt>
                <c:pt idx="3">
                  <c:v>11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0.4"/>
          <c:min val="62.40000000000000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607,56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945,94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3,894,79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2607567</c:v>
                </c:pt>
                <c:pt idx="1">
                  <c:v>2550371</c:v>
                </c:pt>
                <c:pt idx="2">
                  <c:v>2567641</c:v>
                </c:pt>
                <c:pt idx="3">
                  <c:v>2300973</c:v>
                </c:pt>
                <c:pt idx="4">
                  <c:v>2430560</c:v>
                </c:pt>
                <c:pt idx="5">
                  <c:v>2650612</c:v>
                </c:pt>
                <c:pt idx="6">
                  <c:v>2591911</c:v>
                </c:pt>
                <c:pt idx="7">
                  <c:v>2672796</c:v>
                </c:pt>
                <c:pt idx="8">
                  <c:v>2724932</c:v>
                </c:pt>
                <c:pt idx="9">
                  <c:v>2951277</c:v>
                </c:pt>
                <c:pt idx="10">
                  <c:v>3191404</c:v>
                </c:pt>
                <c:pt idx="11">
                  <c:v>3564461</c:v>
                </c:pt>
                <c:pt idx="12">
                  <c:v>3105362</c:v>
                </c:pt>
                <c:pt idx="13">
                  <c:v>2945943</c:v>
                </c:pt>
                <c:pt idx="14">
                  <c:v>2928715</c:v>
                </c:pt>
                <c:pt idx="15">
                  <c:v>2823663</c:v>
                </c:pt>
                <c:pt idx="16">
                  <c:v>2806280</c:v>
                </c:pt>
                <c:pt idx="17">
                  <c:v>2975194</c:v>
                </c:pt>
                <c:pt idx="18">
                  <c:v>2913917</c:v>
                </c:pt>
                <c:pt idx="19">
                  <c:v>3251210</c:v>
                </c:pt>
                <c:pt idx="20">
                  <c:v>3244975</c:v>
                </c:pt>
                <c:pt idx="21">
                  <c:v>3515542</c:v>
                </c:pt>
                <c:pt idx="22">
                  <c:v>3608466</c:v>
                </c:pt>
                <c:pt idx="23">
                  <c:v>4430217</c:v>
                </c:pt>
                <c:pt idx="24">
                  <c:v>3894790</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3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9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2.6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39</c:v>
                </c:pt>
                <c:pt idx="1">
                  <c:v>3.42</c:v>
                </c:pt>
                <c:pt idx="2">
                  <c:v>3.54</c:v>
                </c:pt>
                <c:pt idx="3">
                  <c:v>3.62</c:v>
                </c:pt>
                <c:pt idx="4">
                  <c:v>3.57</c:v>
                </c:pt>
                <c:pt idx="5">
                  <c:v>3.63</c:v>
                </c:pt>
                <c:pt idx="6">
                  <c:v>3.39</c:v>
                </c:pt>
                <c:pt idx="7">
                  <c:v>3.26</c:v>
                </c:pt>
                <c:pt idx="8">
                  <c:v>3.2</c:v>
                </c:pt>
                <c:pt idx="9">
                  <c:v>3.16</c:v>
                </c:pt>
                <c:pt idx="10">
                  <c:v>3.15</c:v>
                </c:pt>
                <c:pt idx="11">
                  <c:v>3.04</c:v>
                </c:pt>
                <c:pt idx="12">
                  <c:v>2.98</c:v>
                </c:pt>
                <c:pt idx="13">
                  <c:v>2.95</c:v>
                </c:pt>
                <c:pt idx="14">
                  <c:v>2.97</c:v>
                </c:pt>
                <c:pt idx="15">
                  <c:v>2.99</c:v>
                </c:pt>
                <c:pt idx="16">
                  <c:v>2.77</c:v>
                </c:pt>
                <c:pt idx="17">
                  <c:v>2.75</c:v>
                </c:pt>
                <c:pt idx="18">
                  <c:v>2.75</c:v>
                </c:pt>
                <c:pt idx="19">
                  <c:v>2.71</c:v>
                </c:pt>
                <c:pt idx="20">
                  <c:v>2.73</c:v>
                </c:pt>
                <c:pt idx="21">
                  <c:v>2.71</c:v>
                </c:pt>
                <c:pt idx="22">
                  <c:v>2.69</c:v>
                </c:pt>
                <c:pt idx="23">
                  <c:v>2.61</c:v>
                </c:pt>
                <c:pt idx="24">
                  <c:v>2.62</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5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Ardel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65</c:v>
                </c:pt>
                <c:pt idx="2">
                  <c:v>44</c:v>
                </c:pt>
                <c:pt idx="3">
                  <c:v>23</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Clio</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24</c:v>
                </c:pt>
                <c:pt idx="2">
                  <c:v>147</c:v>
                </c:pt>
                <c:pt idx="3">
                  <c:v>121</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16</c:v>
                </c:pt>
                <c:pt idx="2">
                  <c:v>107</c:v>
                </c:pt>
                <c:pt idx="3">
                  <c:v>92</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c:v>
                </c:pt>
                <c:pt idx="2">
                  <c:v>0</c:v>
                </c:pt>
                <c:pt idx="3">
                  <c:v>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Revlon</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81</c:v>
                </c:pt>
                <c:pt idx="2">
                  <c:v>122</c:v>
                </c:pt>
                <c:pt idx="3">
                  <c:v>62</c:v>
                </c:pt>
              </c:numCache>
            </c:numRef>
          </c:val>
          <c:smooth val="0"/>
          <c:extLst>
            <c:ext xmlns:c16="http://schemas.microsoft.com/office/drawing/2014/chart" uri="{C3380CC4-5D6E-409C-BE32-E72D297353CC}">
              <c16:uniqueId val="{00000007-0907-1A4C-A11F-73C2425749BA}"/>
            </c:ext>
          </c:extLst>
        </c:ser>
        <c:ser>
          <c:idx val="9"/>
          <c:order val="6"/>
          <c:tx>
            <c:strRef>
              <c:f>Sheet1!$H$1</c:f>
              <c:strCache>
                <c:ptCount val="1"/>
                <c:pt idx="0">
                  <c:v>Universal Razor</c:v>
                </c:pt>
              </c:strCache>
            </c:strRef>
          </c:tx>
          <c:spPr>
            <a:ln w="19050" cap="rnd">
              <a:solidFill>
                <a:srgbClr val="FFFF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72</c:v>
                </c:pt>
                <c:pt idx="2">
                  <c:v>59</c:v>
                </c:pt>
                <c:pt idx="3">
                  <c:v>54</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76.4"/>
          <c:min val="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20</c:v>
                </c:pt>
                <c:pt idx="2">
                  <c:v>127</c:v>
                </c:pt>
                <c:pt idx="3">
                  <c:v>126</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Ardel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Clio</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9</c:v>
                </c:pt>
                <c:pt idx="2">
                  <c:v>91</c:v>
                </c:pt>
                <c:pt idx="3">
                  <c:v>102</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4</c:v>
                </c:pt>
                <c:pt idx="2">
                  <c:v>115</c:v>
                </c:pt>
                <c:pt idx="3">
                  <c:v>116</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7</c:v>
                </c:pt>
                <c:pt idx="2">
                  <c:v>96</c:v>
                </c:pt>
                <c:pt idx="3">
                  <c:v>93</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Revlon</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3</c:v>
                </c:pt>
                <c:pt idx="2">
                  <c:v>96</c:v>
                </c:pt>
                <c:pt idx="3">
                  <c:v>87</c:v>
                </c:pt>
              </c:numCache>
            </c:numRef>
          </c:val>
          <c:smooth val="0"/>
          <c:extLst>
            <c:ext xmlns:c16="http://schemas.microsoft.com/office/drawing/2014/chart" uri="{C3380CC4-5D6E-409C-BE32-E72D297353CC}">
              <c16:uniqueId val="{00000003-F160-FB4E-B9E2-3D36233077E3}"/>
            </c:ext>
          </c:extLst>
        </c:ser>
        <c:ser>
          <c:idx val="9"/>
          <c:order val="6"/>
          <c:tx>
            <c:strRef>
              <c:f>Sheet1!$H$1</c:f>
              <c:strCache>
                <c:ptCount val="1"/>
                <c:pt idx="0">
                  <c:v>Universal Razor</c:v>
                </c:pt>
              </c:strCache>
            </c:strRef>
          </c:tx>
          <c:spPr>
            <a:ln w="19050" cap="rnd">
              <a:solidFill>
                <a:srgbClr val="FFFF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106</c:v>
                </c:pt>
                <c:pt idx="2">
                  <c:v>102</c:v>
                </c:pt>
                <c:pt idx="3">
                  <c:v>108</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2.4"/>
          <c:min val="69.6000000000000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Flamingo</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27</c:v>
                </c:pt>
                <c:pt idx="2">
                  <c:v>2</c:v>
                </c:pt>
                <c:pt idx="3">
                  <c:v>37</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2</c:v>
                </c:pt>
                <c:pt idx="2">
                  <c:v>111</c:v>
                </c:pt>
                <c:pt idx="3">
                  <c:v>122</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9</c:v>
                </c:pt>
                <c:pt idx="2">
                  <c:v>102</c:v>
                </c:pt>
                <c:pt idx="3">
                  <c:v>93</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21</c:v>
                </c:pt>
                <c:pt idx="2">
                  <c:v>128</c:v>
                </c:pt>
                <c:pt idx="3">
                  <c:v>103</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62</c:v>
                </c:pt>
                <c:pt idx="2">
                  <c:v>62</c:v>
                </c:pt>
                <c:pt idx="3">
                  <c:v>5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53.6"/>
          <c:min val="1.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14</c:v>
                </c:pt>
                <c:pt idx="2">
                  <c:v>112</c:v>
                </c:pt>
                <c:pt idx="3">
                  <c:v>105</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Flamingo</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2</c:v>
                </c:pt>
                <c:pt idx="2">
                  <c:v>106</c:v>
                </c:pt>
                <c:pt idx="3">
                  <c:v>258</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2</c:v>
                </c:pt>
                <c:pt idx="2">
                  <c:v>104</c:v>
                </c:pt>
                <c:pt idx="3">
                  <c:v>95</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1</c:v>
                </c:pt>
                <c:pt idx="2">
                  <c:v>99</c:v>
                </c:pt>
                <c:pt idx="3">
                  <c:v>88</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4</c:v>
                </c:pt>
                <c:pt idx="2">
                  <c:v>110</c:v>
                </c:pt>
                <c:pt idx="3">
                  <c:v>109</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10</c:v>
                </c:pt>
                <c:pt idx="2">
                  <c:v>115</c:v>
                </c:pt>
                <c:pt idx="3">
                  <c:v>118</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309.59999999999997"/>
          <c:min val="70.4"/>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Intuition</c:v>
                </c:pt>
              </c:strCache>
            </c:strRef>
          </c:tx>
          <c:spPr>
            <a:ln w="19050" cap="rnd">
              <a:solidFill>
                <a:srgbClr val="FFBFB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20.0"/>
          <c:min val="8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4</c:v>
                </c:pt>
                <c:pt idx="2">
                  <c:v>112</c:v>
                </c:pt>
                <c:pt idx="3">
                  <c:v>111</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Intuition</c:v>
                </c:pt>
              </c:strCache>
            </c:strRef>
          </c:tx>
          <c:spPr>
            <a:ln w="19050" cap="rnd">
              <a:solidFill>
                <a:srgbClr val="FFBFB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4</c:v>
                </c:pt>
                <c:pt idx="2">
                  <c:v>112</c:v>
                </c:pt>
                <c:pt idx="3">
                  <c:v>111</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4.4"/>
          <c:min val="8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ilky Touch</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5</c:v>
                </c:pt>
                <c:pt idx="2">
                  <c:v>95</c:v>
                </c:pt>
                <c:pt idx="3">
                  <c:v>103</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Bic Solei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29</c:v>
                </c:pt>
                <c:pt idx="2">
                  <c:v>132</c:v>
                </c:pt>
                <c:pt idx="3">
                  <c:v>104</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3</c:v>
                </c:pt>
                <c:pt idx="2">
                  <c:v>98</c:v>
                </c:pt>
                <c:pt idx="3">
                  <c:v>103</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Hydro Silk</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79</c:v>
                </c:pt>
                <c:pt idx="2">
                  <c:v>73</c:v>
                </c:pt>
                <c:pt idx="3">
                  <c:v>66</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Intuition</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19</c:v>
                </c:pt>
                <c:pt idx="2">
                  <c:v>73</c:v>
                </c:pt>
                <c:pt idx="3">
                  <c:v>76</c:v>
                </c:pt>
              </c:numCache>
            </c:numRef>
          </c:val>
          <c:smooth val="0"/>
          <c:extLst>
            <c:ext xmlns:c16="http://schemas.microsoft.com/office/drawing/2014/chart" uri="{C3380CC4-5D6E-409C-BE32-E72D297353CC}">
              <c16:uniqueId val="{00000007-0907-1A4C-A11F-73C2425749BA}"/>
            </c:ext>
          </c:extLst>
        </c:ser>
        <c:ser>
          <c:idx val="9"/>
          <c:order val="6"/>
          <c:tx>
            <c:strRef>
              <c:f>Sheet1!$H$1</c:f>
              <c:strCache>
                <c:ptCount val="1"/>
                <c:pt idx="0">
                  <c:v>Joy</c:v>
                </c:pt>
              </c:strCache>
            </c:strRef>
          </c:tx>
          <c:spPr>
            <a:ln w="19050" cap="rnd">
              <a:solidFill>
                <a:srgbClr val="FFFF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88</c:v>
                </c:pt>
                <c:pt idx="2">
                  <c:v>73</c:v>
                </c:pt>
                <c:pt idx="3">
                  <c:v>69</c:v>
                </c:pt>
              </c:numCache>
            </c:numRef>
          </c:val>
          <c:smooth val="0"/>
          <c:extLst>
            <c:ext xmlns:c16="http://schemas.microsoft.com/office/drawing/2014/chart" uri="{C3380CC4-5D6E-409C-BE32-E72D297353CC}">
              <c16:uniqueId val="{00000007-0907-1A4C-A11F-73C2425749BA}"/>
            </c:ext>
          </c:extLst>
        </c:ser>
        <c:ser>
          <c:idx val="10"/>
          <c:order val="7"/>
          <c:tx>
            <c:strRef>
              <c:f>Sheet1!$I$1</c:f>
              <c:strCache>
                <c:ptCount val="1"/>
                <c:pt idx="0">
                  <c:v>Pbg Pl</c:v>
                </c:pt>
              </c:strCache>
            </c:strRef>
          </c:tx>
          <c:spPr>
            <a:ln w="19050" cap="rnd">
              <a:solidFill>
                <a:srgbClr val="00206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I$2:$I$5</c:f>
              <c:numCache>
                <c:formatCode>General</c:formatCode>
                <c:ptCount val="4"/>
                <c:pt idx="0">
                  <c:v>100</c:v>
                </c:pt>
                <c:pt idx="1">
                  <c:v>94</c:v>
                </c:pt>
                <c:pt idx="2">
                  <c:v>101</c:v>
                </c:pt>
                <c:pt idx="3">
                  <c:v>108</c:v>
                </c:pt>
              </c:numCache>
            </c:numRef>
          </c:val>
          <c:smooth val="0"/>
          <c:extLst>
            <c:ext xmlns:c16="http://schemas.microsoft.com/office/drawing/2014/chart" uri="{C3380CC4-5D6E-409C-BE32-E72D297353CC}">
              <c16:uniqueId val="{00000007-0907-1A4C-A11F-73C2425749BA}"/>
            </c:ext>
          </c:extLst>
        </c:ser>
        <c:ser>
          <c:idx val="11"/>
          <c:order val="8"/>
          <c:tx>
            <c:strRef>
              <c:f>Sheet1!$J$1</c:f>
              <c:strCache>
                <c:ptCount val="1"/>
                <c:pt idx="0">
                  <c:v>Skintimate</c:v>
                </c:pt>
              </c:strCache>
            </c:strRef>
          </c:tx>
          <c:spPr>
            <a:ln w="19050" cap="rnd">
              <a:solidFill>
                <a:srgbClr val="6DA5C9"/>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J$2:$J$5</c:f>
              <c:numCache>
                <c:formatCode>General</c:formatCode>
                <c:ptCount val="4"/>
                <c:pt idx="0">
                  <c:v>100</c:v>
                </c:pt>
                <c:pt idx="1">
                  <c:v>24</c:v>
                </c:pt>
                <c:pt idx="2">
                  <c:v>10</c:v>
                </c:pt>
                <c:pt idx="3">
                  <c:v>2</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58.4"/>
          <c:min val="1.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7</c:v>
                </c:pt>
                <c:pt idx="2">
                  <c:v>109</c:v>
                </c:pt>
                <c:pt idx="3">
                  <c:v>108</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ilky Touch</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1</c:v>
                </c:pt>
                <c:pt idx="2">
                  <c:v>98</c:v>
                </c:pt>
                <c:pt idx="3">
                  <c:v>95</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Bic Solei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3</c:v>
                </c:pt>
                <c:pt idx="2">
                  <c:v>118</c:v>
                </c:pt>
                <c:pt idx="3">
                  <c:v>125</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89</c:v>
                </c:pt>
                <c:pt idx="2">
                  <c:v>85</c:v>
                </c:pt>
                <c:pt idx="3">
                  <c:v>85</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Hydro Silk</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7</c:v>
                </c:pt>
                <c:pt idx="2">
                  <c:v>96</c:v>
                </c:pt>
                <c:pt idx="3">
                  <c:v>93</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Intuition</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80</c:v>
                </c:pt>
                <c:pt idx="2">
                  <c:v>91</c:v>
                </c:pt>
                <c:pt idx="3">
                  <c:v>94</c:v>
                </c:pt>
              </c:numCache>
            </c:numRef>
          </c:val>
          <c:smooth val="0"/>
          <c:extLst>
            <c:ext xmlns:c16="http://schemas.microsoft.com/office/drawing/2014/chart" uri="{C3380CC4-5D6E-409C-BE32-E72D297353CC}">
              <c16:uniqueId val="{00000003-F160-FB4E-B9E2-3D36233077E3}"/>
            </c:ext>
          </c:extLst>
        </c:ser>
        <c:ser>
          <c:idx val="9"/>
          <c:order val="6"/>
          <c:tx>
            <c:strRef>
              <c:f>Sheet1!$H$1</c:f>
              <c:strCache>
                <c:ptCount val="1"/>
                <c:pt idx="0">
                  <c:v>Joy</c:v>
                </c:pt>
              </c:strCache>
            </c:strRef>
          </c:tx>
          <c:spPr>
            <a:ln w="19050" cap="rnd">
              <a:solidFill>
                <a:srgbClr val="FFFF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104</c:v>
                </c:pt>
                <c:pt idx="2">
                  <c:v>116</c:v>
                </c:pt>
                <c:pt idx="3">
                  <c:v>116</c:v>
                </c:pt>
              </c:numCache>
            </c:numRef>
          </c:val>
          <c:smooth val="0"/>
          <c:extLst>
            <c:ext xmlns:c16="http://schemas.microsoft.com/office/drawing/2014/chart" uri="{C3380CC4-5D6E-409C-BE32-E72D297353CC}">
              <c16:uniqueId val="{00000003-F160-FB4E-B9E2-3D36233077E3}"/>
            </c:ext>
          </c:extLst>
        </c:ser>
        <c:ser>
          <c:idx val="10"/>
          <c:order val="7"/>
          <c:tx>
            <c:strRef>
              <c:f>Sheet1!$I$1</c:f>
              <c:strCache>
                <c:ptCount val="1"/>
                <c:pt idx="0">
                  <c:v>Pbg Pl</c:v>
                </c:pt>
              </c:strCache>
            </c:strRef>
          </c:tx>
          <c:spPr>
            <a:ln w="19050" cap="rnd">
              <a:solidFill>
                <a:srgbClr val="00206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I$2:$I$5</c:f>
              <c:numCache>
                <c:formatCode>General</c:formatCode>
                <c:ptCount val="4"/>
                <c:pt idx="0">
                  <c:v>100</c:v>
                </c:pt>
                <c:pt idx="1">
                  <c:v>108</c:v>
                </c:pt>
                <c:pt idx="2">
                  <c:v>122</c:v>
                </c:pt>
                <c:pt idx="3">
                  <c:v>133</c:v>
                </c:pt>
              </c:numCache>
            </c:numRef>
          </c:val>
          <c:smooth val="0"/>
          <c:extLst>
            <c:ext xmlns:c16="http://schemas.microsoft.com/office/drawing/2014/chart" uri="{C3380CC4-5D6E-409C-BE32-E72D297353CC}">
              <c16:uniqueId val="{00000003-F160-FB4E-B9E2-3D36233077E3}"/>
            </c:ext>
          </c:extLst>
        </c:ser>
        <c:ser>
          <c:idx val="11"/>
          <c:order val="8"/>
          <c:tx>
            <c:strRef>
              <c:f>Sheet1!$J$1</c:f>
              <c:strCache>
                <c:ptCount val="1"/>
                <c:pt idx="0">
                  <c:v>Skintimate</c:v>
                </c:pt>
              </c:strCache>
            </c:strRef>
          </c:tx>
          <c:spPr>
            <a:ln w="19050" cap="rnd">
              <a:solidFill>
                <a:srgbClr val="6DA5C9"/>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J$2:$J$5</c:f>
              <c:numCache>
                <c:formatCode>General</c:formatCode>
                <c:ptCount val="4"/>
                <c:pt idx="0">
                  <c:v>100</c:v>
                </c:pt>
                <c:pt idx="1">
                  <c:v>101</c:v>
                </c:pt>
                <c:pt idx="2">
                  <c:v>102</c:v>
                </c:pt>
                <c:pt idx="3">
                  <c:v>76</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9.6"/>
          <c:min val="60.800000000000004"/>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Evribeauty</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32</c:v>
                </c:pt>
                <c:pt idx="2">
                  <c:v>32</c:v>
                </c:pt>
                <c:pt idx="3">
                  <c:v>41</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Hydro Silk</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34</c:v>
                </c:pt>
                <c:pt idx="2">
                  <c:v>179</c:v>
                </c:pt>
                <c:pt idx="3">
                  <c:v>16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Rem P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60</c:v>
                </c:pt>
                <c:pt idx="2">
                  <c:v>55</c:v>
                </c:pt>
                <c:pt idx="3">
                  <c:v>66</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Universal Prods Mktg</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8</c:v>
                </c:pt>
                <c:pt idx="2">
                  <c:v>49</c:v>
                </c:pt>
                <c:pt idx="3">
                  <c:v>58</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Universal Razor</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231</c:v>
                </c:pt>
                <c:pt idx="2">
                  <c:v>235</c:v>
                </c:pt>
                <c:pt idx="3">
                  <c:v>225</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282.0"/>
          <c:min val="25.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21</c:v>
                </c:pt>
                <c:pt idx="2">
                  <c:v>129</c:v>
                </c:pt>
                <c:pt idx="3">
                  <c:v>121</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Evribeauty</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4</c:v>
                </c:pt>
                <c:pt idx="2">
                  <c:v>106</c:v>
                </c:pt>
                <c:pt idx="3">
                  <c:v>107</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Hydro Silk</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29</c:v>
                </c:pt>
                <c:pt idx="2">
                  <c:v>22</c:v>
                </c:pt>
                <c:pt idx="3">
                  <c:v>22</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Rem P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2</c:v>
                </c:pt>
                <c:pt idx="2">
                  <c:v>106</c:v>
                </c:pt>
                <c:pt idx="3">
                  <c:v>109</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Universal Prods Mktg</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Universal Razor</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2</c:v>
                </c:pt>
                <c:pt idx="2">
                  <c:v>103</c:v>
                </c:pt>
                <c:pt idx="3">
                  <c:v>102</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4.79999999999998"/>
          <c:min val="17.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37,01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6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pr-22</c:v>
                </c:pt>
                <c:pt idx="1">
                  <c:v>May-22</c:v>
                </c:pt>
                <c:pt idx="2">
                  <c:v>Jun-22</c:v>
                </c:pt>
                <c:pt idx="3">
                  <c:v>Jul-22</c:v>
                </c:pt>
                <c:pt idx="4">
                  <c:v>Aug-22</c:v>
                </c:pt>
                <c:pt idx="5">
                  <c:v>Sep-22</c:v>
                </c:pt>
                <c:pt idx="6">
                  <c:v>Oct-22</c:v>
                </c:pt>
                <c:pt idx="7">
                  <c:v>Nov-22</c:v>
                </c:pt>
                <c:pt idx="8">
                  <c:v>Dec-22</c:v>
                </c:pt>
                <c:pt idx="9">
                  <c:v>Jan-23</c:v>
                </c:pt>
                <c:pt idx="10">
                  <c:v>Feb-23</c:v>
                </c:pt>
                <c:pt idx="11">
                  <c:v>Mar-23</c:v>
                </c:pt>
                <c:pt idx="12">
                  <c:v>Apr-23</c:v>
                </c:pt>
                <c:pt idx="13">
                  <c:v>May-23</c:v>
                </c:pt>
                <c:pt idx="14">
                  <c:v>Jun-23</c:v>
                </c:pt>
                <c:pt idx="15">
                  <c:v>Jul-23</c:v>
                </c:pt>
                <c:pt idx="16">
                  <c:v>Aug-23</c:v>
                </c:pt>
                <c:pt idx="17">
                  <c:v>Sep-23</c:v>
                </c:pt>
                <c:pt idx="18">
                  <c:v>Oct-23</c:v>
                </c:pt>
                <c:pt idx="19">
                  <c:v>Nov-23</c:v>
                </c:pt>
                <c:pt idx="20">
                  <c:v>Dec-23</c:v>
                </c:pt>
                <c:pt idx="21">
                  <c:v>Jan-24</c:v>
                </c:pt>
                <c:pt idx="22">
                  <c:v>Feb-24</c:v>
                </c:pt>
                <c:pt idx="23">
                  <c:v>Mar-24</c:v>
                </c:pt>
                <c:pt idx="24">
                  <c:v>May-24</c:v>
                </c:pt>
              </c:strCache>
            </c:strRef>
          </c:cat>
          <c:val>
            <c:numRef>
              <c:f>Sheet1!$B$2:$B$26</c:f>
              <c:numCache>
                <c:formatCode>General</c:formatCode>
                <c:ptCount val="25"/>
                <c:pt idx="0">
                  <c:v>37012</c:v>
                </c:pt>
                <c:pt idx="1">
                  <c:v>74227</c:v>
                </c:pt>
                <c:pt idx="2">
                  <c:v>43117</c:v>
                </c:pt>
                <c:pt idx="3">
                  <c:v>25119</c:v>
                </c:pt>
                <c:pt idx="4">
                  <c:v>21505</c:v>
                </c:pt>
                <c:pt idx="5">
                  <c:v>16671</c:v>
                </c:pt>
                <c:pt idx="6">
                  <c:v>23862</c:v>
                </c:pt>
                <c:pt idx="7">
                  <c:v>12269</c:v>
                </c:pt>
                <c:pt idx="8">
                  <c:v>16006</c:v>
                </c:pt>
                <c:pt idx="9">
                  <c:v>13388</c:v>
                </c:pt>
                <c:pt idx="10">
                  <c:v>10393</c:v>
                </c:pt>
                <c:pt idx="11">
                  <c:v>3030</c:v>
                </c:pt>
                <c:pt idx="12">
                  <c:v>672</c:v>
                </c:pt>
                <c:pt idx="13">
                  <c:v>265</c:v>
                </c:pt>
                <c:pt idx="14">
                  <c:v>266</c:v>
                </c:pt>
                <c:pt idx="15">
                  <c:v>131</c:v>
                </c:pt>
                <c:pt idx="16">
                  <c:v>55</c:v>
                </c:pt>
                <c:pt idx="17">
                  <c:v>36</c:v>
                </c:pt>
                <c:pt idx="18">
                  <c:v>43</c:v>
                </c:pt>
                <c:pt idx="19">
                  <c:v>35</c:v>
                </c:pt>
                <c:pt idx="20">
                  <c:v>35</c:v>
                </c:pt>
                <c:pt idx="21">
                  <c:v>22</c:v>
                </c:pt>
                <c:pt idx="22">
                  <c:v>12</c:v>
                </c:pt>
                <c:pt idx="23">
                  <c:v>0</c:v>
                </c:pt>
                <c:pt idx="24">
                  <c:v>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2.1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7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0.6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pr-22</c:v>
                </c:pt>
                <c:pt idx="1">
                  <c:v>May-22</c:v>
                </c:pt>
                <c:pt idx="2">
                  <c:v>Jun-22</c:v>
                </c:pt>
                <c:pt idx="3">
                  <c:v>Jul-22</c:v>
                </c:pt>
                <c:pt idx="4">
                  <c:v>Aug-22</c:v>
                </c:pt>
                <c:pt idx="5">
                  <c:v>Sep-22</c:v>
                </c:pt>
                <c:pt idx="6">
                  <c:v>Oct-22</c:v>
                </c:pt>
                <c:pt idx="7">
                  <c:v>Nov-22</c:v>
                </c:pt>
                <c:pt idx="8">
                  <c:v>Dec-22</c:v>
                </c:pt>
                <c:pt idx="9">
                  <c:v>Jan-23</c:v>
                </c:pt>
                <c:pt idx="10">
                  <c:v>Feb-23</c:v>
                </c:pt>
                <c:pt idx="11">
                  <c:v>Mar-23</c:v>
                </c:pt>
                <c:pt idx="12">
                  <c:v>Apr-23</c:v>
                </c:pt>
                <c:pt idx="13">
                  <c:v>May-23</c:v>
                </c:pt>
                <c:pt idx="14">
                  <c:v>Jun-23</c:v>
                </c:pt>
                <c:pt idx="15">
                  <c:v>Jul-23</c:v>
                </c:pt>
                <c:pt idx="16">
                  <c:v>Aug-23</c:v>
                </c:pt>
                <c:pt idx="17">
                  <c:v>Sep-23</c:v>
                </c:pt>
                <c:pt idx="18">
                  <c:v>Oct-23</c:v>
                </c:pt>
                <c:pt idx="19">
                  <c:v>Nov-23</c:v>
                </c:pt>
                <c:pt idx="20">
                  <c:v>Dec-23</c:v>
                </c:pt>
                <c:pt idx="21">
                  <c:v>Jan-24</c:v>
                </c:pt>
                <c:pt idx="22">
                  <c:v>Feb-24</c:v>
                </c:pt>
                <c:pt idx="23">
                  <c:v>Mar-24</c:v>
                </c:pt>
                <c:pt idx="24">
                  <c:v>May-24</c:v>
                </c:pt>
              </c:strCache>
            </c:strRef>
          </c:cat>
          <c:val>
            <c:numRef>
              <c:f>Sheet1!$C$2:$C$26</c:f>
              <c:numCache>
                <c:formatCode>General</c:formatCode>
                <c:ptCount val="25"/>
                <c:pt idx="0">
                  <c:v>2.13</c:v>
                </c:pt>
                <c:pt idx="1">
                  <c:v>2.05</c:v>
                </c:pt>
                <c:pt idx="2">
                  <c:v>2.28</c:v>
                </c:pt>
                <c:pt idx="3">
                  <c:v>2.32</c:v>
                </c:pt>
                <c:pt idx="4">
                  <c:v>2.35</c:v>
                </c:pt>
                <c:pt idx="5">
                  <c:v>2.36</c:v>
                </c:pt>
                <c:pt idx="6">
                  <c:v>2.23</c:v>
                </c:pt>
                <c:pt idx="7">
                  <c:v>2.35</c:v>
                </c:pt>
                <c:pt idx="8">
                  <c:v>2.33</c:v>
                </c:pt>
                <c:pt idx="9">
                  <c:v>2.31</c:v>
                </c:pt>
                <c:pt idx="10">
                  <c:v>2.24</c:v>
                </c:pt>
                <c:pt idx="11">
                  <c:v>2.29</c:v>
                </c:pt>
                <c:pt idx="12">
                  <c:v>2.14</c:v>
                </c:pt>
                <c:pt idx="13">
                  <c:v>1.79</c:v>
                </c:pt>
                <c:pt idx="14">
                  <c:v>1.87</c:v>
                </c:pt>
                <c:pt idx="15">
                  <c:v>1.85</c:v>
                </c:pt>
                <c:pt idx="16">
                  <c:v>2.39</c:v>
                </c:pt>
                <c:pt idx="17">
                  <c:v>1.89</c:v>
                </c:pt>
                <c:pt idx="18">
                  <c:v>2.26</c:v>
                </c:pt>
                <c:pt idx="19">
                  <c:v>2.06</c:v>
                </c:pt>
                <c:pt idx="20">
                  <c:v>2.06</c:v>
                </c:pt>
                <c:pt idx="21">
                  <c:v>2.2</c:v>
                </c:pt>
                <c:pt idx="22">
                  <c:v>0.67</c:v>
                </c:pt>
                <c:pt idx="23">
                  <c:v>0.0</c:v>
                </c:pt>
                <c:pt idx="24">
                  <c:v>0.6</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5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1</c:v>
                </c:pt>
                <c:pt idx="2">
                  <c:v>94</c:v>
                </c:pt>
                <c:pt idx="3">
                  <c:v>86</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26</c:v>
                </c:pt>
                <c:pt idx="2">
                  <c:v>120</c:v>
                </c:pt>
                <c:pt idx="3">
                  <c:v>146</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87</c:v>
                </c:pt>
                <c:pt idx="2">
                  <c:v>84</c:v>
                </c:pt>
                <c:pt idx="3">
                  <c:v>54</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89</c:v>
                </c:pt>
                <c:pt idx="2">
                  <c:v>100</c:v>
                </c:pt>
                <c:pt idx="3">
                  <c:v>105</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5</c:v>
                </c:pt>
                <c:pt idx="2">
                  <c:v>208</c:v>
                </c:pt>
                <c:pt idx="3">
                  <c:v>165</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249.6"/>
          <c:min val="43.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20</c:v>
                </c:pt>
                <c:pt idx="2">
                  <c:v>133</c:v>
                </c:pt>
                <c:pt idx="3">
                  <c:v>134</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11</c:v>
                </c:pt>
                <c:pt idx="2">
                  <c:v>118</c:v>
                </c:pt>
                <c:pt idx="3">
                  <c:v>115</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1</c:v>
                </c:pt>
                <c:pt idx="2">
                  <c:v>112</c:v>
                </c:pt>
                <c:pt idx="3">
                  <c:v>117</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4</c:v>
                </c:pt>
                <c:pt idx="2">
                  <c:v>123</c:v>
                </c:pt>
                <c:pt idx="3">
                  <c:v>124</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23</c:v>
                </c:pt>
                <c:pt idx="2">
                  <c:v>132</c:v>
                </c:pt>
                <c:pt idx="3">
                  <c:v>126</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3</c:v>
                </c:pt>
                <c:pt idx="2">
                  <c:v>99</c:v>
                </c:pt>
                <c:pt idx="3">
                  <c:v>101</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60.79999999999998"/>
          <c:min val="79.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Intuition</c:v>
                </c:pt>
              </c:strCache>
            </c:strRef>
          </c:tx>
          <c:spPr>
            <a:ln w="19050" cap="rnd">
              <a:solidFill>
                <a:srgbClr val="FFBFB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20.0"/>
          <c:min val="8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3</c:v>
                </c:pt>
                <c:pt idx="2">
                  <c:v>108</c:v>
                </c:pt>
                <c:pt idx="3">
                  <c:v>111</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Intuition</c:v>
                </c:pt>
              </c:strCache>
            </c:strRef>
          </c:tx>
          <c:spPr>
            <a:ln w="19050" cap="rnd">
              <a:solidFill>
                <a:srgbClr val="FFBFB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3</c:v>
                </c:pt>
                <c:pt idx="2">
                  <c:v>108</c:v>
                </c:pt>
                <c:pt idx="3">
                  <c:v>111</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33.2"/>
          <c:min val="8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ilky Touch</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2</c:v>
                </c:pt>
                <c:pt idx="2">
                  <c:v>91</c:v>
                </c:pt>
                <c:pt idx="3">
                  <c:v>92</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Bic Solei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5</c:v>
                </c:pt>
                <c:pt idx="2">
                  <c:v>100</c:v>
                </c:pt>
                <c:pt idx="3">
                  <c:v>89</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88</c:v>
                </c:pt>
                <c:pt idx="2">
                  <c:v>88</c:v>
                </c:pt>
                <c:pt idx="3">
                  <c:v>94</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Hydro Silk</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3</c:v>
                </c:pt>
                <c:pt idx="2">
                  <c:v>79</c:v>
                </c:pt>
                <c:pt idx="3">
                  <c:v>77</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Intuition</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7</c:v>
                </c:pt>
                <c:pt idx="2">
                  <c:v>37</c:v>
                </c:pt>
                <c:pt idx="3">
                  <c:v>4</c:v>
                </c:pt>
              </c:numCache>
            </c:numRef>
          </c:val>
          <c:smooth val="0"/>
          <c:extLst>
            <c:ext xmlns:c16="http://schemas.microsoft.com/office/drawing/2014/chart" uri="{C3380CC4-5D6E-409C-BE32-E72D297353CC}">
              <c16:uniqueId val="{00000007-0907-1A4C-A11F-73C2425749BA}"/>
            </c:ext>
          </c:extLst>
        </c:ser>
        <c:ser>
          <c:idx val="9"/>
          <c:order val="6"/>
          <c:tx>
            <c:strRef>
              <c:f>Sheet1!$H$1</c:f>
              <c:strCache>
                <c:ptCount val="1"/>
                <c:pt idx="0">
                  <c:v>Joy</c:v>
                </c:pt>
              </c:strCache>
            </c:strRef>
          </c:tx>
          <c:spPr>
            <a:ln w="19050" cap="rnd">
              <a:solidFill>
                <a:srgbClr val="FFFF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89</c:v>
                </c:pt>
                <c:pt idx="2">
                  <c:v>78</c:v>
                </c:pt>
                <c:pt idx="3">
                  <c:v>73</c:v>
                </c:pt>
              </c:numCache>
            </c:numRef>
          </c:val>
          <c:smooth val="0"/>
          <c:extLst>
            <c:ext xmlns:c16="http://schemas.microsoft.com/office/drawing/2014/chart" uri="{C3380CC4-5D6E-409C-BE32-E72D297353CC}">
              <c16:uniqueId val="{00000007-0907-1A4C-A11F-73C2425749BA}"/>
            </c:ext>
          </c:extLst>
        </c:ser>
        <c:ser>
          <c:idx val="10"/>
          <c:order val="7"/>
          <c:tx>
            <c:strRef>
              <c:f>Sheet1!$I$1</c:f>
              <c:strCache>
                <c:ptCount val="1"/>
                <c:pt idx="0">
                  <c:v>Pbg Pl</c:v>
                </c:pt>
              </c:strCache>
            </c:strRef>
          </c:tx>
          <c:spPr>
            <a:ln w="19050" cap="rnd">
              <a:solidFill>
                <a:srgbClr val="00206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I$2:$I$5</c:f>
              <c:numCache>
                <c:formatCode>General</c:formatCode>
                <c:ptCount val="4"/>
                <c:pt idx="0">
                  <c:v>100</c:v>
                </c:pt>
                <c:pt idx="1">
                  <c:v>95</c:v>
                </c:pt>
                <c:pt idx="2">
                  <c:v>115</c:v>
                </c:pt>
                <c:pt idx="3">
                  <c:v>117</c:v>
                </c:pt>
              </c:numCache>
            </c:numRef>
          </c:val>
          <c:smooth val="0"/>
          <c:extLst>
            <c:ext xmlns:c16="http://schemas.microsoft.com/office/drawing/2014/chart" uri="{C3380CC4-5D6E-409C-BE32-E72D297353CC}">
              <c16:uniqueId val="{00000007-0907-1A4C-A11F-73C2425749BA}"/>
            </c:ext>
          </c:extLst>
        </c:ser>
        <c:ser>
          <c:idx val="11"/>
          <c:order val="8"/>
          <c:tx>
            <c:strRef>
              <c:f>Sheet1!$J$1</c:f>
              <c:strCache>
                <c:ptCount val="1"/>
                <c:pt idx="0">
                  <c:v>Skintimate</c:v>
                </c:pt>
              </c:strCache>
            </c:strRef>
          </c:tx>
          <c:spPr>
            <a:ln w="19050" cap="rnd">
              <a:solidFill>
                <a:srgbClr val="6DA5C9"/>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J$2:$J$5</c:f>
              <c:numCache>
                <c:formatCode>General</c:formatCode>
                <c:ptCount val="4"/>
                <c:pt idx="0">
                  <c:v>100</c:v>
                </c:pt>
                <c:pt idx="1">
                  <c:v>49</c:v>
                </c:pt>
                <c:pt idx="2">
                  <c:v>26</c:v>
                </c:pt>
                <c:pt idx="3">
                  <c:v>1</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40.4"/>
          <c:min val="0.8"/>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8</c:v>
                </c:pt>
                <c:pt idx="2">
                  <c:v>111</c:v>
                </c:pt>
                <c:pt idx="3">
                  <c:v>112</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ilky Touch</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1</c:v>
                </c:pt>
                <c:pt idx="2">
                  <c:v>98</c:v>
                </c:pt>
                <c:pt idx="3">
                  <c:v>96</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Bic Solei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6</c:v>
                </c:pt>
                <c:pt idx="2">
                  <c:v>105</c:v>
                </c:pt>
                <c:pt idx="3">
                  <c:v>105</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89</c:v>
                </c:pt>
                <c:pt idx="2">
                  <c:v>85</c:v>
                </c:pt>
                <c:pt idx="3">
                  <c:v>87</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Hydro Silk</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5</c:v>
                </c:pt>
                <c:pt idx="2">
                  <c:v>112</c:v>
                </c:pt>
                <c:pt idx="3">
                  <c:v>108</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Intuition</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58</c:v>
                </c:pt>
                <c:pt idx="2">
                  <c:v>43</c:v>
                </c:pt>
                <c:pt idx="3">
                  <c:v>20</c:v>
                </c:pt>
              </c:numCache>
            </c:numRef>
          </c:val>
          <c:smooth val="0"/>
          <c:extLst>
            <c:ext xmlns:c16="http://schemas.microsoft.com/office/drawing/2014/chart" uri="{C3380CC4-5D6E-409C-BE32-E72D297353CC}">
              <c16:uniqueId val="{00000003-F160-FB4E-B9E2-3D36233077E3}"/>
            </c:ext>
          </c:extLst>
        </c:ser>
        <c:ser>
          <c:idx val="9"/>
          <c:order val="6"/>
          <c:tx>
            <c:strRef>
              <c:f>Sheet1!$H$1</c:f>
              <c:strCache>
                <c:ptCount val="1"/>
                <c:pt idx="0">
                  <c:v>Joy</c:v>
                </c:pt>
              </c:strCache>
            </c:strRef>
          </c:tx>
          <c:spPr>
            <a:ln w="19050" cap="rnd">
              <a:solidFill>
                <a:srgbClr val="FFFF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96</c:v>
                </c:pt>
                <c:pt idx="2">
                  <c:v>104</c:v>
                </c:pt>
                <c:pt idx="3">
                  <c:v>111</c:v>
                </c:pt>
              </c:numCache>
            </c:numRef>
          </c:val>
          <c:smooth val="0"/>
          <c:extLst>
            <c:ext xmlns:c16="http://schemas.microsoft.com/office/drawing/2014/chart" uri="{C3380CC4-5D6E-409C-BE32-E72D297353CC}">
              <c16:uniqueId val="{00000003-F160-FB4E-B9E2-3D36233077E3}"/>
            </c:ext>
          </c:extLst>
        </c:ser>
        <c:ser>
          <c:idx val="10"/>
          <c:order val="7"/>
          <c:tx>
            <c:strRef>
              <c:f>Sheet1!$I$1</c:f>
              <c:strCache>
                <c:ptCount val="1"/>
                <c:pt idx="0">
                  <c:v>Pbg Pl</c:v>
                </c:pt>
              </c:strCache>
            </c:strRef>
          </c:tx>
          <c:spPr>
            <a:ln w="19050" cap="rnd">
              <a:solidFill>
                <a:srgbClr val="00206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I$2:$I$5</c:f>
              <c:numCache>
                <c:formatCode>General</c:formatCode>
                <c:ptCount val="4"/>
                <c:pt idx="0">
                  <c:v>100</c:v>
                </c:pt>
                <c:pt idx="1">
                  <c:v>117</c:v>
                </c:pt>
                <c:pt idx="2">
                  <c:v>148</c:v>
                </c:pt>
                <c:pt idx="3">
                  <c:v>161</c:v>
                </c:pt>
              </c:numCache>
            </c:numRef>
          </c:val>
          <c:smooth val="0"/>
          <c:extLst>
            <c:ext xmlns:c16="http://schemas.microsoft.com/office/drawing/2014/chart" uri="{C3380CC4-5D6E-409C-BE32-E72D297353CC}">
              <c16:uniqueId val="{00000003-F160-FB4E-B9E2-3D36233077E3}"/>
            </c:ext>
          </c:extLst>
        </c:ser>
        <c:ser>
          <c:idx val="11"/>
          <c:order val="8"/>
          <c:tx>
            <c:strRef>
              <c:f>Sheet1!$J$1</c:f>
              <c:strCache>
                <c:ptCount val="1"/>
                <c:pt idx="0">
                  <c:v>Skintimate</c:v>
                </c:pt>
              </c:strCache>
            </c:strRef>
          </c:tx>
          <c:spPr>
            <a:ln w="19050" cap="rnd">
              <a:solidFill>
                <a:srgbClr val="6DA5C9"/>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J$2:$J$5</c:f>
              <c:numCache>
                <c:formatCode>General</c:formatCode>
                <c:ptCount val="4"/>
                <c:pt idx="0">
                  <c:v>100</c:v>
                </c:pt>
                <c:pt idx="1">
                  <c:v>87</c:v>
                </c:pt>
                <c:pt idx="2">
                  <c:v>87</c:v>
                </c:pt>
                <c:pt idx="3">
                  <c:v>56</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93.2"/>
          <c:min val="16.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Evribeauty</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43</c:v>
                </c:pt>
                <c:pt idx="2">
                  <c:v>47</c:v>
                </c:pt>
                <c:pt idx="3">
                  <c:v>52</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Hydro Silk</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35</c:v>
                </c:pt>
                <c:pt idx="2">
                  <c:v>154</c:v>
                </c:pt>
                <c:pt idx="3">
                  <c:v>161</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Rem P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66</c:v>
                </c:pt>
                <c:pt idx="2">
                  <c:v>55</c:v>
                </c:pt>
                <c:pt idx="3">
                  <c:v>6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Revlon</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10</c:v>
                </c:pt>
                <c:pt idx="2">
                  <c:v>121</c:v>
                </c:pt>
                <c:pt idx="3">
                  <c:v>167</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Universal Razor</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964</c:v>
                </c:pt>
                <c:pt idx="2">
                  <c:v>1915</c:v>
                </c:pt>
                <c:pt idx="3">
                  <c:v>2308</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2769.6"/>
          <c:min val="34.4"/>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23</c:v>
                </c:pt>
                <c:pt idx="2">
                  <c:v>123</c:v>
                </c:pt>
                <c:pt idx="3">
                  <c:v>118</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Evribeauty</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4</c:v>
                </c:pt>
                <c:pt idx="2">
                  <c:v>107</c:v>
                </c:pt>
                <c:pt idx="3">
                  <c:v>99</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Hydro Silk</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32</c:v>
                </c:pt>
                <c:pt idx="2">
                  <c:v>24</c:v>
                </c:pt>
                <c:pt idx="3">
                  <c:v>22</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Rem Pl</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2</c:v>
                </c:pt>
                <c:pt idx="2">
                  <c:v>102</c:v>
                </c:pt>
                <c:pt idx="3">
                  <c:v>102</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Revlon</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6</c:v>
                </c:pt>
                <c:pt idx="2">
                  <c:v>114</c:v>
                </c:pt>
                <c:pt idx="3">
                  <c:v>12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Universal Razor</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4</c:v>
                </c:pt>
                <c:pt idx="2">
                  <c:v>104</c:v>
                </c:pt>
                <c:pt idx="3">
                  <c:v>105</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7.6"/>
          <c:min val="17.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14</c:v>
                </c:pt>
                <c:pt idx="2">
                  <c:v>113</c:v>
                </c:pt>
                <c:pt idx="3">
                  <c:v>122</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10</c:v>
                </c:pt>
                <c:pt idx="2">
                  <c:v>112</c:v>
                </c:pt>
                <c:pt idx="3">
                  <c:v>119</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7</c:v>
                </c:pt>
                <c:pt idx="2">
                  <c:v>85</c:v>
                </c:pt>
                <c:pt idx="3">
                  <c:v>64</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5</c:v>
                </c:pt>
                <c:pt idx="2">
                  <c:v>94</c:v>
                </c:pt>
                <c:pt idx="3">
                  <c:v>94</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92</c:v>
                </c:pt>
                <c:pt idx="2">
                  <c:v>200</c:v>
                </c:pt>
                <c:pt idx="3">
                  <c:v>211</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253.2"/>
          <c:min val="51.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16</c:v>
                </c:pt>
                <c:pt idx="2">
                  <c:v>125</c:v>
                </c:pt>
                <c:pt idx="3">
                  <c:v>125</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1</c:v>
                </c:pt>
                <c:pt idx="2">
                  <c:v>106</c:v>
                </c:pt>
                <c:pt idx="3">
                  <c:v>111</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5</c:v>
                </c:pt>
                <c:pt idx="2">
                  <c:v>115</c:v>
                </c:pt>
                <c:pt idx="3">
                  <c:v>12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0</c:v>
                </c:pt>
                <c:pt idx="2">
                  <c:v>119</c:v>
                </c:pt>
                <c:pt idx="3">
                  <c:v>119</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15</c:v>
                </c:pt>
                <c:pt idx="2">
                  <c:v>122</c:v>
                </c:pt>
                <c:pt idx="3">
                  <c:v>119</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5</c:v>
                </c:pt>
                <c:pt idx="2">
                  <c:v>97</c:v>
                </c:pt>
                <c:pt idx="3">
                  <c:v>101</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0.0"/>
          <c:min val="77.6000000000000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475,73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269,40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2,657,56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2475731</c:v>
                </c:pt>
                <c:pt idx="1">
                  <c:v>1956377</c:v>
                </c:pt>
                <c:pt idx="2">
                  <c:v>1877820</c:v>
                </c:pt>
                <c:pt idx="3">
                  <c:v>1785862</c:v>
                </c:pt>
                <c:pt idx="4">
                  <c:v>2218461</c:v>
                </c:pt>
                <c:pt idx="5">
                  <c:v>1830323</c:v>
                </c:pt>
                <c:pt idx="6">
                  <c:v>1982282</c:v>
                </c:pt>
                <c:pt idx="7">
                  <c:v>3092193</c:v>
                </c:pt>
                <c:pt idx="8">
                  <c:v>2481281</c:v>
                </c:pt>
                <c:pt idx="9">
                  <c:v>3379661</c:v>
                </c:pt>
                <c:pt idx="10">
                  <c:v>3174981</c:v>
                </c:pt>
                <c:pt idx="11">
                  <c:v>2931797</c:v>
                </c:pt>
                <c:pt idx="12">
                  <c:v>2724852</c:v>
                </c:pt>
                <c:pt idx="13">
                  <c:v>2269409</c:v>
                </c:pt>
                <c:pt idx="14">
                  <c:v>1985029</c:v>
                </c:pt>
                <c:pt idx="15">
                  <c:v>1819241</c:v>
                </c:pt>
                <c:pt idx="16">
                  <c:v>2138406</c:v>
                </c:pt>
                <c:pt idx="17">
                  <c:v>1729885</c:v>
                </c:pt>
                <c:pt idx="18">
                  <c:v>1797903</c:v>
                </c:pt>
                <c:pt idx="19">
                  <c:v>2068839</c:v>
                </c:pt>
                <c:pt idx="20">
                  <c:v>2175393</c:v>
                </c:pt>
                <c:pt idx="21">
                  <c:v>2301775</c:v>
                </c:pt>
                <c:pt idx="22">
                  <c:v>2493337</c:v>
                </c:pt>
                <c:pt idx="23">
                  <c:v>2843229</c:v>
                </c:pt>
                <c:pt idx="24">
                  <c:v>2657565</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6.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7.2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6.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6.64</c:v>
                </c:pt>
                <c:pt idx="1">
                  <c:v>6.95</c:v>
                </c:pt>
                <c:pt idx="2">
                  <c:v>6.6</c:v>
                </c:pt>
                <c:pt idx="3">
                  <c:v>6.64</c:v>
                </c:pt>
                <c:pt idx="4">
                  <c:v>6.77</c:v>
                </c:pt>
                <c:pt idx="5">
                  <c:v>6.64</c:v>
                </c:pt>
                <c:pt idx="6">
                  <c:v>6.36</c:v>
                </c:pt>
                <c:pt idx="7">
                  <c:v>6.59</c:v>
                </c:pt>
                <c:pt idx="8">
                  <c:v>6.98</c:v>
                </c:pt>
                <c:pt idx="9">
                  <c:v>6.75</c:v>
                </c:pt>
                <c:pt idx="10">
                  <c:v>6.73</c:v>
                </c:pt>
                <c:pt idx="11">
                  <c:v>6.98</c:v>
                </c:pt>
                <c:pt idx="12">
                  <c:v>6.53</c:v>
                </c:pt>
                <c:pt idx="13">
                  <c:v>7.25</c:v>
                </c:pt>
                <c:pt idx="14">
                  <c:v>6.66</c:v>
                </c:pt>
                <c:pt idx="15">
                  <c:v>6.74</c:v>
                </c:pt>
                <c:pt idx="16">
                  <c:v>6.69</c:v>
                </c:pt>
                <c:pt idx="17">
                  <c:v>6.84</c:v>
                </c:pt>
                <c:pt idx="18">
                  <c:v>6.36</c:v>
                </c:pt>
                <c:pt idx="19">
                  <c:v>6.4</c:v>
                </c:pt>
                <c:pt idx="20">
                  <c:v>6.26</c:v>
                </c:pt>
                <c:pt idx="21">
                  <c:v>6.07</c:v>
                </c:pt>
                <c:pt idx="22">
                  <c:v>6.26</c:v>
                </c:pt>
                <c:pt idx="23">
                  <c:v>6.2</c:v>
                </c:pt>
                <c:pt idx="24">
                  <c:v>6.06</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5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Intuition</c:v>
                </c:pt>
              </c:strCache>
            </c:strRef>
          </c:tx>
          <c:spPr>
            <a:ln w="19050" cap="rnd">
              <a:solidFill>
                <a:srgbClr val="FFBFB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20.0"/>
          <c:min val="8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8</c:v>
                </c:pt>
                <c:pt idx="2">
                  <c:v>117</c:v>
                </c:pt>
                <c:pt idx="3">
                  <c:v>116</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Intuition</c:v>
                </c:pt>
              </c:strCache>
            </c:strRef>
          </c:tx>
          <c:spPr>
            <a:ln w="19050" cap="rnd">
              <a:solidFill>
                <a:srgbClr val="FFBFB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8</c:v>
                </c:pt>
                <c:pt idx="2">
                  <c:v>117</c:v>
                </c:pt>
                <c:pt idx="3">
                  <c:v>116</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0.4"/>
          <c:min val="8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ilky Touch</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5</c:v>
                </c:pt>
                <c:pt idx="2">
                  <c:v>96</c:v>
                </c:pt>
                <c:pt idx="3">
                  <c:v>10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Bic Solei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27</c:v>
                </c:pt>
                <c:pt idx="2">
                  <c:v>133</c:v>
                </c:pt>
                <c:pt idx="3">
                  <c:v>102</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1</c:v>
                </c:pt>
                <c:pt idx="2">
                  <c:v>93</c:v>
                </c:pt>
                <c:pt idx="3">
                  <c:v>98</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Hydro Silk</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72</c:v>
                </c:pt>
                <c:pt idx="2">
                  <c:v>66</c:v>
                </c:pt>
                <c:pt idx="3">
                  <c:v>62</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Intuition</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32</c:v>
                </c:pt>
                <c:pt idx="2">
                  <c:v>100</c:v>
                </c:pt>
                <c:pt idx="3">
                  <c:v>109</c:v>
                </c:pt>
              </c:numCache>
            </c:numRef>
          </c:val>
          <c:smooth val="0"/>
          <c:extLst>
            <c:ext xmlns:c16="http://schemas.microsoft.com/office/drawing/2014/chart" uri="{C3380CC4-5D6E-409C-BE32-E72D297353CC}">
              <c16:uniqueId val="{00000007-0907-1A4C-A11F-73C2425749BA}"/>
            </c:ext>
          </c:extLst>
        </c:ser>
        <c:ser>
          <c:idx val="9"/>
          <c:order val="6"/>
          <c:tx>
            <c:strRef>
              <c:f>Sheet1!$H$1</c:f>
              <c:strCache>
                <c:ptCount val="1"/>
                <c:pt idx="0">
                  <c:v>Joy</c:v>
                </c:pt>
              </c:strCache>
            </c:strRef>
          </c:tx>
          <c:spPr>
            <a:ln w="19050" cap="rnd">
              <a:solidFill>
                <a:srgbClr val="FFFF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87</c:v>
                </c:pt>
                <c:pt idx="2">
                  <c:v>76</c:v>
                </c:pt>
                <c:pt idx="3">
                  <c:v>70</c:v>
                </c:pt>
              </c:numCache>
            </c:numRef>
          </c:val>
          <c:smooth val="0"/>
          <c:extLst>
            <c:ext xmlns:c16="http://schemas.microsoft.com/office/drawing/2014/chart" uri="{C3380CC4-5D6E-409C-BE32-E72D297353CC}">
              <c16:uniqueId val="{00000007-0907-1A4C-A11F-73C2425749BA}"/>
            </c:ext>
          </c:extLst>
        </c:ser>
        <c:ser>
          <c:idx val="10"/>
          <c:order val="7"/>
          <c:tx>
            <c:strRef>
              <c:f>Sheet1!$I$1</c:f>
              <c:strCache>
                <c:ptCount val="1"/>
                <c:pt idx="0">
                  <c:v>Pbg Pl</c:v>
                </c:pt>
              </c:strCache>
            </c:strRef>
          </c:tx>
          <c:spPr>
            <a:ln w="19050" cap="rnd">
              <a:solidFill>
                <a:srgbClr val="00206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I$2:$I$5</c:f>
              <c:numCache>
                <c:formatCode>General</c:formatCode>
                <c:ptCount val="4"/>
                <c:pt idx="0">
                  <c:v>100</c:v>
                </c:pt>
                <c:pt idx="1">
                  <c:v>89</c:v>
                </c:pt>
                <c:pt idx="2">
                  <c:v>91</c:v>
                </c:pt>
                <c:pt idx="3">
                  <c:v>97</c:v>
                </c:pt>
              </c:numCache>
            </c:numRef>
          </c:val>
          <c:smooth val="0"/>
          <c:extLst>
            <c:ext xmlns:c16="http://schemas.microsoft.com/office/drawing/2014/chart" uri="{C3380CC4-5D6E-409C-BE32-E72D297353CC}">
              <c16:uniqueId val="{00000007-0907-1A4C-A11F-73C2425749BA}"/>
            </c:ext>
          </c:extLst>
        </c:ser>
        <c:ser>
          <c:idx val="11"/>
          <c:order val="8"/>
          <c:tx>
            <c:strRef>
              <c:f>Sheet1!$J$1</c:f>
              <c:strCache>
                <c:ptCount val="1"/>
                <c:pt idx="0">
                  <c:v>Skintimate</c:v>
                </c:pt>
              </c:strCache>
            </c:strRef>
          </c:tx>
          <c:spPr>
            <a:ln w="19050" cap="rnd">
              <a:solidFill>
                <a:srgbClr val="6DA5C9"/>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J$2:$J$5</c:f>
              <c:numCache>
                <c:formatCode>General</c:formatCode>
                <c:ptCount val="4"/>
                <c:pt idx="0">
                  <c:v>100</c:v>
                </c:pt>
                <c:pt idx="1">
                  <c:v>25</c:v>
                </c:pt>
                <c:pt idx="2">
                  <c:v>8</c:v>
                </c:pt>
                <c:pt idx="3">
                  <c:v>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59.6"/>
          <c:min val="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8</c:v>
                </c:pt>
                <c:pt idx="2">
                  <c:v>111</c:v>
                </c:pt>
                <c:pt idx="3">
                  <c:v>112</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ilky Touch</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1</c:v>
                </c:pt>
                <c:pt idx="2">
                  <c:v>99</c:v>
                </c:pt>
                <c:pt idx="3">
                  <c:v>96</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Bic Solei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5</c:v>
                </c:pt>
                <c:pt idx="2">
                  <c:v>120</c:v>
                </c:pt>
                <c:pt idx="3">
                  <c:v>128</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4</c:v>
                </c:pt>
                <c:pt idx="2">
                  <c:v>89</c:v>
                </c:pt>
                <c:pt idx="3">
                  <c:v>92</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Hydro Silk</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5</c:v>
                </c:pt>
                <c:pt idx="2">
                  <c:v>93</c:v>
                </c:pt>
                <c:pt idx="3">
                  <c:v>9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Intuition</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85</c:v>
                </c:pt>
                <c:pt idx="2">
                  <c:v>97</c:v>
                </c:pt>
                <c:pt idx="3">
                  <c:v>101</c:v>
                </c:pt>
              </c:numCache>
            </c:numRef>
          </c:val>
          <c:smooth val="0"/>
          <c:extLst>
            <c:ext xmlns:c16="http://schemas.microsoft.com/office/drawing/2014/chart" uri="{C3380CC4-5D6E-409C-BE32-E72D297353CC}">
              <c16:uniqueId val="{00000003-F160-FB4E-B9E2-3D36233077E3}"/>
            </c:ext>
          </c:extLst>
        </c:ser>
        <c:ser>
          <c:idx val="9"/>
          <c:order val="6"/>
          <c:tx>
            <c:strRef>
              <c:f>Sheet1!$H$1</c:f>
              <c:strCache>
                <c:ptCount val="1"/>
                <c:pt idx="0">
                  <c:v>Joy</c:v>
                </c:pt>
              </c:strCache>
            </c:strRef>
          </c:tx>
          <c:spPr>
            <a:ln w="19050" cap="rnd">
              <a:solidFill>
                <a:srgbClr val="FFFF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105</c:v>
                </c:pt>
                <c:pt idx="2">
                  <c:v>115</c:v>
                </c:pt>
                <c:pt idx="3">
                  <c:v>114</c:v>
                </c:pt>
              </c:numCache>
            </c:numRef>
          </c:val>
          <c:smooth val="0"/>
          <c:extLst>
            <c:ext xmlns:c16="http://schemas.microsoft.com/office/drawing/2014/chart" uri="{C3380CC4-5D6E-409C-BE32-E72D297353CC}">
              <c16:uniqueId val="{00000003-F160-FB4E-B9E2-3D36233077E3}"/>
            </c:ext>
          </c:extLst>
        </c:ser>
        <c:ser>
          <c:idx val="10"/>
          <c:order val="7"/>
          <c:tx>
            <c:strRef>
              <c:f>Sheet1!$I$1</c:f>
              <c:strCache>
                <c:ptCount val="1"/>
                <c:pt idx="0">
                  <c:v>Pbg Pl</c:v>
                </c:pt>
              </c:strCache>
            </c:strRef>
          </c:tx>
          <c:spPr>
            <a:ln w="19050" cap="rnd">
              <a:solidFill>
                <a:srgbClr val="00206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I$2:$I$5</c:f>
              <c:numCache>
                <c:formatCode>General</c:formatCode>
                <c:ptCount val="4"/>
                <c:pt idx="0">
                  <c:v>100</c:v>
                </c:pt>
                <c:pt idx="1">
                  <c:v>104</c:v>
                </c:pt>
                <c:pt idx="2">
                  <c:v>117</c:v>
                </c:pt>
                <c:pt idx="3">
                  <c:v>127</c:v>
                </c:pt>
              </c:numCache>
            </c:numRef>
          </c:val>
          <c:smooth val="0"/>
          <c:extLst>
            <c:ext xmlns:c16="http://schemas.microsoft.com/office/drawing/2014/chart" uri="{C3380CC4-5D6E-409C-BE32-E72D297353CC}">
              <c16:uniqueId val="{00000003-F160-FB4E-B9E2-3D36233077E3}"/>
            </c:ext>
          </c:extLst>
        </c:ser>
        <c:ser>
          <c:idx val="11"/>
          <c:order val="8"/>
          <c:tx>
            <c:strRef>
              <c:f>Sheet1!$J$1</c:f>
              <c:strCache>
                <c:ptCount val="1"/>
                <c:pt idx="0">
                  <c:v>Skintimate</c:v>
                </c:pt>
              </c:strCache>
            </c:strRef>
          </c:tx>
          <c:spPr>
            <a:ln w="19050" cap="rnd">
              <a:solidFill>
                <a:srgbClr val="6DA5C9"/>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J$2:$J$5</c:f>
              <c:numCache>
                <c:formatCode>General</c:formatCode>
                <c:ptCount val="4"/>
                <c:pt idx="0">
                  <c:v>100</c:v>
                </c:pt>
                <c:pt idx="1">
                  <c:v>95</c:v>
                </c:pt>
                <c:pt idx="2">
                  <c:v>99</c:v>
                </c:pt>
                <c:pt idx="3">
                  <c:v>65</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3.6"/>
          <c:min val="52.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Evribeauty</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39</c:v>
                </c:pt>
                <c:pt idx="2">
                  <c:v>28</c:v>
                </c:pt>
                <c:pt idx="3">
                  <c:v>36</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Hydro Silk</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38</c:v>
                </c:pt>
                <c:pt idx="2">
                  <c:v>172</c:v>
                </c:pt>
                <c:pt idx="3">
                  <c:v>165</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Intuition</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27732765</c:v>
                </c:pt>
                <c:pt idx="2">
                  <c:v>22583781</c:v>
                </c:pt>
                <c:pt idx="3">
                  <c:v>12776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Rem Pl</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60</c:v>
                </c:pt>
                <c:pt idx="2">
                  <c:v>51</c:v>
                </c:pt>
                <c:pt idx="3">
                  <c:v>67</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Revlon</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81</c:v>
                </c:pt>
                <c:pt idx="2">
                  <c:v>68</c:v>
                </c:pt>
                <c:pt idx="3">
                  <c:v>102</c:v>
                </c:pt>
              </c:numCache>
            </c:numRef>
          </c:val>
          <c:smooth val="0"/>
          <c:extLst>
            <c:ext xmlns:c16="http://schemas.microsoft.com/office/drawing/2014/chart" uri="{C3380CC4-5D6E-409C-BE32-E72D297353CC}">
              <c16:uniqueId val="{00000007-0907-1A4C-A11F-73C2425749BA}"/>
            </c:ext>
          </c:extLst>
        </c:ser>
        <c:ser>
          <c:idx val="9"/>
          <c:order val="6"/>
          <c:tx>
            <c:strRef>
              <c:f>Sheet1!$H$1</c:f>
              <c:strCache>
                <c:ptCount val="1"/>
                <c:pt idx="0">
                  <c:v>Universal Razor</c:v>
                </c:pt>
              </c:strCache>
            </c:strRef>
          </c:tx>
          <c:spPr>
            <a:ln w="19050" cap="rnd">
              <a:solidFill>
                <a:srgbClr val="FFFF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125</c:v>
                </c:pt>
                <c:pt idx="2">
                  <c:v>120</c:v>
                </c:pt>
                <c:pt idx="3">
                  <c:v>136</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33279318.0"/>
          <c:min val="22.40000000000000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19</c:v>
                </c:pt>
                <c:pt idx="2">
                  <c:v>133</c:v>
                </c:pt>
                <c:pt idx="3">
                  <c:v>123</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Evribeauty</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4</c:v>
                </c:pt>
                <c:pt idx="2">
                  <c:v>107</c:v>
                </c:pt>
                <c:pt idx="3">
                  <c:v>107</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Hydro Silk</c:v>
                </c:pt>
              </c:strCache>
            </c:strRef>
          </c:tx>
          <c:spPr>
            <a:ln w="19050" cap="rnd">
              <a:solidFill>
                <a:srgbClr val="B8B60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28</c:v>
                </c:pt>
                <c:pt idx="2">
                  <c:v>22</c:v>
                </c:pt>
                <c:pt idx="3">
                  <c:v>22</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Intuition</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73</c:v>
                </c:pt>
                <c:pt idx="2">
                  <c:v>893</c:v>
                </c:pt>
                <c:pt idx="3">
                  <c:v>297</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Rem Pl</c:v>
                </c:pt>
              </c:strCache>
            </c:strRef>
          </c:tx>
          <c:spPr>
            <a:ln w="19050" cap="rnd">
              <a:solidFill>
                <a:srgbClr val="F2F2F2"/>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02</c:v>
                </c:pt>
                <c:pt idx="2">
                  <c:v>106</c:v>
                </c:pt>
                <c:pt idx="3">
                  <c:v>111</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Revlon</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6</c:v>
                </c:pt>
                <c:pt idx="2">
                  <c:v>114</c:v>
                </c:pt>
                <c:pt idx="3">
                  <c:v>120</c:v>
                </c:pt>
              </c:numCache>
            </c:numRef>
          </c:val>
          <c:smooth val="0"/>
          <c:extLst>
            <c:ext xmlns:c16="http://schemas.microsoft.com/office/drawing/2014/chart" uri="{C3380CC4-5D6E-409C-BE32-E72D297353CC}">
              <c16:uniqueId val="{00000003-F160-FB4E-B9E2-3D36233077E3}"/>
            </c:ext>
          </c:extLst>
        </c:ser>
        <c:ser>
          <c:idx val="9"/>
          <c:order val="6"/>
          <c:tx>
            <c:strRef>
              <c:f>Sheet1!$H$1</c:f>
              <c:strCache>
                <c:ptCount val="1"/>
                <c:pt idx="0">
                  <c:v>Universal Razor</c:v>
                </c:pt>
              </c:strCache>
            </c:strRef>
          </c:tx>
          <c:spPr>
            <a:ln w="19050" cap="rnd">
              <a:solidFill>
                <a:srgbClr val="FFFF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102</c:v>
                </c:pt>
                <c:pt idx="2">
                  <c:v>104</c:v>
                </c:pt>
                <c:pt idx="3">
                  <c:v>103</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167.6"/>
          <c:min val="17.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0</c:v>
                </c:pt>
                <c:pt idx="2">
                  <c:v>90</c:v>
                </c:pt>
                <c:pt idx="3">
                  <c:v>83</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22</c:v>
                </c:pt>
                <c:pt idx="2">
                  <c:v>119</c:v>
                </c:pt>
                <c:pt idx="3">
                  <c:v>147</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91</c:v>
                </c:pt>
                <c:pt idx="2">
                  <c:v>87</c:v>
                </c:pt>
                <c:pt idx="3">
                  <c:v>6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1</c:v>
                </c:pt>
                <c:pt idx="2">
                  <c:v>102</c:v>
                </c:pt>
                <c:pt idx="3">
                  <c:v>102</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1</c:v>
                </c:pt>
                <c:pt idx="2">
                  <c:v>207</c:v>
                </c:pt>
                <c:pt idx="3">
                  <c:v>154</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248.39999999999998"/>
          <c:min val="48.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20</c:v>
                </c:pt>
                <c:pt idx="2">
                  <c:v>133</c:v>
                </c:pt>
                <c:pt idx="3">
                  <c:v>133</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12</c:v>
                </c:pt>
                <c:pt idx="2">
                  <c:v>119</c:v>
                </c:pt>
                <c:pt idx="3">
                  <c:v>114</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01</c:v>
                </c:pt>
                <c:pt idx="2">
                  <c:v>116</c:v>
                </c:pt>
                <c:pt idx="3">
                  <c:v>119</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3</c:v>
                </c:pt>
                <c:pt idx="2">
                  <c:v>120</c:v>
                </c:pt>
                <c:pt idx="3">
                  <c:v>122</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24</c:v>
                </c:pt>
                <c:pt idx="2">
                  <c:v>133</c:v>
                </c:pt>
                <c:pt idx="3">
                  <c:v>126</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Skintimate</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5</c:v>
                </c:pt>
                <c:pt idx="2">
                  <c:v>99</c:v>
                </c:pt>
                <c:pt idx="3">
                  <c:v>101</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9.6"/>
          <c:min val="79.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Intuition</c:v>
                </c:pt>
              </c:strCache>
            </c:strRef>
          </c:tx>
          <c:spPr>
            <a:ln w="19050" cap="rnd">
              <a:solidFill>
                <a:srgbClr val="FFBFB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20.0"/>
          <c:min val="8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4</c:v>
                </c:pt>
                <c:pt idx="2">
                  <c:v>87</c:v>
                </c:pt>
                <c:pt idx="3">
                  <c:v>93</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Intuition</c:v>
                </c:pt>
              </c:strCache>
            </c:strRef>
          </c:tx>
          <c:spPr>
            <a:ln w="19050" cap="rnd">
              <a:solidFill>
                <a:srgbClr val="FFBFB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4</c:v>
                </c:pt>
                <c:pt idx="2">
                  <c:v>87</c:v>
                </c:pt>
                <c:pt idx="3">
                  <c:v>93</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24.8"/>
          <c:min val="69.6000000000000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377,16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135,20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2,414,64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2377167</c:v>
                </c:pt>
                <c:pt idx="1">
                  <c:v>2088584</c:v>
                </c:pt>
                <c:pt idx="2">
                  <c:v>1977676</c:v>
                </c:pt>
                <c:pt idx="3">
                  <c:v>1713161</c:v>
                </c:pt>
                <c:pt idx="4">
                  <c:v>1980418</c:v>
                </c:pt>
                <c:pt idx="5">
                  <c:v>1900495</c:v>
                </c:pt>
                <c:pt idx="6">
                  <c:v>1766837</c:v>
                </c:pt>
                <c:pt idx="7">
                  <c:v>2158413</c:v>
                </c:pt>
                <c:pt idx="8">
                  <c:v>2207170</c:v>
                </c:pt>
                <c:pt idx="9">
                  <c:v>2354328</c:v>
                </c:pt>
                <c:pt idx="10">
                  <c:v>2476521</c:v>
                </c:pt>
                <c:pt idx="11">
                  <c:v>2542564</c:v>
                </c:pt>
                <c:pt idx="12">
                  <c:v>2341362</c:v>
                </c:pt>
                <c:pt idx="13">
                  <c:v>2135204</c:v>
                </c:pt>
                <c:pt idx="14">
                  <c:v>1931059</c:v>
                </c:pt>
                <c:pt idx="15">
                  <c:v>1758439</c:v>
                </c:pt>
                <c:pt idx="16">
                  <c:v>2053287</c:v>
                </c:pt>
                <c:pt idx="17">
                  <c:v>1805152</c:v>
                </c:pt>
                <c:pt idx="18">
                  <c:v>1738264</c:v>
                </c:pt>
                <c:pt idx="19">
                  <c:v>2021194</c:v>
                </c:pt>
                <c:pt idx="20">
                  <c:v>2028816</c:v>
                </c:pt>
                <c:pt idx="21">
                  <c:v>2352973</c:v>
                </c:pt>
                <c:pt idx="22">
                  <c:v>2607156</c:v>
                </c:pt>
                <c:pt idx="23">
                  <c:v>2457566</c:v>
                </c:pt>
                <c:pt idx="24">
                  <c:v>2414643</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4.4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4.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4.1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4.4</c:v>
                </c:pt>
                <c:pt idx="1">
                  <c:v>4.34</c:v>
                </c:pt>
                <c:pt idx="2">
                  <c:v>4.31</c:v>
                </c:pt>
                <c:pt idx="3">
                  <c:v>4.35</c:v>
                </c:pt>
                <c:pt idx="4">
                  <c:v>4.38</c:v>
                </c:pt>
                <c:pt idx="5">
                  <c:v>4.28</c:v>
                </c:pt>
                <c:pt idx="6">
                  <c:v>4.25</c:v>
                </c:pt>
                <c:pt idx="7">
                  <c:v>4.37</c:v>
                </c:pt>
                <c:pt idx="8">
                  <c:v>4.35</c:v>
                </c:pt>
                <c:pt idx="9">
                  <c:v>4.34</c:v>
                </c:pt>
                <c:pt idx="10">
                  <c:v>4.27</c:v>
                </c:pt>
                <c:pt idx="11">
                  <c:v>4.44</c:v>
                </c:pt>
                <c:pt idx="12">
                  <c:v>4.44</c:v>
                </c:pt>
                <c:pt idx="13">
                  <c:v>4.52</c:v>
                </c:pt>
                <c:pt idx="14">
                  <c:v>4.45</c:v>
                </c:pt>
                <c:pt idx="15">
                  <c:v>4.45</c:v>
                </c:pt>
                <c:pt idx="16">
                  <c:v>4.4</c:v>
                </c:pt>
                <c:pt idx="17">
                  <c:v>4.45</c:v>
                </c:pt>
                <c:pt idx="18">
                  <c:v>4.28</c:v>
                </c:pt>
                <c:pt idx="19">
                  <c:v>4.24</c:v>
                </c:pt>
                <c:pt idx="20">
                  <c:v>4.23</c:v>
                </c:pt>
                <c:pt idx="21">
                  <c:v>4.15</c:v>
                </c:pt>
                <c:pt idx="22">
                  <c:v>4.15</c:v>
                </c:pt>
                <c:pt idx="23">
                  <c:v>4.16</c:v>
                </c:pt>
                <c:pt idx="24">
                  <c:v>4.1</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5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15</c:v>
                </c:pt>
                <c:pt idx="2">
                  <c:v>120</c:v>
                </c:pt>
                <c:pt idx="3">
                  <c:v>11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Flamingo</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350</c:v>
                </c:pt>
                <c:pt idx="2">
                  <c:v>854</c:v>
                </c:pt>
                <c:pt idx="3">
                  <c:v>1399</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20</c:v>
                </c:pt>
                <c:pt idx="2">
                  <c:v>126</c:v>
                </c:pt>
                <c:pt idx="3">
                  <c:v>11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Hydro Silk</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35</c:v>
                </c:pt>
                <c:pt idx="2">
                  <c:v>48</c:v>
                </c:pt>
                <c:pt idx="3">
                  <c:v>58</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Intuition</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82</c:v>
                </c:pt>
                <c:pt idx="2">
                  <c:v>49</c:v>
                </c:pt>
                <c:pt idx="3">
                  <c:v>45</c:v>
                </c:pt>
              </c:numCache>
            </c:numRef>
          </c:val>
          <c:smooth val="0"/>
          <c:extLst>
            <c:ext xmlns:c16="http://schemas.microsoft.com/office/drawing/2014/chart" uri="{C3380CC4-5D6E-409C-BE32-E72D297353CC}">
              <c16:uniqueId val="{00000007-0907-1A4C-A11F-73C2425749BA}"/>
            </c:ext>
          </c:extLst>
        </c:ser>
        <c:ser>
          <c:idx val="9"/>
          <c:order val="6"/>
          <c:tx>
            <c:strRef>
              <c:f>Sheet1!$H$1</c:f>
              <c:strCache>
                <c:ptCount val="1"/>
                <c:pt idx="0">
                  <c:v>Joy</c:v>
                </c:pt>
              </c:strCache>
            </c:strRef>
          </c:tx>
          <c:spPr>
            <a:ln w="19050" cap="rnd">
              <a:solidFill>
                <a:srgbClr val="FFFF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58</c:v>
                </c:pt>
                <c:pt idx="2">
                  <c:v>34</c:v>
                </c:pt>
                <c:pt idx="3">
                  <c:v>37</c:v>
                </c:pt>
              </c:numCache>
            </c:numRef>
          </c:val>
          <c:smooth val="0"/>
          <c:extLst>
            <c:ext xmlns:c16="http://schemas.microsoft.com/office/drawing/2014/chart" uri="{C3380CC4-5D6E-409C-BE32-E72D297353CC}">
              <c16:uniqueId val="{00000007-0907-1A4C-A11F-73C2425749BA}"/>
            </c:ext>
          </c:extLst>
        </c:ser>
        <c:ser>
          <c:idx val="10"/>
          <c:order val="7"/>
          <c:tx>
            <c:strRef>
              <c:f>Sheet1!$I$1</c:f>
              <c:strCache>
                <c:ptCount val="1"/>
                <c:pt idx="0">
                  <c:v>Skintimate</c:v>
                </c:pt>
              </c:strCache>
            </c:strRef>
          </c:tx>
          <c:spPr>
            <a:ln w="19050" cap="rnd">
              <a:solidFill>
                <a:srgbClr val="306181"/>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I$2:$I$5</c:f>
              <c:numCache>
                <c:formatCode>General</c:formatCode>
                <c:ptCount val="4"/>
                <c:pt idx="0">
                  <c:v>100</c:v>
                </c:pt>
                <c:pt idx="1">
                  <c:v>155</c:v>
                </c:pt>
                <c:pt idx="2">
                  <c:v>205</c:v>
                </c:pt>
                <c:pt idx="3">
                  <c:v>263</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1678.8"/>
          <c:min val="27.200000000000003"/>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6</c:v>
                </c:pt>
                <c:pt idx="2">
                  <c:v>106</c:v>
                </c:pt>
                <c:pt idx="3">
                  <c:v>98</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0</c:v>
                </c:pt>
                <c:pt idx="2">
                  <c:v>110</c:v>
                </c:pt>
                <c:pt idx="3">
                  <c:v>111</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Flamingo</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46</c:v>
                </c:pt>
                <c:pt idx="2">
                  <c:v>38</c:v>
                </c:pt>
                <c:pt idx="3">
                  <c:v>34</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3</c:v>
                </c:pt>
                <c:pt idx="2">
                  <c:v>92</c:v>
                </c:pt>
                <c:pt idx="3">
                  <c:v>86</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Hydro Silk</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8</c:v>
                </c:pt>
                <c:pt idx="2">
                  <c:v>92</c:v>
                </c:pt>
                <c:pt idx="3">
                  <c:v>92</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Intuition</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1</c:v>
                </c:pt>
                <c:pt idx="2">
                  <c:v>119</c:v>
                </c:pt>
                <c:pt idx="3">
                  <c:v>102</c:v>
                </c:pt>
              </c:numCache>
            </c:numRef>
          </c:val>
          <c:smooth val="0"/>
          <c:extLst>
            <c:ext xmlns:c16="http://schemas.microsoft.com/office/drawing/2014/chart" uri="{C3380CC4-5D6E-409C-BE32-E72D297353CC}">
              <c16:uniqueId val="{00000003-F160-FB4E-B9E2-3D36233077E3}"/>
            </c:ext>
          </c:extLst>
        </c:ser>
        <c:ser>
          <c:idx val="9"/>
          <c:order val="6"/>
          <c:tx>
            <c:strRef>
              <c:f>Sheet1!$H$1</c:f>
              <c:strCache>
                <c:ptCount val="1"/>
                <c:pt idx="0">
                  <c:v>Joy</c:v>
                </c:pt>
              </c:strCache>
            </c:strRef>
          </c:tx>
          <c:spPr>
            <a:ln w="19050" cap="rnd">
              <a:solidFill>
                <a:srgbClr val="FFFF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100</c:v>
                </c:pt>
                <c:pt idx="2">
                  <c:v>102</c:v>
                </c:pt>
                <c:pt idx="3">
                  <c:v>97</c:v>
                </c:pt>
              </c:numCache>
            </c:numRef>
          </c:val>
          <c:smooth val="0"/>
          <c:extLst>
            <c:ext xmlns:c16="http://schemas.microsoft.com/office/drawing/2014/chart" uri="{C3380CC4-5D6E-409C-BE32-E72D297353CC}">
              <c16:uniqueId val="{00000003-F160-FB4E-B9E2-3D36233077E3}"/>
            </c:ext>
          </c:extLst>
        </c:ser>
        <c:ser>
          <c:idx val="10"/>
          <c:order val="7"/>
          <c:tx>
            <c:strRef>
              <c:f>Sheet1!$I$1</c:f>
              <c:strCache>
                <c:ptCount val="1"/>
                <c:pt idx="0">
                  <c:v>Skintimate</c:v>
                </c:pt>
              </c:strCache>
            </c:strRef>
          </c:tx>
          <c:spPr>
            <a:ln w="19050" cap="rnd">
              <a:solidFill>
                <a:srgbClr val="306181"/>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I$2:$I$5</c:f>
              <c:numCache>
                <c:formatCode>General</c:formatCode>
                <c:ptCount val="4"/>
                <c:pt idx="0">
                  <c:v>100</c:v>
                </c:pt>
                <c:pt idx="1">
                  <c:v>98</c:v>
                </c:pt>
                <c:pt idx="2">
                  <c:v>67</c:v>
                </c:pt>
                <c:pt idx="3">
                  <c:v>81</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2.79999999999998"/>
          <c:min val="27.200000000000003"/>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Amazon</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233</c:v>
                </c:pt>
                <c:pt idx="2">
                  <c:v>376</c:v>
                </c:pt>
                <c:pt idx="3">
                  <c:v>28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Flamingo</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7</c:v>
                </c:pt>
                <c:pt idx="2">
                  <c:v>10</c:v>
                </c:pt>
                <c:pt idx="3">
                  <c:v>55</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60</c:v>
                </c:pt>
                <c:pt idx="2">
                  <c:v>22</c:v>
                </c:pt>
                <c:pt idx="3">
                  <c:v>15</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Hydro Silk</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241</c:v>
                </c:pt>
                <c:pt idx="2">
                  <c:v>230</c:v>
                </c:pt>
                <c:pt idx="3">
                  <c:v>272</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Intuition</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3</c:v>
                </c:pt>
                <c:pt idx="2">
                  <c:v>115</c:v>
                </c:pt>
                <c:pt idx="3">
                  <c:v>104</c:v>
                </c:pt>
              </c:numCache>
            </c:numRef>
          </c:val>
          <c:smooth val="0"/>
          <c:extLst>
            <c:ext xmlns:c16="http://schemas.microsoft.com/office/drawing/2014/chart" uri="{C3380CC4-5D6E-409C-BE32-E72D297353CC}">
              <c16:uniqueId val="{00000007-0907-1A4C-A11F-73C2425749BA}"/>
            </c:ext>
          </c:extLst>
        </c:ser>
        <c:ser>
          <c:idx val="9"/>
          <c:order val="6"/>
          <c:tx>
            <c:strRef>
              <c:f>Sheet1!$H$1</c:f>
              <c:strCache>
                <c:ptCount val="1"/>
                <c:pt idx="0">
                  <c:v>Quattro</c:v>
                </c:pt>
              </c:strCache>
            </c:strRef>
          </c:tx>
          <c:spPr>
            <a:ln w="19050" cap="rnd">
              <a:solidFill>
                <a:srgbClr val="FFFF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100</c:v>
                </c:pt>
                <c:pt idx="2">
                  <c:v>73</c:v>
                </c:pt>
                <c:pt idx="3">
                  <c:v>92</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451.2"/>
          <c:min val="8.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6</c:v>
                </c:pt>
                <c:pt idx="2">
                  <c:v>93</c:v>
                </c:pt>
                <c:pt idx="3">
                  <c:v>93</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Amazon</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6</c:v>
                </c:pt>
                <c:pt idx="2">
                  <c:v>95</c:v>
                </c:pt>
                <c:pt idx="3">
                  <c:v>92</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Flamingo</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97</c:v>
                </c:pt>
                <c:pt idx="2">
                  <c:v>80</c:v>
                </c:pt>
                <c:pt idx="3">
                  <c:v>7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Gillette Venus</c:v>
                </c:pt>
              </c:strCache>
            </c:strRef>
          </c:tx>
          <c:spPr>
            <a:ln w="19050" cap="rnd">
              <a:solidFill>
                <a:srgbClr val="DEDDD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2</c:v>
                </c:pt>
                <c:pt idx="2">
                  <c:v>161</c:v>
                </c:pt>
                <c:pt idx="3">
                  <c:v>137</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Hydro Silk</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116</c:v>
                </c:pt>
                <c:pt idx="2">
                  <c:v>111</c:v>
                </c:pt>
                <c:pt idx="3">
                  <c:v>109</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Intuition</c:v>
                </c:pt>
              </c:strCache>
            </c:strRef>
          </c:tx>
          <c:spPr>
            <a:ln w="19050" cap="rnd">
              <a:solidFill>
                <a:srgbClr val="7ECAC4"/>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03</c:v>
                </c:pt>
                <c:pt idx="2">
                  <c:v>92</c:v>
                </c:pt>
                <c:pt idx="3">
                  <c:v>89</c:v>
                </c:pt>
              </c:numCache>
            </c:numRef>
          </c:val>
          <c:smooth val="0"/>
          <c:extLst>
            <c:ext xmlns:c16="http://schemas.microsoft.com/office/drawing/2014/chart" uri="{C3380CC4-5D6E-409C-BE32-E72D297353CC}">
              <c16:uniqueId val="{00000003-F160-FB4E-B9E2-3D36233077E3}"/>
            </c:ext>
          </c:extLst>
        </c:ser>
        <c:ser>
          <c:idx val="9"/>
          <c:order val="6"/>
          <c:tx>
            <c:strRef>
              <c:f>Sheet1!$H$1</c:f>
              <c:strCache>
                <c:ptCount val="1"/>
                <c:pt idx="0">
                  <c:v>Quattro</c:v>
                </c:pt>
              </c:strCache>
            </c:strRef>
          </c:tx>
          <c:spPr>
            <a:ln w="19050" cap="rnd">
              <a:solidFill>
                <a:srgbClr val="FFFF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127</c:v>
                </c:pt>
                <c:pt idx="2">
                  <c:v>118</c:v>
                </c:pt>
                <c:pt idx="3">
                  <c:v>99</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93.2"/>
          <c:min val="56.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00</c:v>
                </c:pt>
                <c:pt idx="2">
                  <c:v>100</c:v>
                </c:pt>
                <c:pt idx="3">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101</c:v>
                </c:pt>
                <c:pt idx="2">
                  <c:v>114</c:v>
                </c:pt>
                <c:pt idx="3">
                  <c:v>87</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41</c:v>
                </c:pt>
                <c:pt idx="2">
                  <c:v>112</c:v>
                </c:pt>
                <c:pt idx="3">
                  <c:v>135</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74</c:v>
                </c:pt>
                <c:pt idx="2">
                  <c:v>35</c:v>
                </c:pt>
                <c:pt idx="3">
                  <c:v>27</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8</c:v>
                </c:pt>
                <c:pt idx="2">
                  <c:v>179</c:v>
                </c:pt>
                <c:pt idx="3">
                  <c:v>177</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Quattro</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71</c:v>
                </c:pt>
                <c:pt idx="2">
                  <c:v>81</c:v>
                </c:pt>
                <c:pt idx="3">
                  <c:v>76</c:v>
                </c:pt>
              </c:numCache>
            </c:numRef>
          </c:val>
          <c:smooth val="0"/>
          <c:extLst>
            <c:ext xmlns:c16="http://schemas.microsoft.com/office/drawing/2014/chart" uri="{C3380CC4-5D6E-409C-BE32-E72D297353CC}">
              <c16:uniqueId val="{00000007-0907-1A4C-A11F-73C2425749BA}"/>
            </c:ext>
          </c:extLst>
        </c:ser>
        <c:ser>
          <c:idx val="9"/>
          <c:order val="6"/>
          <c:tx>
            <c:strRef>
              <c:f>Sheet1!$H$1</c:f>
              <c:strCache>
                <c:ptCount val="1"/>
                <c:pt idx="0">
                  <c:v>Skintimate</c:v>
                </c:pt>
              </c:strCache>
            </c:strRef>
          </c:tx>
          <c:spPr>
            <a:ln w="19050" cap="rnd">
              <a:solidFill>
                <a:srgbClr val="E5F4F3"/>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185</c:v>
                </c:pt>
                <c:pt idx="2">
                  <c:v>287</c:v>
                </c:pt>
                <c:pt idx="3">
                  <c:v>355</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US"/>
          </a:p>
        </c:txPr>
        <c:crossAx val="1149570480"/>
        <c:crosses val="autoZero"/>
        <c:auto val="1"/>
        <c:lblAlgn val="ctr"/>
        <c:lblOffset val="100"/>
        <c:noMultiLvlLbl val="0"/>
      </c:catAx>
      <c:valAx>
        <c:axId val="1149570480"/>
        <c:scaling>
          <c:orientation val="minMax"/>
          <c:max val="426.0"/>
          <c:min val="21.6"/>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B$2:$B$5</c:f>
              <c:numCache>
                <c:formatCode>General</c:formatCode>
                <c:ptCount val="4"/>
                <c:pt idx="0">
                  <c:v>100</c:v>
                </c:pt>
                <c:pt idx="1">
                  <c:v>114</c:v>
                </c:pt>
                <c:pt idx="2">
                  <c:v>111</c:v>
                </c:pt>
                <c:pt idx="3">
                  <c:v>121</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ic Solei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C$2:$C$5</c:f>
              <c:numCache>
                <c:formatCode>General</c:formatCode>
                <c:ptCount val="4"/>
                <c:pt idx="0">
                  <c:v>100</c:v>
                </c:pt>
                <c:pt idx="1">
                  <c:v>92</c:v>
                </c:pt>
                <c:pt idx="2">
                  <c:v>97</c:v>
                </c:pt>
                <c:pt idx="3">
                  <c:v>105</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illette Venus</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D$2:$D$5</c:f>
              <c:numCache>
                <c:formatCode>General</c:formatCode>
                <c:ptCount val="4"/>
                <c:pt idx="0">
                  <c:v>100</c:v>
                </c:pt>
                <c:pt idx="1">
                  <c:v>124</c:v>
                </c:pt>
                <c:pt idx="2">
                  <c:v>128</c:v>
                </c:pt>
                <c:pt idx="3">
                  <c:v>118</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Hydro Silk</c:v>
                </c:pt>
              </c:strCache>
            </c:strRef>
          </c:tx>
          <c:spPr>
            <a:ln w="19050" cap="rnd">
              <a:solidFill>
                <a:srgbClr val="F7F58A"/>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E$2:$E$5</c:f>
              <c:numCache>
                <c:formatCode>General</c:formatCode>
                <c:ptCount val="4"/>
                <c:pt idx="0">
                  <c:v>100</c:v>
                </c:pt>
                <c:pt idx="1">
                  <c:v>107</c:v>
                </c:pt>
                <c:pt idx="2">
                  <c:v>107</c:v>
                </c:pt>
                <c:pt idx="3">
                  <c:v>103</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Intuition</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F$2:$F$5</c:f>
              <c:numCache>
                <c:formatCode>General</c:formatCode>
                <c:ptCount val="4"/>
                <c:pt idx="0">
                  <c:v>100</c:v>
                </c:pt>
                <c:pt idx="1">
                  <c:v>97</c:v>
                </c:pt>
                <c:pt idx="2">
                  <c:v>85</c:v>
                </c:pt>
                <c:pt idx="3">
                  <c:v>94</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Quattro</c:v>
                </c:pt>
              </c:strCache>
            </c:strRef>
          </c:tx>
          <c:spPr>
            <a:ln w="19050" cap="rnd">
              <a:solidFill>
                <a:srgbClr val="FFC000"/>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G$2:$G$5</c:f>
              <c:numCache>
                <c:formatCode>General</c:formatCode>
                <c:ptCount val="4"/>
                <c:pt idx="0">
                  <c:v>100</c:v>
                </c:pt>
                <c:pt idx="1">
                  <c:v>112</c:v>
                </c:pt>
                <c:pt idx="2">
                  <c:v>112</c:v>
                </c:pt>
                <c:pt idx="3">
                  <c:v>108</c:v>
                </c:pt>
              </c:numCache>
            </c:numRef>
          </c:val>
          <c:smooth val="0"/>
          <c:extLst>
            <c:ext xmlns:c16="http://schemas.microsoft.com/office/drawing/2014/chart" uri="{C3380CC4-5D6E-409C-BE32-E72D297353CC}">
              <c16:uniqueId val="{00000003-F160-FB4E-B9E2-3D36233077E3}"/>
            </c:ext>
          </c:extLst>
        </c:ser>
        <c:ser>
          <c:idx val="9"/>
          <c:order val="6"/>
          <c:tx>
            <c:strRef>
              <c:f>Sheet1!$H$1</c:f>
              <c:strCache>
                <c:ptCount val="1"/>
                <c:pt idx="0">
                  <c:v>Skintimate</c:v>
                </c:pt>
              </c:strCache>
            </c:strRef>
          </c:tx>
          <c:spPr>
            <a:ln w="19050" cap="rnd">
              <a:solidFill>
                <a:srgbClr val="E5F4F3"/>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1</c:v>
                </c:pt>
                <c:pt idx="1">
                  <c:v>2022</c:v>
                </c:pt>
                <c:pt idx="2">
                  <c:v>2023</c:v>
                </c:pt>
                <c:pt idx="3">
                  <c:v>2024</c:v>
                </c:pt>
              </c:strCache>
            </c:strRef>
          </c:cat>
          <c:val>
            <c:numRef>
              <c:f>Sheet1!$H$2:$H$5</c:f>
              <c:numCache>
                <c:formatCode>General</c:formatCode>
                <c:ptCount val="4"/>
                <c:pt idx="0">
                  <c:v>100</c:v>
                </c:pt>
                <c:pt idx="1">
                  <c:v>103</c:v>
                </c:pt>
                <c:pt idx="2">
                  <c:v>112</c:v>
                </c:pt>
                <c:pt idx="3">
                  <c:v>109</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3.6"/>
          <c:min val="68.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manualLayout>
          <c:layoutTarget val="inner"/>
          <c:xMode val="edge"/>
          <c:yMode val="edge"/>
          <c:x val="4.5205042438763526E-2"/>
          <c:y val="9.9397151645846074E-2"/>
          <c:w val="0.93468942653552012"/>
          <c:h val="0.61239220651000625"/>
        </c:manualLayout>
      </c:layout>
      <c:barChart>
        <c:barDir val="col"/>
        <c:grouping val="stacked"/>
        <c:varyColors val="0"/>
        <c:ser>
          <c:idx val="13"/>
          <c:order val="13"/>
          <c:tx>
            <c:strRef>
              <c:f>Sheet1!$B$1</c:f>
              <c:strCache>
                <c:ptCount val="1"/>
                <c:pt idx="0">
                  <c:v>Dermaplane</c:v>
                </c:pt>
              </c:strCache>
            </c:strRef>
          </c:tx>
          <c:spPr>
            <a:solidFill>
              <a:srgbClr val="00A097"/>
            </a:solidFill>
            <a:ln>
              <a:noFill/>
            </a:ln>
            <a:effectLst/>
          </c:spPr>
          <c:invertIfNegative val="0"/>
          <c:cat>
            <c:strRef>
              <c:f>Sheet1!$A$2:$A$36</c:f>
              <c:strCache>
                <c:ptCount val="35"/>
                <c:pt idx="0">
                  <c:v>Oct-21</c:v>
                </c:pt>
                <c:pt idx="1">
                  <c:v>Nov-21</c:v>
                </c:pt>
                <c:pt idx="2">
                  <c:v>Dec-21</c:v>
                </c:pt>
                <c:pt idx="3">
                  <c:v>Jan-22</c:v>
                </c:pt>
                <c:pt idx="4">
                  <c:v>Feb-22</c:v>
                </c:pt>
                <c:pt idx="5">
                  <c:v>Mar-22</c:v>
                </c:pt>
                <c:pt idx="6">
                  <c:v>Apr-22</c:v>
                </c:pt>
                <c:pt idx="7">
                  <c:v>May-22</c:v>
                </c:pt>
                <c:pt idx="8">
                  <c:v>Jun-22</c:v>
                </c:pt>
                <c:pt idx="9">
                  <c:v>Jul-22</c:v>
                </c:pt>
                <c:pt idx="10">
                  <c:v>Aug-22</c:v>
                </c:pt>
                <c:pt idx="11">
                  <c:v>Sep-22</c:v>
                </c:pt>
                <c:pt idx="12">
                  <c:v>Oct-22</c:v>
                </c:pt>
                <c:pt idx="13">
                  <c:v>Nov-22</c:v>
                </c:pt>
                <c:pt idx="14">
                  <c:v>Dec-22</c:v>
                </c:pt>
                <c:pt idx="15">
                  <c:v>Jan-23</c:v>
                </c:pt>
                <c:pt idx="16">
                  <c:v>Feb-23</c:v>
                </c:pt>
                <c:pt idx="17">
                  <c:v>Mar-23</c:v>
                </c:pt>
                <c:pt idx="18">
                  <c:v>Apr-23</c:v>
                </c:pt>
                <c:pt idx="19">
                  <c:v>May-23</c:v>
                </c:pt>
                <c:pt idx="20">
                  <c:v>Jun-23</c:v>
                </c:pt>
                <c:pt idx="21">
                  <c:v>Jul-23</c:v>
                </c:pt>
                <c:pt idx="22">
                  <c:v>Aug-23</c:v>
                </c:pt>
                <c:pt idx="23">
                  <c:v>Sep-23</c:v>
                </c:pt>
                <c:pt idx="24">
                  <c:v>Oct-23</c:v>
                </c:pt>
                <c:pt idx="25">
                  <c:v>Nov-23</c:v>
                </c:pt>
                <c:pt idx="26">
                  <c:v>Dec-23</c:v>
                </c:pt>
                <c:pt idx="27">
                  <c:v>Jan-24</c:v>
                </c:pt>
                <c:pt idx="28">
                  <c:v>Feb-24</c:v>
                </c:pt>
                <c:pt idx="29">
                  <c:v>Mar-24</c:v>
                </c:pt>
                <c:pt idx="30">
                  <c:v>Apr-24</c:v>
                </c:pt>
                <c:pt idx="31">
                  <c:v>May-24</c:v>
                </c:pt>
                <c:pt idx="32">
                  <c:v>Jun-24</c:v>
                </c:pt>
                <c:pt idx="33">
                  <c:v>Jul-24</c:v>
                </c:pt>
                <c:pt idx="34">
                  <c:v>Aug-24</c:v>
                </c:pt>
              </c:strCache>
            </c:strRef>
          </c:cat>
          <c:val>
            <c:numRef>
              <c:f>Sheet1!$B$2:$B$36</c:f>
              <c:numCache>
                <c:formatCode>General</c:formatCode>
                <c:ptCount val="35"/>
                <c:pt idx="0">
                  <c:v>4.894812</c:v>
                </c:pt>
                <c:pt idx="1">
                  <c:v>4.406983</c:v>
                </c:pt>
                <c:pt idx="2">
                  <c:v>5.383222</c:v>
                </c:pt>
                <c:pt idx="3">
                  <c:v>4.512524</c:v>
                </c:pt>
                <c:pt idx="4">
                  <c:v>4.632626</c:v>
                </c:pt>
                <c:pt idx="5">
                  <c:v>5.593762</c:v>
                </c:pt>
                <c:pt idx="6">
                  <c:v>5.5678</c:v>
                </c:pt>
                <c:pt idx="7">
                  <c:v>5.770644</c:v>
                </c:pt>
                <c:pt idx="8">
                  <c:v>5.362084</c:v>
                </c:pt>
                <c:pt idx="9">
                  <c:v>5.4834</c:v>
                </c:pt>
                <c:pt idx="10">
                  <c:v>6.002473</c:v>
                </c:pt>
                <c:pt idx="11">
                  <c:v>5.526188</c:v>
                </c:pt>
                <c:pt idx="12">
                  <c:v>5.519816</c:v>
                </c:pt>
                <c:pt idx="13">
                  <c:v>5.186805</c:v>
                </c:pt>
                <c:pt idx="14">
                  <c:v>6.582845</c:v>
                </c:pt>
                <c:pt idx="15">
                  <c:v>5.665574</c:v>
                </c:pt>
                <c:pt idx="16">
                  <c:v>5.347258</c:v>
                </c:pt>
                <c:pt idx="17">
                  <c:v>6.769729</c:v>
                </c:pt>
                <c:pt idx="18">
                  <c:v>6.41531</c:v>
                </c:pt>
                <c:pt idx="19">
                  <c:v>6.287954</c:v>
                </c:pt>
                <c:pt idx="20">
                  <c:v>5.934273</c:v>
                </c:pt>
                <c:pt idx="21">
                  <c:v>6.20138</c:v>
                </c:pt>
                <c:pt idx="22">
                  <c:v>6.556824</c:v>
                </c:pt>
                <c:pt idx="23">
                  <c:v>5.962795</c:v>
                </c:pt>
                <c:pt idx="24">
                  <c:v>6.222143</c:v>
                </c:pt>
                <c:pt idx="25">
                  <c:v>5.841391</c:v>
                </c:pt>
                <c:pt idx="26">
                  <c:v>6.821136</c:v>
                </c:pt>
                <c:pt idx="27">
                  <c:v>6.132123</c:v>
                </c:pt>
                <c:pt idx="28">
                  <c:v>6.047204</c:v>
                </c:pt>
                <c:pt idx="29">
                  <c:v>6.814131</c:v>
                </c:pt>
                <c:pt idx="30">
                  <c:v>6.539571</c:v>
                </c:pt>
                <c:pt idx="31">
                  <c:v>7.025361</c:v>
                </c:pt>
                <c:pt idx="32">
                  <c:v>6.953366</c:v>
                </c:pt>
                <c:pt idx="33">
                  <c:v>7.120591</c:v>
                </c:pt>
                <c:pt idx="34">
                  <c:v>7.237101</c:v>
                </c:pt>
              </c:numCache>
            </c:numRef>
          </c:val>
          <c:extLst>
            <c:ext xmlns:c16="http://schemas.microsoft.com/office/drawing/2014/chart" uri="{C3380CC4-5D6E-409C-BE32-E72D297353CC}">
              <c16:uniqueId val="{0000000A-CB01-4B89-A725-1CA2D0FD4A84}"/>
            </c:ext>
          </c:extLst>
        </c:ser>
        <c:ser>
          <c:idx val="14"/>
          <c:order val="14"/>
          <c:tx>
            <c:strRef>
              <c:f>Sheet1!$C$1</c:f>
              <c:strCache>
                <c:ptCount val="1"/>
                <c:pt idx="0">
                  <c:v>Disposable</c:v>
                </c:pt>
              </c:strCache>
            </c:strRef>
          </c:tx>
          <c:spPr>
            <a:solidFill>
              <a:srgbClr val="7ECAC4"/>
            </a:solidFill>
            <a:ln>
              <a:noFill/>
            </a:ln>
            <a:effectLst/>
          </c:spPr>
          <c:invertIfNegative val="0"/>
          <c:cat>
            <c:strRef>
              <c:f>Sheet1!$A$2:$A$36</c:f>
              <c:strCache>
                <c:ptCount val="35"/>
                <c:pt idx="0">
                  <c:v>Oct-21</c:v>
                </c:pt>
                <c:pt idx="1">
                  <c:v>Nov-21</c:v>
                </c:pt>
                <c:pt idx="2">
                  <c:v>Dec-21</c:v>
                </c:pt>
                <c:pt idx="3">
                  <c:v>Jan-22</c:v>
                </c:pt>
                <c:pt idx="4">
                  <c:v>Feb-22</c:v>
                </c:pt>
                <c:pt idx="5">
                  <c:v>Mar-22</c:v>
                </c:pt>
                <c:pt idx="6">
                  <c:v>Apr-22</c:v>
                </c:pt>
                <c:pt idx="7">
                  <c:v>May-22</c:v>
                </c:pt>
                <c:pt idx="8">
                  <c:v>Jun-22</c:v>
                </c:pt>
                <c:pt idx="9">
                  <c:v>Jul-22</c:v>
                </c:pt>
                <c:pt idx="10">
                  <c:v>Aug-22</c:v>
                </c:pt>
                <c:pt idx="11">
                  <c:v>Sep-22</c:v>
                </c:pt>
                <c:pt idx="12">
                  <c:v>Oct-22</c:v>
                </c:pt>
                <c:pt idx="13">
                  <c:v>Nov-22</c:v>
                </c:pt>
                <c:pt idx="14">
                  <c:v>Dec-22</c:v>
                </c:pt>
                <c:pt idx="15">
                  <c:v>Jan-23</c:v>
                </c:pt>
                <c:pt idx="16">
                  <c:v>Feb-23</c:v>
                </c:pt>
                <c:pt idx="17">
                  <c:v>Mar-23</c:v>
                </c:pt>
                <c:pt idx="18">
                  <c:v>Apr-23</c:v>
                </c:pt>
                <c:pt idx="19">
                  <c:v>May-23</c:v>
                </c:pt>
                <c:pt idx="20">
                  <c:v>Jun-23</c:v>
                </c:pt>
                <c:pt idx="21">
                  <c:v>Jul-23</c:v>
                </c:pt>
                <c:pt idx="22">
                  <c:v>Aug-23</c:v>
                </c:pt>
                <c:pt idx="23">
                  <c:v>Sep-23</c:v>
                </c:pt>
                <c:pt idx="24">
                  <c:v>Oct-23</c:v>
                </c:pt>
                <c:pt idx="25">
                  <c:v>Nov-23</c:v>
                </c:pt>
                <c:pt idx="26">
                  <c:v>Dec-23</c:v>
                </c:pt>
                <c:pt idx="27">
                  <c:v>Jan-24</c:v>
                </c:pt>
                <c:pt idx="28">
                  <c:v>Feb-24</c:v>
                </c:pt>
                <c:pt idx="29">
                  <c:v>Mar-24</c:v>
                </c:pt>
                <c:pt idx="30">
                  <c:v>Apr-24</c:v>
                </c:pt>
                <c:pt idx="31">
                  <c:v>May-24</c:v>
                </c:pt>
                <c:pt idx="32">
                  <c:v>Jun-24</c:v>
                </c:pt>
                <c:pt idx="33">
                  <c:v>Jul-24</c:v>
                </c:pt>
                <c:pt idx="34">
                  <c:v>Aug-24</c:v>
                </c:pt>
              </c:strCache>
            </c:strRef>
          </c:cat>
          <c:val>
            <c:numRef>
              <c:f>Sheet1!$C$2:$C$36</c:f>
              <c:numCache>
                <c:formatCode>General</c:formatCode>
                <c:ptCount val="35"/>
                <c:pt idx="0">
                  <c:v>37.151739</c:v>
                </c:pt>
                <c:pt idx="1">
                  <c:v>34.443583</c:v>
                </c:pt>
                <c:pt idx="2">
                  <c:v>37.746566</c:v>
                </c:pt>
                <c:pt idx="3">
                  <c:v>32.731267</c:v>
                </c:pt>
                <c:pt idx="4">
                  <c:v>31.804906</c:v>
                </c:pt>
                <c:pt idx="5">
                  <c:v>40.132479</c:v>
                </c:pt>
                <c:pt idx="6">
                  <c:v>37.989543</c:v>
                </c:pt>
                <c:pt idx="7">
                  <c:v>43.310274</c:v>
                </c:pt>
                <c:pt idx="8">
                  <c:v>43.417344</c:v>
                </c:pt>
                <c:pt idx="9">
                  <c:v>44.428653</c:v>
                </c:pt>
                <c:pt idx="10">
                  <c:v>43.789148</c:v>
                </c:pt>
                <c:pt idx="11">
                  <c:v>37.094816</c:v>
                </c:pt>
                <c:pt idx="12">
                  <c:v>35.947915</c:v>
                </c:pt>
                <c:pt idx="13">
                  <c:v>33.522611</c:v>
                </c:pt>
                <c:pt idx="14">
                  <c:v>37.62483</c:v>
                </c:pt>
                <c:pt idx="15">
                  <c:v>32.952541</c:v>
                </c:pt>
                <c:pt idx="16">
                  <c:v>32.389148</c:v>
                </c:pt>
                <c:pt idx="17">
                  <c:v>37.795088</c:v>
                </c:pt>
                <c:pt idx="18">
                  <c:v>36.461059</c:v>
                </c:pt>
                <c:pt idx="19">
                  <c:v>41.109277</c:v>
                </c:pt>
                <c:pt idx="20">
                  <c:v>44.699539</c:v>
                </c:pt>
                <c:pt idx="21">
                  <c:v>45.713127</c:v>
                </c:pt>
                <c:pt idx="22">
                  <c:v>42.083309</c:v>
                </c:pt>
                <c:pt idx="23">
                  <c:v>35.604208</c:v>
                </c:pt>
                <c:pt idx="24">
                  <c:v>35.059471</c:v>
                </c:pt>
                <c:pt idx="25">
                  <c:v>32.274751</c:v>
                </c:pt>
                <c:pt idx="26">
                  <c:v>38.180317</c:v>
                </c:pt>
                <c:pt idx="27">
                  <c:v>31.684129</c:v>
                </c:pt>
                <c:pt idx="28">
                  <c:v>31.841427</c:v>
                </c:pt>
                <c:pt idx="29">
                  <c:v>37.262662</c:v>
                </c:pt>
                <c:pt idx="30">
                  <c:v>37.215612</c:v>
                </c:pt>
                <c:pt idx="31">
                  <c:v>40.540355</c:v>
                </c:pt>
                <c:pt idx="32">
                  <c:v>43.292941</c:v>
                </c:pt>
                <c:pt idx="33">
                  <c:v>45.495587</c:v>
                </c:pt>
                <c:pt idx="34">
                  <c:v>43.039019</c:v>
                </c:pt>
              </c:numCache>
            </c:numRef>
          </c:val>
          <c:extLst>
            <c:ext xmlns:c16="http://schemas.microsoft.com/office/drawing/2014/chart" uri="{C3380CC4-5D6E-409C-BE32-E72D297353CC}">
              <c16:uniqueId val="{0000000B-CB01-4B89-A725-1CA2D0FD4A84}"/>
            </c:ext>
          </c:extLst>
        </c:ser>
        <c:ser>
          <c:idx val="15"/>
          <c:order val="15"/>
          <c:tx>
            <c:strRef>
              <c:f>Sheet1!$D$1</c:f>
              <c:strCache>
                <c:ptCount val="1"/>
                <c:pt idx="0">
                  <c:v>System</c:v>
                </c:pt>
              </c:strCache>
            </c:strRef>
          </c:tx>
          <c:spPr>
            <a:solidFill>
              <a:srgbClr val="B2DFDC"/>
            </a:solidFill>
            <a:ln>
              <a:noFill/>
            </a:ln>
            <a:effectLst/>
          </c:spPr>
          <c:invertIfNegative val="0"/>
          <c:cat>
            <c:strRef>
              <c:f>Sheet1!$A$2:$A$36</c:f>
              <c:strCache>
                <c:ptCount val="35"/>
                <c:pt idx="0">
                  <c:v>Oct-21</c:v>
                </c:pt>
                <c:pt idx="1">
                  <c:v>Nov-21</c:v>
                </c:pt>
                <c:pt idx="2">
                  <c:v>Dec-21</c:v>
                </c:pt>
                <c:pt idx="3">
                  <c:v>Jan-22</c:v>
                </c:pt>
                <c:pt idx="4">
                  <c:v>Feb-22</c:v>
                </c:pt>
                <c:pt idx="5">
                  <c:v>Mar-22</c:v>
                </c:pt>
                <c:pt idx="6">
                  <c:v>Apr-22</c:v>
                </c:pt>
                <c:pt idx="7">
                  <c:v>May-22</c:v>
                </c:pt>
                <c:pt idx="8">
                  <c:v>Jun-22</c:v>
                </c:pt>
                <c:pt idx="9">
                  <c:v>Jul-22</c:v>
                </c:pt>
                <c:pt idx="10">
                  <c:v>Aug-22</c:v>
                </c:pt>
                <c:pt idx="11">
                  <c:v>Sep-22</c:v>
                </c:pt>
                <c:pt idx="12">
                  <c:v>Oct-22</c:v>
                </c:pt>
                <c:pt idx="13">
                  <c:v>Nov-22</c:v>
                </c:pt>
                <c:pt idx="14">
                  <c:v>Dec-22</c:v>
                </c:pt>
                <c:pt idx="15">
                  <c:v>Jan-23</c:v>
                </c:pt>
                <c:pt idx="16">
                  <c:v>Feb-23</c:v>
                </c:pt>
                <c:pt idx="17">
                  <c:v>Mar-23</c:v>
                </c:pt>
                <c:pt idx="18">
                  <c:v>Apr-23</c:v>
                </c:pt>
                <c:pt idx="19">
                  <c:v>May-23</c:v>
                </c:pt>
                <c:pt idx="20">
                  <c:v>Jun-23</c:v>
                </c:pt>
                <c:pt idx="21">
                  <c:v>Jul-23</c:v>
                </c:pt>
                <c:pt idx="22">
                  <c:v>Aug-23</c:v>
                </c:pt>
                <c:pt idx="23">
                  <c:v>Sep-23</c:v>
                </c:pt>
                <c:pt idx="24">
                  <c:v>Oct-23</c:v>
                </c:pt>
                <c:pt idx="25">
                  <c:v>Nov-23</c:v>
                </c:pt>
                <c:pt idx="26">
                  <c:v>Dec-23</c:v>
                </c:pt>
                <c:pt idx="27">
                  <c:v>Jan-24</c:v>
                </c:pt>
                <c:pt idx="28">
                  <c:v>Feb-24</c:v>
                </c:pt>
                <c:pt idx="29">
                  <c:v>Mar-24</c:v>
                </c:pt>
                <c:pt idx="30">
                  <c:v>Apr-24</c:v>
                </c:pt>
                <c:pt idx="31">
                  <c:v>May-24</c:v>
                </c:pt>
                <c:pt idx="32">
                  <c:v>Jun-24</c:v>
                </c:pt>
                <c:pt idx="33">
                  <c:v>Jul-24</c:v>
                </c:pt>
                <c:pt idx="34">
                  <c:v>Aug-24</c:v>
                </c:pt>
              </c:strCache>
            </c:strRef>
          </c:cat>
          <c:val>
            <c:numRef>
              <c:f>Sheet1!$D$2:$D$36</c:f>
              <c:numCache>
                <c:formatCode>General</c:formatCode>
                <c:ptCount val="35"/>
                <c:pt idx="0">
                  <c:v>48.884084</c:v>
                </c:pt>
                <c:pt idx="1">
                  <c:v>46.63576</c:v>
                </c:pt>
                <c:pt idx="2">
                  <c:v>52.151961</c:v>
                </c:pt>
                <c:pt idx="3">
                  <c:v>44.37163</c:v>
                </c:pt>
                <c:pt idx="4">
                  <c:v>43.2594</c:v>
                </c:pt>
                <c:pt idx="5">
                  <c:v>56.983456</c:v>
                </c:pt>
                <c:pt idx="6">
                  <c:v>53.809323</c:v>
                </c:pt>
                <c:pt idx="7">
                  <c:v>59.436133</c:v>
                </c:pt>
                <c:pt idx="8">
                  <c:v>60.016281</c:v>
                </c:pt>
                <c:pt idx="9">
                  <c:v>63.039561</c:v>
                </c:pt>
                <c:pt idx="10">
                  <c:v>61.773784</c:v>
                </c:pt>
                <c:pt idx="11">
                  <c:v>51.896883</c:v>
                </c:pt>
                <c:pt idx="12">
                  <c:v>49.612361</c:v>
                </c:pt>
                <c:pt idx="13">
                  <c:v>47.042344</c:v>
                </c:pt>
                <c:pt idx="14">
                  <c:v>54.572352</c:v>
                </c:pt>
                <c:pt idx="15">
                  <c:v>48.430845</c:v>
                </c:pt>
                <c:pt idx="16">
                  <c:v>46.526457</c:v>
                </c:pt>
                <c:pt idx="17">
                  <c:v>55.047777</c:v>
                </c:pt>
                <c:pt idx="18">
                  <c:v>54.964073</c:v>
                </c:pt>
                <c:pt idx="19">
                  <c:v>60.847178</c:v>
                </c:pt>
                <c:pt idx="20">
                  <c:v>62.750573</c:v>
                </c:pt>
                <c:pt idx="21">
                  <c:v>67.39801</c:v>
                </c:pt>
                <c:pt idx="22">
                  <c:v>66.421077</c:v>
                </c:pt>
                <c:pt idx="23">
                  <c:v>54.245978</c:v>
                </c:pt>
                <c:pt idx="24">
                  <c:v>51.295518</c:v>
                </c:pt>
                <c:pt idx="25">
                  <c:v>48.721071</c:v>
                </c:pt>
                <c:pt idx="26">
                  <c:v>59.037636</c:v>
                </c:pt>
                <c:pt idx="27">
                  <c:v>48.499611</c:v>
                </c:pt>
                <c:pt idx="28">
                  <c:v>49.214222</c:v>
                </c:pt>
                <c:pt idx="29">
                  <c:v>56.776056</c:v>
                </c:pt>
                <c:pt idx="30">
                  <c:v>54.660171</c:v>
                </c:pt>
                <c:pt idx="31">
                  <c:v>61.733863</c:v>
                </c:pt>
                <c:pt idx="32">
                  <c:v>64.659566</c:v>
                </c:pt>
                <c:pt idx="33">
                  <c:v>68.754634</c:v>
                </c:pt>
                <c:pt idx="34">
                  <c:v>67.974309</c:v>
                </c:pt>
              </c:numCache>
            </c:numRef>
          </c:val>
          <c:extLst>
            <c:ext xmlns:c16="http://schemas.microsoft.com/office/drawing/2014/chart" uri="{C3380CC4-5D6E-409C-BE32-E72D297353CC}">
              <c16:uniqueId val="{0000000C-CB01-4B89-A725-1CA2D0FD4A84}"/>
            </c:ext>
          </c:extLst>
        </c:ser>
        <c:dLbls>
          <c:showLegendKey val="0"/>
          <c:showVal val="0"/>
          <c:showCatName val="0"/>
          <c:showSerName val="0"/>
          <c:showPercent val="0"/>
          <c:showBubbleSize val="0"/>
        </c:dLbls>
        <c:gapWidth val="150"/>
        <c:overlap val="100"/>
        <c:axId val="1624167016"/>
        <c:axId val="1624169640"/>
        <c:extLst>
          <c:ext xmlns:c15="http://schemas.microsoft.com/office/drawing/2012/chart" uri="{02D57815-91ED-43cb-92C2-25804820EDAC}">
            <c15:filteredBarSeries>
              <c15:ser>
                <c:idx val="1"/>
                <c:order val="1"/>
                <c:tx>
                  <c:strRef>
                    <c:extLst>
                      <c:ext uri="{02D57815-91ED-43cb-92C2-25804820EDAC}">
                        <c15:formulaRef>
                          <c15:sqref>Sheet1!$C$1</c15:sqref>
                        </c15:formulaRef>
                      </c:ext>
                    </c:extLst>
                    <c:strCache>
                      <c:ptCount val="1"/>
                      <c:pt idx="0">
                        <c:v>Sector 1</c:v>
                      </c:pt>
                    </c:strCache>
                  </c:strRef>
                </c:tx>
                <c:spPr>
                  <a:solidFill>
                    <a:schemeClr val="dk1">
                      <a:tint val="55000"/>
                    </a:schemeClr>
                  </a:solidFill>
                  <a:ln>
                    <a:noFill/>
                  </a:ln>
                  <a:effectLst/>
                </c:spPr>
                <c:invertIfNegative val="0"/>
                <c:cat>
                  <c:strRef>
                    <c:extLst>
                      <c:ex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c:ext uri="{02D57815-91ED-43cb-92C2-25804820EDAC}">
                        <c15:formulaRef>
                          <c15:sqref>Sheet1!$C$2:$C$36</c15:sqref>
                        </c15:formulaRef>
                      </c:ext>
                    </c:extLst>
                    <c:numCache>
                      <c:formatCode>General</c:formatCode>
                      <c:ptCount val="35"/>
                      <c:pt idx="0">
                        <c:v>40.809865000000002</c:v>
                      </c:pt>
                      <c:pt idx="1">
                        <c:v>41.860694000000002</c:v>
                      </c:pt>
                      <c:pt idx="2">
                        <c:v>34.509422000000001</c:v>
                      </c:pt>
                      <c:pt idx="3">
                        <c:v>49.657702</c:v>
                      </c:pt>
                      <c:pt idx="4">
                        <c:v>50.616717999999999</c:v>
                      </c:pt>
                      <c:pt idx="5">
                        <c:v>51.539561999999997</c:v>
                      </c:pt>
                      <c:pt idx="6">
                        <c:v>53.959558000000001</c:v>
                      </c:pt>
                      <c:pt idx="7">
                        <c:v>48.84498</c:v>
                      </c:pt>
                      <c:pt idx="8">
                        <c:v>43.617640999999999</c:v>
                      </c:pt>
                      <c:pt idx="9">
                        <c:v>44.545436000000002</c:v>
                      </c:pt>
                      <c:pt idx="10">
                        <c:v>41.403309999999998</c:v>
                      </c:pt>
                      <c:pt idx="11">
                        <c:v>42.115876</c:v>
                      </c:pt>
                      <c:pt idx="12">
                        <c:v>39.743237000000001</c:v>
                      </c:pt>
                      <c:pt idx="13">
                        <c:v>42.646582000000002</c:v>
                      </c:pt>
                      <c:pt idx="14">
                        <c:v>40.323042999999998</c:v>
                      </c:pt>
                      <c:pt idx="15">
                        <c:v>52.877302</c:v>
                      </c:pt>
                      <c:pt idx="16">
                        <c:v>52.359431000000001</c:v>
                      </c:pt>
                      <c:pt idx="17">
                        <c:v>50.322519999999997</c:v>
                      </c:pt>
                      <c:pt idx="18">
                        <c:v>52.78004</c:v>
                      </c:pt>
                      <c:pt idx="19">
                        <c:v>49.372244999999999</c:v>
                      </c:pt>
                      <c:pt idx="20">
                        <c:v>50.002222000000003</c:v>
                      </c:pt>
                      <c:pt idx="21">
                        <c:v>46.193210000000001</c:v>
                      </c:pt>
                      <c:pt idx="22">
                        <c:v>41.510463999999999</c:v>
                      </c:pt>
                      <c:pt idx="23">
                        <c:v>40.221505000000001</c:v>
                      </c:pt>
                      <c:pt idx="24">
                        <c:v>42.523161999999999</c:v>
                      </c:pt>
                      <c:pt idx="25">
                        <c:v>45.628883999999999</c:v>
                      </c:pt>
                      <c:pt idx="26">
                        <c:v>40.031787999999999</c:v>
                      </c:pt>
                      <c:pt idx="27">
                        <c:v>51.652650000000001</c:v>
                      </c:pt>
                      <c:pt idx="28">
                        <c:v>50.177590000000002</c:v>
                      </c:pt>
                      <c:pt idx="29">
                        <c:v>54.531019999999998</c:v>
                      </c:pt>
                      <c:pt idx="30">
                        <c:v>56.857843000000003</c:v>
                      </c:pt>
                      <c:pt idx="31">
                        <c:v>50.233561999999999</c:v>
                      </c:pt>
                      <c:pt idx="32">
                        <c:v>48.179372000000001</c:v>
                      </c:pt>
                      <c:pt idx="33">
                        <c:v>47.120365</c:v>
                      </c:pt>
                      <c:pt idx="34">
                        <c:v>35.507016999999998</c:v>
                      </c:pt>
                    </c:numCache>
                  </c:numRef>
                </c:val>
                <c:extLst>
                  <c:ext xmlns:c16="http://schemas.microsoft.com/office/drawing/2014/chart" uri="{C3380CC4-5D6E-409C-BE32-E72D297353CC}">
                    <c16:uniqueId val="{00000001-A582-417D-A5F8-2A0075530F50}"/>
                  </c:ext>
                </c:extLst>
              </c15:ser>
            </c15:filteredBarSeries>
            <c15:filteredBarSeries>
              <c15:ser>
                <c:idx val="2"/>
                <c:order val="2"/>
                <c:tx>
                  <c:strRef>
                    <c:extLst xmlns:c15="http://schemas.microsoft.com/office/drawing/2012/chart">
                      <c:ext xmlns:c15="http://schemas.microsoft.com/office/drawing/2012/chart" uri="{02D57815-91ED-43cb-92C2-25804820EDAC}">
                        <c15:formulaRef>
                          <c15:sqref>Sheet1!$D$1</c15:sqref>
                        </c15:formulaRef>
                      </c:ext>
                    </c:extLst>
                    <c:strCache>
                      <c:ptCount val="1"/>
                      <c:pt idx="0">
                        <c:v>Sector 2</c:v>
                      </c:pt>
                    </c:strCache>
                  </c:strRef>
                </c:tx>
                <c:spPr>
                  <a:solidFill>
                    <a:schemeClr val="dk1">
                      <a:tint val="75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D$2:$D$36</c15:sqref>
                        </c15:formulaRef>
                      </c:ext>
                    </c:extLst>
                    <c:numCache>
                      <c:formatCode>General</c:formatCode>
                      <c:ptCount val="35"/>
                      <c:pt idx="0">
                        <c:v>19.557812999999999</c:v>
                      </c:pt>
                      <c:pt idx="1">
                        <c:v>23.784803</c:v>
                      </c:pt>
                      <c:pt idx="2">
                        <c:v>21.799987000000002</c:v>
                      </c:pt>
                      <c:pt idx="3">
                        <c:v>25.857672000000001</c:v>
                      </c:pt>
                      <c:pt idx="4">
                        <c:v>24.992432999999998</c:v>
                      </c:pt>
                      <c:pt idx="5">
                        <c:v>26.955321999999999</c:v>
                      </c:pt>
                      <c:pt idx="6">
                        <c:v>32.419100999999998</c:v>
                      </c:pt>
                      <c:pt idx="7">
                        <c:v>29.344944999999999</c:v>
                      </c:pt>
                      <c:pt idx="8">
                        <c:v>27.493164</c:v>
                      </c:pt>
                      <c:pt idx="9">
                        <c:v>23.275084</c:v>
                      </c:pt>
                      <c:pt idx="10">
                        <c:v>24.237242999999999</c:v>
                      </c:pt>
                      <c:pt idx="11">
                        <c:v>23.067723999999998</c:v>
                      </c:pt>
                      <c:pt idx="12">
                        <c:v>23.036899999999999</c:v>
                      </c:pt>
                      <c:pt idx="13">
                        <c:v>25.516981000000001</c:v>
                      </c:pt>
                      <c:pt idx="14">
                        <c:v>22.874832000000001</c:v>
                      </c:pt>
                      <c:pt idx="15">
                        <c:v>26.349399999999999</c:v>
                      </c:pt>
                      <c:pt idx="16">
                        <c:v>29.881401</c:v>
                      </c:pt>
                      <c:pt idx="17">
                        <c:v>31.686630000000001</c:v>
                      </c:pt>
                      <c:pt idx="18">
                        <c:v>34.259588000000001</c:v>
                      </c:pt>
                      <c:pt idx="19">
                        <c:v>31.563769000000001</c:v>
                      </c:pt>
                      <c:pt idx="20">
                        <c:v>27.452038999999999</c:v>
                      </c:pt>
                      <c:pt idx="21">
                        <c:v>24.840769999999999</c:v>
                      </c:pt>
                      <c:pt idx="22">
                        <c:v>26.102284999999998</c:v>
                      </c:pt>
                      <c:pt idx="23">
                        <c:v>23.897715000000002</c:v>
                      </c:pt>
                      <c:pt idx="24">
                        <c:v>25.006601</c:v>
                      </c:pt>
                      <c:pt idx="25">
                        <c:v>27.601903</c:v>
                      </c:pt>
                      <c:pt idx="26">
                        <c:v>22.956002999999999</c:v>
                      </c:pt>
                      <c:pt idx="27">
                        <c:v>26.913005999999999</c:v>
                      </c:pt>
                      <c:pt idx="28">
                        <c:v>31.412331999999999</c:v>
                      </c:pt>
                      <c:pt idx="29">
                        <c:v>32.630974000000002</c:v>
                      </c:pt>
                      <c:pt idx="30">
                        <c:v>31.591038000000001</c:v>
                      </c:pt>
                      <c:pt idx="31">
                        <c:v>31.863667</c:v>
                      </c:pt>
                      <c:pt idx="32">
                        <c:v>31.422338</c:v>
                      </c:pt>
                      <c:pt idx="33">
                        <c:v>28.426777000000001</c:v>
                      </c:pt>
                      <c:pt idx="34">
                        <c:v>26.165305</c:v>
                      </c:pt>
                    </c:numCache>
                  </c:numRef>
                </c:val>
                <c:extLst xmlns:c15="http://schemas.microsoft.com/office/drawing/2012/chart">
                  <c:ext xmlns:c16="http://schemas.microsoft.com/office/drawing/2014/chart" uri="{C3380CC4-5D6E-409C-BE32-E72D297353CC}">
                    <c16:uniqueId val="{00000000-2D16-4906-BB22-77AF188F6975}"/>
                  </c:ext>
                </c:extLst>
              </c15:ser>
            </c15:filteredBarSeries>
            <c15:filteredBarSeries>
              <c15:ser>
                <c:idx val="3"/>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Sector 3</c:v>
                      </c:pt>
                    </c:strCache>
                  </c:strRef>
                </c:tx>
                <c:spPr>
                  <a:solidFill>
                    <a:schemeClr val="dk1">
                      <a:tint val="985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E$2:$E$36</c15:sqref>
                        </c15:formulaRef>
                      </c:ext>
                    </c:extLst>
                    <c:numCache>
                      <c:formatCode>General</c:formatCode>
                      <c:ptCount val="35"/>
                      <c:pt idx="0">
                        <c:v>27.462826</c:v>
                      </c:pt>
                      <c:pt idx="1">
                        <c:v>39.404572000000002</c:v>
                      </c:pt>
                      <c:pt idx="2">
                        <c:v>34.570886000000002</c:v>
                      </c:pt>
                      <c:pt idx="3">
                        <c:v>47.424028999999997</c:v>
                      </c:pt>
                      <c:pt idx="4">
                        <c:v>42.725195999999997</c:v>
                      </c:pt>
                      <c:pt idx="5">
                        <c:v>49.893875999999999</c:v>
                      </c:pt>
                      <c:pt idx="6">
                        <c:v>45.230561999999999</c:v>
                      </c:pt>
                      <c:pt idx="7">
                        <c:v>36.896878999999998</c:v>
                      </c:pt>
                      <c:pt idx="8">
                        <c:v>33.942658000000002</c:v>
                      </c:pt>
                      <c:pt idx="9">
                        <c:v>31.043399000000001</c:v>
                      </c:pt>
                      <c:pt idx="10">
                        <c:v>28.703312</c:v>
                      </c:pt>
                      <c:pt idx="11">
                        <c:v>32.247686999999999</c:v>
                      </c:pt>
                      <c:pt idx="12">
                        <c:v>39.267698000000003</c:v>
                      </c:pt>
                      <c:pt idx="13">
                        <c:v>36.104199999999999</c:v>
                      </c:pt>
                      <c:pt idx="14">
                        <c:v>35.473145000000002</c:v>
                      </c:pt>
                      <c:pt idx="15">
                        <c:v>53.202506999999997</c:v>
                      </c:pt>
                      <c:pt idx="16">
                        <c:v>50.982067999999998</c:v>
                      </c:pt>
                      <c:pt idx="17">
                        <c:v>60.592055999999999</c:v>
                      </c:pt>
                      <c:pt idx="18">
                        <c:v>55.653505000000003</c:v>
                      </c:pt>
                      <c:pt idx="19">
                        <c:v>45.804431000000001</c:v>
                      </c:pt>
                      <c:pt idx="20">
                        <c:v>42.097817999999997</c:v>
                      </c:pt>
                      <c:pt idx="21">
                        <c:v>38.569479999999999</c:v>
                      </c:pt>
                      <c:pt idx="22">
                        <c:v>32.493749000000001</c:v>
                      </c:pt>
                      <c:pt idx="23">
                        <c:v>31.329796000000002</c:v>
                      </c:pt>
                      <c:pt idx="24">
                        <c:v>33.130343000000003</c:v>
                      </c:pt>
                      <c:pt idx="25">
                        <c:v>40.916313000000002</c:v>
                      </c:pt>
                      <c:pt idx="26">
                        <c:v>34.557360000000003</c:v>
                      </c:pt>
                      <c:pt idx="27">
                        <c:v>46.799098000000001</c:v>
                      </c:pt>
                      <c:pt idx="28">
                        <c:v>46.752299000000001</c:v>
                      </c:pt>
                      <c:pt idx="29">
                        <c:v>54.888565999999997</c:v>
                      </c:pt>
                      <c:pt idx="30">
                        <c:v>56.439608999999997</c:v>
                      </c:pt>
                      <c:pt idx="31">
                        <c:v>44.964128000000002</c:v>
                      </c:pt>
                      <c:pt idx="32">
                        <c:v>45.321382999999997</c:v>
                      </c:pt>
                      <c:pt idx="33">
                        <c:v>37.671095999999999</c:v>
                      </c:pt>
                      <c:pt idx="34">
                        <c:v>31.554338999999999</c:v>
                      </c:pt>
                    </c:numCache>
                  </c:numRef>
                </c:val>
                <c:extLst xmlns:c15="http://schemas.microsoft.com/office/drawing/2012/chart">
                  <c:ext xmlns:c16="http://schemas.microsoft.com/office/drawing/2014/chart" uri="{C3380CC4-5D6E-409C-BE32-E72D297353CC}">
                    <c16:uniqueId val="{00000001-2D16-4906-BB22-77AF188F6975}"/>
                  </c:ext>
                </c:extLst>
              </c15:ser>
            </c15:filteredBarSeries>
            <c15:filteredBarSeries>
              <c15:ser>
                <c:idx val="4"/>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Sector 4</c:v>
                      </c:pt>
                    </c:strCache>
                  </c:strRef>
                </c:tx>
                <c:spPr>
                  <a:solidFill>
                    <a:schemeClr val="dk1">
                      <a:tint val="30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F$2:$F$36</c15:sqref>
                        </c15:formulaRef>
                      </c:ext>
                    </c:extLst>
                    <c:numCache>
                      <c:formatCode>General</c:formatCode>
                      <c:ptCount val="35"/>
                      <c:pt idx="0">
                        <c:v>28.541810999999999</c:v>
                      </c:pt>
                      <c:pt idx="1">
                        <c:v>29.052481</c:v>
                      </c:pt>
                      <c:pt idx="2">
                        <c:v>33.367750000000001</c:v>
                      </c:pt>
                      <c:pt idx="3">
                        <c:v>35.968623999999998</c:v>
                      </c:pt>
                      <c:pt idx="4">
                        <c:v>33.207349000000001</c:v>
                      </c:pt>
                      <c:pt idx="5">
                        <c:v>35.057527</c:v>
                      </c:pt>
                      <c:pt idx="6">
                        <c:v>38.900894999999998</c:v>
                      </c:pt>
                      <c:pt idx="7">
                        <c:v>43.694178999999998</c:v>
                      </c:pt>
                      <c:pt idx="8">
                        <c:v>62.841144999999997</c:v>
                      </c:pt>
                      <c:pt idx="9">
                        <c:v>54.763354999999997</c:v>
                      </c:pt>
                      <c:pt idx="10">
                        <c:v>89.252371999999994</c:v>
                      </c:pt>
                      <c:pt idx="11">
                        <c:v>25.975645</c:v>
                      </c:pt>
                      <c:pt idx="12">
                        <c:v>30.148197</c:v>
                      </c:pt>
                      <c:pt idx="13">
                        <c:v>36.475974999999998</c:v>
                      </c:pt>
                      <c:pt idx="14">
                        <c:v>29.658926000000001</c:v>
                      </c:pt>
                      <c:pt idx="15">
                        <c:v>35.421528000000002</c:v>
                      </c:pt>
                      <c:pt idx="16">
                        <c:v>32.439849000000002</c:v>
                      </c:pt>
                      <c:pt idx="17">
                        <c:v>35.716830000000002</c:v>
                      </c:pt>
                      <c:pt idx="18">
                        <c:v>41.225175999999998</c:v>
                      </c:pt>
                      <c:pt idx="19">
                        <c:v>43.331505999999997</c:v>
                      </c:pt>
                      <c:pt idx="20">
                        <c:v>67.705122000000003</c:v>
                      </c:pt>
                      <c:pt idx="21">
                        <c:v>56.56662</c:v>
                      </c:pt>
                      <c:pt idx="22">
                        <c:v>91.018388000000002</c:v>
                      </c:pt>
                      <c:pt idx="23">
                        <c:v>26.250737000000001</c:v>
                      </c:pt>
                      <c:pt idx="24">
                        <c:v>30.771353000000001</c:v>
                      </c:pt>
                      <c:pt idx="25">
                        <c:v>32.781751</c:v>
                      </c:pt>
                      <c:pt idx="26">
                        <c:v>40.871063999999997</c:v>
                      </c:pt>
                      <c:pt idx="27">
                        <c:v>36.555362000000002</c:v>
                      </c:pt>
                      <c:pt idx="28">
                        <c:v>33.561486000000002</c:v>
                      </c:pt>
                      <c:pt idx="29">
                        <c:v>37.536104000000002</c:v>
                      </c:pt>
                      <c:pt idx="30">
                        <c:v>45.721882000000001</c:v>
                      </c:pt>
                      <c:pt idx="31">
                        <c:v>44.358134999999997</c:v>
                      </c:pt>
                      <c:pt idx="32">
                        <c:v>73.994276999999997</c:v>
                      </c:pt>
                      <c:pt idx="33">
                        <c:v>62.661236000000002</c:v>
                      </c:pt>
                      <c:pt idx="34">
                        <c:v>91.533505000000005</c:v>
                      </c:pt>
                    </c:numCache>
                  </c:numRef>
                </c:val>
                <c:extLst xmlns:c15="http://schemas.microsoft.com/office/drawing/2012/chart">
                  <c:ext xmlns:c16="http://schemas.microsoft.com/office/drawing/2014/chart" uri="{C3380CC4-5D6E-409C-BE32-E72D297353CC}">
                    <c16:uniqueId val="{00000002-2D16-4906-BB22-77AF188F6975}"/>
                  </c:ext>
                </c:extLst>
              </c15:ser>
            </c15:filteredBarSeries>
            <c15:filteredBarSeries>
              <c15:ser>
                <c:idx val="5"/>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Sector 5</c:v>
                      </c:pt>
                    </c:strCache>
                  </c:strRef>
                </c:tx>
                <c:spPr>
                  <a:solidFill>
                    <a:schemeClr val="dk1">
                      <a:tint val="60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G$2:$G$36</c15:sqref>
                        </c15:formulaRef>
                      </c:ext>
                    </c:extLst>
                    <c:numCache>
                      <c:formatCode>General</c:formatCode>
                      <c:ptCount val="35"/>
                      <c:pt idx="0">
                        <c:v>12.194502</c:v>
                      </c:pt>
                      <c:pt idx="1">
                        <c:v>7.156504</c:v>
                      </c:pt>
                      <c:pt idx="2">
                        <c:v>12.852249</c:v>
                      </c:pt>
                      <c:pt idx="3">
                        <c:v>17.913703000000002</c:v>
                      </c:pt>
                      <c:pt idx="4">
                        <c:v>9.8828340000000008</c:v>
                      </c:pt>
                      <c:pt idx="5">
                        <c:v>9.6037440000000007</c:v>
                      </c:pt>
                      <c:pt idx="6">
                        <c:v>11.410088999999999</c:v>
                      </c:pt>
                      <c:pt idx="7">
                        <c:v>11.869301</c:v>
                      </c:pt>
                      <c:pt idx="8">
                        <c:v>10.943581</c:v>
                      </c:pt>
                      <c:pt idx="9">
                        <c:v>24.200908999999999</c:v>
                      </c:pt>
                      <c:pt idx="10">
                        <c:v>59.814160000000001</c:v>
                      </c:pt>
                      <c:pt idx="11">
                        <c:v>7.4327399999999999</c:v>
                      </c:pt>
                      <c:pt idx="12">
                        <c:v>12.873098000000001</c:v>
                      </c:pt>
                      <c:pt idx="13">
                        <c:v>17.347481999999999</c:v>
                      </c:pt>
                      <c:pt idx="14">
                        <c:v>14.342812</c:v>
                      </c:pt>
                      <c:pt idx="15">
                        <c:v>16.454574000000001</c:v>
                      </c:pt>
                      <c:pt idx="16">
                        <c:v>8.7173169999999995</c:v>
                      </c:pt>
                      <c:pt idx="17">
                        <c:v>8.7356230000000004</c:v>
                      </c:pt>
                      <c:pt idx="18">
                        <c:v>11.042906</c:v>
                      </c:pt>
                      <c:pt idx="19">
                        <c:v>11.438431</c:v>
                      </c:pt>
                      <c:pt idx="20">
                        <c:v>12.034544</c:v>
                      </c:pt>
                      <c:pt idx="21">
                        <c:v>28.273</c:v>
                      </c:pt>
                      <c:pt idx="22">
                        <c:v>61.781478999999997</c:v>
                      </c:pt>
                      <c:pt idx="23">
                        <c:v>8.5091110000000008</c:v>
                      </c:pt>
                      <c:pt idx="24">
                        <c:v>14.055974000000001</c:v>
                      </c:pt>
                      <c:pt idx="25">
                        <c:v>10.074814999999999</c:v>
                      </c:pt>
                      <c:pt idx="26">
                        <c:v>26.582386</c:v>
                      </c:pt>
                      <c:pt idx="27">
                        <c:v>16.377361000000001</c:v>
                      </c:pt>
                      <c:pt idx="28">
                        <c:v>10.356033</c:v>
                      </c:pt>
                      <c:pt idx="29">
                        <c:v>11.832685</c:v>
                      </c:pt>
                      <c:pt idx="30">
                        <c:v>14.576200999999999</c:v>
                      </c:pt>
                      <c:pt idx="31">
                        <c:v>14.285002</c:v>
                      </c:pt>
                      <c:pt idx="32">
                        <c:v>16.927510000000002</c:v>
                      </c:pt>
                      <c:pt idx="33">
                        <c:v>34.868727999999997</c:v>
                      </c:pt>
                      <c:pt idx="34">
                        <c:v>70.545312999999993</c:v>
                      </c:pt>
                    </c:numCache>
                  </c:numRef>
                </c:val>
                <c:extLst xmlns:c15="http://schemas.microsoft.com/office/drawing/2012/chart">
                  <c:ext xmlns:c16="http://schemas.microsoft.com/office/drawing/2014/chart" uri="{C3380CC4-5D6E-409C-BE32-E72D297353CC}">
                    <c16:uniqueId val="{00000003-2D16-4906-BB22-77AF188F6975}"/>
                  </c:ext>
                </c:extLst>
              </c15:ser>
            </c15:filteredBarSeries>
            <c15:filteredBarSeries>
              <c15:ser>
                <c:idx val="6"/>
                <c:order val="6"/>
                <c:tx>
                  <c:strRef>
                    <c:extLst xmlns:c15="http://schemas.microsoft.com/office/drawing/2012/chart">
                      <c:ext xmlns:c15="http://schemas.microsoft.com/office/drawing/2012/chart" uri="{02D57815-91ED-43cb-92C2-25804820EDAC}">
                        <c15:formulaRef>
                          <c15:sqref>Sheet1!$H$1</c15:sqref>
                        </c15:formulaRef>
                      </c:ext>
                    </c:extLst>
                    <c:strCache>
                      <c:ptCount val="1"/>
                      <c:pt idx="0">
                        <c:v>Sector 6</c:v>
                      </c:pt>
                    </c:strCache>
                  </c:strRef>
                </c:tx>
                <c:spPr>
                  <a:solidFill>
                    <a:schemeClr val="dk1">
                      <a:tint val="80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H$2:$H$36</c15:sqref>
                        </c15:formulaRef>
                      </c:ext>
                    </c:extLst>
                    <c:numCache>
                      <c:formatCode>General</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numRef>
                </c:val>
                <c:extLst xmlns:c15="http://schemas.microsoft.com/office/drawing/2012/chart">
                  <c:ext xmlns:c16="http://schemas.microsoft.com/office/drawing/2014/chart" uri="{C3380CC4-5D6E-409C-BE32-E72D297353CC}">
                    <c16:uniqueId val="{00000003-CB01-4B89-A725-1CA2D0FD4A84}"/>
                  </c:ext>
                </c:extLst>
              </c15:ser>
            </c15:filteredBarSeries>
          </c:ext>
        </c:extLst>
      </c:barChart>
      <c:lineChart>
        <c:grouping val="stacked"/>
        <c:varyColors val="0"/>
        <c:ser>
          <c:idx val="0"/>
          <c:order val="0"/>
          <c:tx>
            <c:strRef>
              <c:f>Sheet1!$E$1</c:f>
              <c:strCache>
                <c:ptCount val="1"/>
                <c:pt idx="0">
                  <c:v>Total</c:v>
                </c:pt>
              </c:strCache>
            </c:strRef>
          </c:tx>
          <c:spPr>
            <a:solidFill>
              <a:srgbClr val="9B9898"/>
            </a:solidFill>
            <a:ln w="19050" cap="rnd" cmpd="sng" algn="ctr">
              <a:solidFill>
                <a:schemeClr val="accent1"/>
              </a:solidFill>
              <a:prstDash val="solid"/>
              <a:round/>
            </a:ln>
            <a:effectLst/>
          </c:spPr>
          <c:marker>
            <c:symbol val="circle"/>
            <c:size val="10"/>
            <c:spPr>
              <a:solidFill>
                <a:schemeClr val="accent1"/>
              </a:solidFill>
              <a:ln w="6350" cap="flat" cmpd="sng" algn="ctr">
                <a:solidFill>
                  <a:schemeClr val="accent1"/>
                </a:solidFill>
                <a:prstDash val="solid"/>
                <a:round/>
              </a:ln>
              <a:effectLst/>
            </c:spPr>
          </c:marker>
          <c:dPt>
            <c:idx val="0"/>
            <c:bubble3D val="0"/>
            <c:spPr>
              <a:ln w="19050" cap="rnd" cmpd="sng" algn="ctr">
                <a:solidFill>
                  <a:schemeClr val="accent1"/>
                </a:solidFill>
                <a:prstDash val="solid"/>
                <a:round/>
              </a:ln>
              <a:effectLst/>
            </c:spPr>
            <c:extLst>
              <c:ext xmlns:c16="http://schemas.microsoft.com/office/drawing/2014/chart" uri="{C3380CC4-5D6E-409C-BE32-E72D297353CC}">
                <c16:uniqueId val="{00000005-2D16-4906-BB22-77AF188F6975}"/>
              </c:ext>
            </c:extLst>
          </c:dPt>
          <c:cat>
            <c:strRef>
              <c:f>Sheet1!$A$2:$A$36</c:f>
              <c:strCache>
                <c:ptCount val="35"/>
                <c:pt idx="0">
                  <c:v>Oct-21</c:v>
                </c:pt>
                <c:pt idx="1">
                  <c:v>Nov-21</c:v>
                </c:pt>
                <c:pt idx="2">
                  <c:v>Dec-21</c:v>
                </c:pt>
                <c:pt idx="3">
                  <c:v>Jan-22</c:v>
                </c:pt>
                <c:pt idx="4">
                  <c:v>Feb-22</c:v>
                </c:pt>
                <c:pt idx="5">
                  <c:v>Mar-22</c:v>
                </c:pt>
                <c:pt idx="6">
                  <c:v>Apr-22</c:v>
                </c:pt>
                <c:pt idx="7">
                  <c:v>May-22</c:v>
                </c:pt>
                <c:pt idx="8">
                  <c:v>Jun-22</c:v>
                </c:pt>
                <c:pt idx="9">
                  <c:v>Jul-22</c:v>
                </c:pt>
                <c:pt idx="10">
                  <c:v>Aug-22</c:v>
                </c:pt>
                <c:pt idx="11">
                  <c:v>Sep-22</c:v>
                </c:pt>
                <c:pt idx="12">
                  <c:v>Oct-22</c:v>
                </c:pt>
                <c:pt idx="13">
                  <c:v>Nov-22</c:v>
                </c:pt>
                <c:pt idx="14">
                  <c:v>Dec-22</c:v>
                </c:pt>
                <c:pt idx="15">
                  <c:v>Jan-23</c:v>
                </c:pt>
                <c:pt idx="16">
                  <c:v>Feb-23</c:v>
                </c:pt>
                <c:pt idx="17">
                  <c:v>Mar-23</c:v>
                </c:pt>
                <c:pt idx="18">
                  <c:v>Apr-23</c:v>
                </c:pt>
                <c:pt idx="19">
                  <c:v>May-23</c:v>
                </c:pt>
                <c:pt idx="20">
                  <c:v>Jun-23</c:v>
                </c:pt>
                <c:pt idx="21">
                  <c:v>Jul-23</c:v>
                </c:pt>
                <c:pt idx="22">
                  <c:v>Aug-23</c:v>
                </c:pt>
                <c:pt idx="23">
                  <c:v>Sep-23</c:v>
                </c:pt>
                <c:pt idx="24">
                  <c:v>Oct-23</c:v>
                </c:pt>
                <c:pt idx="25">
                  <c:v>Nov-23</c:v>
                </c:pt>
                <c:pt idx="26">
                  <c:v>Dec-23</c:v>
                </c:pt>
                <c:pt idx="27">
                  <c:v>Jan-24</c:v>
                </c:pt>
                <c:pt idx="28">
                  <c:v>Feb-24</c:v>
                </c:pt>
                <c:pt idx="29">
                  <c:v>Mar-24</c:v>
                </c:pt>
                <c:pt idx="30">
                  <c:v>Apr-24</c:v>
                </c:pt>
                <c:pt idx="31">
                  <c:v>May-24</c:v>
                </c:pt>
                <c:pt idx="32">
                  <c:v>Jun-24</c:v>
                </c:pt>
                <c:pt idx="33">
                  <c:v>Jul-24</c:v>
                </c:pt>
                <c:pt idx="34">
                  <c:v>Aug-24</c:v>
                </c:pt>
              </c:strCache>
            </c:strRef>
          </c:cat>
          <c:val>
            <c:numRef>
              <c:f>Sheet1!$E$2:$E$36</c:f>
              <c:numCache>
                <c:formatCode>General</c:formatCode>
                <c:ptCount val="35"/>
                <c:pt idx="0">
                  <c:v>90.930635</c:v>
                </c:pt>
                <c:pt idx="1">
                  <c:v>85.486326</c:v>
                </c:pt>
                <c:pt idx="2">
                  <c:v>95.281749</c:v>
                </c:pt>
                <c:pt idx="3">
                  <c:v>81.615421</c:v>
                </c:pt>
                <c:pt idx="4">
                  <c:v>79.696932</c:v>
                </c:pt>
                <c:pt idx="5">
                  <c:v>102.709697</c:v>
                </c:pt>
                <c:pt idx="6">
                  <c:v>97.366666</c:v>
                </c:pt>
                <c:pt idx="7">
                  <c:v>108.517051</c:v>
                </c:pt>
                <c:pt idx="8">
                  <c:v>108.795709</c:v>
                </c:pt>
                <c:pt idx="9">
                  <c:v>112.951614</c:v>
                </c:pt>
                <c:pt idx="10">
                  <c:v>111.565405</c:v>
                </c:pt>
                <c:pt idx="11">
                  <c:v>94.517887</c:v>
                </c:pt>
                <c:pt idx="12">
                  <c:v>91.080092</c:v>
                </c:pt>
                <c:pt idx="13">
                  <c:v>85.75176</c:v>
                </c:pt>
                <c:pt idx="14">
                  <c:v>98.780027</c:v>
                </c:pt>
                <c:pt idx="15">
                  <c:v>87.04896</c:v>
                </c:pt>
                <c:pt idx="16">
                  <c:v>84.262863</c:v>
                </c:pt>
                <c:pt idx="17">
                  <c:v>99.612594</c:v>
                </c:pt>
                <c:pt idx="18">
                  <c:v>97.840442</c:v>
                </c:pt>
                <c:pt idx="19">
                  <c:v>108.244409</c:v>
                </c:pt>
                <c:pt idx="20">
                  <c:v>113.384385</c:v>
                </c:pt>
                <c:pt idx="21">
                  <c:v>119.312517</c:v>
                </c:pt>
                <c:pt idx="22">
                  <c:v>115.06121</c:v>
                </c:pt>
                <c:pt idx="23">
                  <c:v>95.812981</c:v>
                </c:pt>
                <c:pt idx="24">
                  <c:v>92.577132</c:v>
                </c:pt>
                <c:pt idx="25">
                  <c:v>86.837213</c:v>
                </c:pt>
                <c:pt idx="26">
                  <c:v>104.039089</c:v>
                </c:pt>
                <c:pt idx="27">
                  <c:v>86.315863</c:v>
                </c:pt>
                <c:pt idx="28">
                  <c:v>87.102853</c:v>
                </c:pt>
                <c:pt idx="29">
                  <c:v>100.852849</c:v>
                </c:pt>
                <c:pt idx="30">
                  <c:v>98.415354</c:v>
                </c:pt>
                <c:pt idx="31">
                  <c:v>109.299579</c:v>
                </c:pt>
                <c:pt idx="32">
                  <c:v>114.905873</c:v>
                </c:pt>
                <c:pt idx="33">
                  <c:v>121.370812</c:v>
                </c:pt>
                <c:pt idx="34">
                  <c:v>118.250429</c:v>
                </c:pt>
              </c:numCache>
            </c:numRef>
          </c:val>
          <c:smooth val="0"/>
          <c:extLst>
            <c:ext xmlns:c16="http://schemas.microsoft.com/office/drawing/2014/chart" uri="{C3380CC4-5D6E-409C-BE32-E72D297353CC}">
              <c16:uniqueId val="{00000000-A582-417D-A5F8-2A0075530F50}"/>
            </c:ext>
          </c:extLst>
        </c:ser>
        <c:dLbls>
          <c:showLegendKey val="0"/>
          <c:showVal val="0"/>
          <c:showCatName val="0"/>
          <c:showSerName val="0"/>
          <c:showPercent val="0"/>
          <c:showBubbleSize val="0"/>
        </c:dLbls>
        <c:marker val="1"/>
        <c:smooth val="0"/>
        <c:axId val="1624167016"/>
        <c:axId val="1624169640"/>
      </c:lineChart>
      <c:catAx>
        <c:axId val="1624167016"/>
        <c:scaling>
          <c:orientation val="minMax"/>
        </c:scaling>
        <c:delete val="0"/>
        <c:axPos val="b"/>
        <c:numFmt formatCode="General" sourceLinked="1"/>
        <c:majorTickMark val="none"/>
        <c:minorTickMark val="none"/>
        <c:tickLblPos val="nextTo"/>
        <c:spPr>
          <a:noFill/>
          <a:ln w="9525" cap="flat" cmpd="sng" algn="ctr">
            <a:noFill/>
            <a:prstDash val="solid"/>
            <a:round/>
          </a:ln>
          <a:effectLst/>
        </c:spPr>
        <c:txPr>
          <a:bodyPr rot="0" spcFirstLastPara="1" vertOverflow="ellipsis" wrap="square" anchor="ctr" anchorCtr="1"/>
          <a:lstStyle/>
          <a:p>
            <a:pPr algn="ctr">
              <a:defRPr lang="en-US" sz="800" b="0" i="0" u="none" strike="noStrike" kern="1200" baseline="0">
                <a:solidFill>
                  <a:schemeClr val="tx1"/>
                </a:solidFill>
                <a:latin typeface="+mj-lt"/>
                <a:ea typeface="+mn-ea"/>
                <a:cs typeface="+mn-cs"/>
              </a:defRPr>
            </a:pPr>
            <a:endParaRPr lang="en-US"/>
          </a:p>
        </c:txPr>
        <c:crossAx val="1624169640"/>
        <c:crosses val="autoZero"/>
        <c:auto val="1"/>
        <c:lblAlgn val="ctr"/>
        <c:lblOffset val="100"/>
        <c:tickLblSkip val="3"/>
        <c:noMultiLvlLbl val="1"/>
      </c:catAx>
      <c:valAx>
        <c:axId val="1624169640"/>
        <c:scaling>
          <c:orientation val="minMax"/>
        </c:scaling>
        <c:delete val="0"/>
        <c:axPos val="l"/>
        <c:numFmt formatCode="#,##0" sourceLinked="0"/>
        <c:majorTickMark val="none"/>
        <c:minorTickMark val="none"/>
        <c:tickLblPos val="nextTo"/>
        <c:spPr>
          <a:noFill/>
          <a:ln w="6350" cap="flat" cmpd="sng" algn="ctr">
            <a:noFill/>
            <a:prstDash val="solid"/>
            <a:round/>
          </a:ln>
          <a:effectLst/>
        </c:spPr>
        <c:txPr>
          <a:bodyPr rot="-60000000" spcFirstLastPara="1" vertOverflow="ellipsis" vert="horz" wrap="square" anchor="ctr" anchorCtr="1"/>
          <a:lstStyle/>
          <a:p>
            <a:pP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a:p>
        </c:txPr>
        <c:crossAx val="1624167016"/>
        <c:crosses val="autoZero"/>
        <c:crossBetween val="between"/>
      </c:valAx>
      <c:spPr>
        <a:noFill/>
        <a:ln>
          <a:noFill/>
        </a:ln>
        <a:effectLst/>
      </c:spPr>
    </c:plotArea>
    <c:legend>
      <c:legendPos val="b"/>
      <c:layout>
        <c:manualLayout>
          <c:xMode val="edge"/>
          <c:yMode val="edge"/>
          <c:x val="7.3660685603241294E-2"/>
          <c:y val="0.81729018208272031"/>
          <c:w val="0.90289148980965561"/>
          <c:h val="0.13936961130964612"/>
        </c:manualLayout>
      </c:layout>
      <c:overlay val="0"/>
      <c:spPr>
        <a:noFill/>
        <a:ln>
          <a:noFill/>
        </a:ln>
        <a:effectLst/>
      </c:spPr>
      <c:txPr>
        <a:bodyPr rot="0" spcFirstLastPara="1" vertOverflow="ellipsis" vert="horz" wrap="square" anchor="ctr" anchorCtr="0"/>
        <a:lstStyle/>
        <a:p>
          <a:pPr algn="ctr">
            <a:defRPr lang="en-US"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6350" cap="flat" cmpd="sng" algn="ctr">
      <a:noFill/>
      <a:prstDash val="solid"/>
      <a:miter lim="800000"/>
    </a:ln>
    <a:effectLst/>
  </c:spPr>
  <c:txPr>
    <a:bodyPr/>
    <a:lstStyle/>
    <a:p>
      <a:pPr algn="ctr">
        <a:defRPr lang="en-US" sz="900" b="0" i="0" u="none" strike="noStrike" kern="120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manualLayout>
          <c:layoutTarget val="inner"/>
          <c:xMode val="edge"/>
          <c:yMode val="edge"/>
          <c:x val="4.5205042438763526E-2"/>
          <c:y val="9.9397151645846074E-2"/>
          <c:w val="0.93468942653552012"/>
          <c:h val="0.61239220651000625"/>
        </c:manualLayout>
      </c:layout>
      <c:barChart>
        <c:barDir val="col"/>
        <c:grouping val="stacked"/>
        <c:varyColors val="0"/>
        <c:ser>
          <c:idx val="14"/>
          <c:order val="14"/>
          <c:tx>
            <c:strRef>
              <c:f>Sheet1!$B$1</c:f>
              <c:strCache>
                <c:ptCount val="1"/>
                <c:pt idx="0">
                  <c:v>Disposable</c:v>
                </c:pt>
              </c:strCache>
            </c:strRef>
          </c:tx>
          <c:spPr>
            <a:solidFill>
              <a:srgbClr val="00A097"/>
            </a:solidFill>
            <a:ln>
              <a:noFill/>
            </a:ln>
            <a:effectLst/>
          </c:spPr>
          <c:invertIfNegative val="0"/>
          <c:cat>
            <c:strRef>
              <c:f>Sheet1!$A$2:$A$36</c:f>
              <c:strCache>
                <c:ptCount val="35"/>
                <c:pt idx="0">
                  <c:v>Oct-21</c:v>
                </c:pt>
                <c:pt idx="1">
                  <c:v>Nov-21</c:v>
                </c:pt>
                <c:pt idx="2">
                  <c:v>Dec-21</c:v>
                </c:pt>
                <c:pt idx="3">
                  <c:v>Jan-22</c:v>
                </c:pt>
                <c:pt idx="4">
                  <c:v>Feb-22</c:v>
                </c:pt>
                <c:pt idx="5">
                  <c:v>Mar-22</c:v>
                </c:pt>
                <c:pt idx="6">
                  <c:v>Apr-22</c:v>
                </c:pt>
                <c:pt idx="7">
                  <c:v>May-22</c:v>
                </c:pt>
                <c:pt idx="8">
                  <c:v>Jun-22</c:v>
                </c:pt>
                <c:pt idx="9">
                  <c:v>Jul-22</c:v>
                </c:pt>
                <c:pt idx="10">
                  <c:v>Aug-22</c:v>
                </c:pt>
                <c:pt idx="11">
                  <c:v>Sep-22</c:v>
                </c:pt>
                <c:pt idx="12">
                  <c:v>Oct-22</c:v>
                </c:pt>
                <c:pt idx="13">
                  <c:v>Nov-22</c:v>
                </c:pt>
                <c:pt idx="14">
                  <c:v>Dec-22</c:v>
                </c:pt>
                <c:pt idx="15">
                  <c:v>Jan-23</c:v>
                </c:pt>
                <c:pt idx="16">
                  <c:v>Feb-23</c:v>
                </c:pt>
                <c:pt idx="17">
                  <c:v>Mar-23</c:v>
                </c:pt>
                <c:pt idx="18">
                  <c:v>Apr-23</c:v>
                </c:pt>
                <c:pt idx="19">
                  <c:v>May-23</c:v>
                </c:pt>
                <c:pt idx="20">
                  <c:v>Jun-23</c:v>
                </c:pt>
                <c:pt idx="21">
                  <c:v>Jul-23</c:v>
                </c:pt>
                <c:pt idx="22">
                  <c:v>Aug-23</c:v>
                </c:pt>
                <c:pt idx="23">
                  <c:v>Sep-23</c:v>
                </c:pt>
                <c:pt idx="24">
                  <c:v>Oct-23</c:v>
                </c:pt>
                <c:pt idx="25">
                  <c:v>Nov-23</c:v>
                </c:pt>
                <c:pt idx="26">
                  <c:v>Dec-23</c:v>
                </c:pt>
                <c:pt idx="27">
                  <c:v>Jan-24</c:v>
                </c:pt>
                <c:pt idx="28">
                  <c:v>Feb-24</c:v>
                </c:pt>
                <c:pt idx="29">
                  <c:v>Mar-24</c:v>
                </c:pt>
                <c:pt idx="30">
                  <c:v>Apr-24</c:v>
                </c:pt>
                <c:pt idx="31">
                  <c:v>May-24</c:v>
                </c:pt>
                <c:pt idx="32">
                  <c:v>Jun-24</c:v>
                </c:pt>
                <c:pt idx="33">
                  <c:v>Jul-24</c:v>
                </c:pt>
                <c:pt idx="34">
                  <c:v>Aug-24</c:v>
                </c:pt>
              </c:strCache>
            </c:strRef>
          </c:cat>
          <c:val>
            <c:numRef>
              <c:f>Sheet1!$B$2:$B$36</c:f>
              <c:numCache>
                <c:formatCode>General</c:formatCode>
                <c:ptCount val="35"/>
                <c:pt idx="0">
                  <c:v>1.083486</c:v>
                </c:pt>
                <c:pt idx="1">
                  <c:v>1.134804</c:v>
                </c:pt>
                <c:pt idx="2">
                  <c:v>1.210919</c:v>
                </c:pt>
                <c:pt idx="3">
                  <c:v>1.435066</c:v>
                </c:pt>
                <c:pt idx="4">
                  <c:v>1.254962</c:v>
                </c:pt>
                <c:pt idx="5">
                  <c:v>1.418715</c:v>
                </c:pt>
                <c:pt idx="6">
                  <c:v>1.493951</c:v>
                </c:pt>
                <c:pt idx="7">
                  <c:v>1.899769</c:v>
                </c:pt>
                <c:pt idx="8">
                  <c:v>1.68341</c:v>
                </c:pt>
                <c:pt idx="9">
                  <c:v>1.777608</c:v>
                </c:pt>
                <c:pt idx="10">
                  <c:v>1.613695</c:v>
                </c:pt>
                <c:pt idx="11">
                  <c:v>1.433737</c:v>
                </c:pt>
                <c:pt idx="12">
                  <c:v>1.464661</c:v>
                </c:pt>
                <c:pt idx="13">
                  <c:v>1.389356</c:v>
                </c:pt>
                <c:pt idx="14">
                  <c:v>1.470543</c:v>
                </c:pt>
                <c:pt idx="15">
                  <c:v>1.420578</c:v>
                </c:pt>
                <c:pt idx="16">
                  <c:v>1.531467</c:v>
                </c:pt>
                <c:pt idx="17">
                  <c:v>1.483146</c:v>
                </c:pt>
                <c:pt idx="18">
                  <c:v>1.433404</c:v>
                </c:pt>
                <c:pt idx="19">
                  <c:v>1.668866</c:v>
                </c:pt>
                <c:pt idx="20">
                  <c:v>1.926224</c:v>
                </c:pt>
                <c:pt idx="21">
                  <c:v>2.136293</c:v>
                </c:pt>
                <c:pt idx="22">
                  <c:v>1.649044</c:v>
                </c:pt>
                <c:pt idx="23">
                  <c:v>1.545335</c:v>
                </c:pt>
                <c:pt idx="24">
                  <c:v>1.749075</c:v>
                </c:pt>
                <c:pt idx="25">
                  <c:v>1.557422</c:v>
                </c:pt>
                <c:pt idx="26">
                  <c:v>1.620571</c:v>
                </c:pt>
                <c:pt idx="27">
                  <c:v>1.531764</c:v>
                </c:pt>
                <c:pt idx="28">
                  <c:v>1.55949</c:v>
                </c:pt>
                <c:pt idx="29">
                  <c:v>2.210727</c:v>
                </c:pt>
                <c:pt idx="30">
                  <c:v>2.160006</c:v>
                </c:pt>
                <c:pt idx="31">
                  <c:v>1.981439</c:v>
                </c:pt>
                <c:pt idx="32">
                  <c:v>2.154232</c:v>
                </c:pt>
                <c:pt idx="33">
                  <c:v>2.54221</c:v>
                </c:pt>
                <c:pt idx="34">
                  <c:v>2.083862</c:v>
                </c:pt>
              </c:numCache>
            </c:numRef>
          </c:val>
          <c:extLst>
            <c:ext xmlns:c16="http://schemas.microsoft.com/office/drawing/2014/chart" uri="{C3380CC4-5D6E-409C-BE32-E72D297353CC}">
              <c16:uniqueId val="{0000000B-CB01-4B89-A725-1CA2D0FD4A84}"/>
            </c:ext>
          </c:extLst>
        </c:ser>
        <c:ser>
          <c:idx val="15"/>
          <c:order val="15"/>
          <c:tx>
            <c:strRef>
              <c:f>Sheet1!$C$1</c:f>
              <c:strCache>
                <c:ptCount val="1"/>
                <c:pt idx="0">
                  <c:v>System</c:v>
                </c:pt>
              </c:strCache>
            </c:strRef>
          </c:tx>
          <c:spPr>
            <a:solidFill>
              <a:srgbClr val="7ECAC4"/>
            </a:solidFill>
            <a:ln>
              <a:noFill/>
            </a:ln>
            <a:effectLst/>
          </c:spPr>
          <c:invertIfNegative val="0"/>
          <c:cat>
            <c:strRef>
              <c:f>Sheet1!$A$2:$A$36</c:f>
              <c:strCache>
                <c:ptCount val="35"/>
                <c:pt idx="0">
                  <c:v>Oct-21</c:v>
                </c:pt>
                <c:pt idx="1">
                  <c:v>Nov-21</c:v>
                </c:pt>
                <c:pt idx="2">
                  <c:v>Dec-21</c:v>
                </c:pt>
                <c:pt idx="3">
                  <c:v>Jan-22</c:v>
                </c:pt>
                <c:pt idx="4">
                  <c:v>Feb-22</c:v>
                </c:pt>
                <c:pt idx="5">
                  <c:v>Mar-22</c:v>
                </c:pt>
                <c:pt idx="6">
                  <c:v>Apr-22</c:v>
                </c:pt>
                <c:pt idx="7">
                  <c:v>May-22</c:v>
                </c:pt>
                <c:pt idx="8">
                  <c:v>Jun-22</c:v>
                </c:pt>
                <c:pt idx="9">
                  <c:v>Jul-22</c:v>
                </c:pt>
                <c:pt idx="10">
                  <c:v>Aug-22</c:v>
                </c:pt>
                <c:pt idx="11">
                  <c:v>Sep-22</c:v>
                </c:pt>
                <c:pt idx="12">
                  <c:v>Oct-22</c:v>
                </c:pt>
                <c:pt idx="13">
                  <c:v>Nov-22</c:v>
                </c:pt>
                <c:pt idx="14">
                  <c:v>Dec-22</c:v>
                </c:pt>
                <c:pt idx="15">
                  <c:v>Jan-23</c:v>
                </c:pt>
                <c:pt idx="16">
                  <c:v>Feb-23</c:v>
                </c:pt>
                <c:pt idx="17">
                  <c:v>Mar-23</c:v>
                </c:pt>
                <c:pt idx="18">
                  <c:v>Apr-23</c:v>
                </c:pt>
                <c:pt idx="19">
                  <c:v>May-23</c:v>
                </c:pt>
                <c:pt idx="20">
                  <c:v>Jun-23</c:v>
                </c:pt>
                <c:pt idx="21">
                  <c:v>Jul-23</c:v>
                </c:pt>
                <c:pt idx="22">
                  <c:v>Aug-23</c:v>
                </c:pt>
                <c:pt idx="23">
                  <c:v>Sep-23</c:v>
                </c:pt>
                <c:pt idx="24">
                  <c:v>Oct-23</c:v>
                </c:pt>
                <c:pt idx="25">
                  <c:v>Nov-23</c:v>
                </c:pt>
                <c:pt idx="26">
                  <c:v>Dec-23</c:v>
                </c:pt>
                <c:pt idx="27">
                  <c:v>Jan-24</c:v>
                </c:pt>
                <c:pt idx="28">
                  <c:v>Feb-24</c:v>
                </c:pt>
                <c:pt idx="29">
                  <c:v>Mar-24</c:v>
                </c:pt>
                <c:pt idx="30">
                  <c:v>Apr-24</c:v>
                </c:pt>
                <c:pt idx="31">
                  <c:v>May-24</c:v>
                </c:pt>
                <c:pt idx="32">
                  <c:v>Jun-24</c:v>
                </c:pt>
                <c:pt idx="33">
                  <c:v>Jul-24</c:v>
                </c:pt>
                <c:pt idx="34">
                  <c:v>Aug-24</c:v>
                </c:pt>
              </c:strCache>
            </c:strRef>
          </c:cat>
          <c:val>
            <c:numRef>
              <c:f>Sheet1!$C$2:$C$36</c:f>
              <c:numCache>
                <c:formatCode>General</c:formatCode>
                <c:ptCount val="35"/>
                <c:pt idx="0">
                  <c:v>5.166879</c:v>
                </c:pt>
                <c:pt idx="1">
                  <c:v>4.994925</c:v>
                </c:pt>
                <c:pt idx="2">
                  <c:v>5.366991</c:v>
                </c:pt>
                <c:pt idx="3">
                  <c:v>5.657186</c:v>
                </c:pt>
                <c:pt idx="4">
                  <c:v>5.003078</c:v>
                </c:pt>
                <c:pt idx="5">
                  <c:v>5.805329</c:v>
                </c:pt>
                <c:pt idx="6">
                  <c:v>5.890454</c:v>
                </c:pt>
                <c:pt idx="7">
                  <c:v>6.45134</c:v>
                </c:pt>
                <c:pt idx="8">
                  <c:v>6.725238</c:v>
                </c:pt>
                <c:pt idx="9">
                  <c:v>8.482106</c:v>
                </c:pt>
                <c:pt idx="10">
                  <c:v>6.884594</c:v>
                </c:pt>
                <c:pt idx="11">
                  <c:v>6.345342</c:v>
                </c:pt>
                <c:pt idx="12">
                  <c:v>6.520693</c:v>
                </c:pt>
                <c:pt idx="13">
                  <c:v>6.190939</c:v>
                </c:pt>
                <c:pt idx="14">
                  <c:v>6.602343</c:v>
                </c:pt>
                <c:pt idx="15">
                  <c:v>6.982483</c:v>
                </c:pt>
                <c:pt idx="16">
                  <c:v>6.551266</c:v>
                </c:pt>
                <c:pt idx="17">
                  <c:v>6.957868</c:v>
                </c:pt>
                <c:pt idx="18">
                  <c:v>6.853067</c:v>
                </c:pt>
                <c:pt idx="19">
                  <c:v>7.462777</c:v>
                </c:pt>
                <c:pt idx="20">
                  <c:v>7.680244</c:v>
                </c:pt>
                <c:pt idx="21">
                  <c:v>9.296212</c:v>
                </c:pt>
                <c:pt idx="22">
                  <c:v>7.968254</c:v>
                </c:pt>
                <c:pt idx="23">
                  <c:v>7.146652</c:v>
                </c:pt>
                <c:pt idx="24">
                  <c:v>7.215864</c:v>
                </c:pt>
                <c:pt idx="25">
                  <c:v>7.060672</c:v>
                </c:pt>
                <c:pt idx="26">
                  <c:v>6.844476</c:v>
                </c:pt>
                <c:pt idx="27">
                  <c:v>7.060137</c:v>
                </c:pt>
                <c:pt idx="28">
                  <c:v>7.14194</c:v>
                </c:pt>
                <c:pt idx="29">
                  <c:v>8.108564</c:v>
                </c:pt>
                <c:pt idx="30">
                  <c:v>8.308152</c:v>
                </c:pt>
                <c:pt idx="31">
                  <c:v>9.036388</c:v>
                </c:pt>
                <c:pt idx="32">
                  <c:v>9.204837</c:v>
                </c:pt>
                <c:pt idx="33">
                  <c:v>10.895547</c:v>
                </c:pt>
                <c:pt idx="34">
                  <c:v>9.432127</c:v>
                </c:pt>
              </c:numCache>
            </c:numRef>
          </c:val>
          <c:extLst>
            <c:ext xmlns:c16="http://schemas.microsoft.com/office/drawing/2014/chart" uri="{C3380CC4-5D6E-409C-BE32-E72D297353CC}">
              <c16:uniqueId val="{0000000C-CB01-4B89-A725-1CA2D0FD4A84}"/>
            </c:ext>
          </c:extLst>
        </c:ser>
        <c:dLbls>
          <c:showLegendKey val="0"/>
          <c:showVal val="0"/>
          <c:showCatName val="0"/>
          <c:showSerName val="0"/>
          <c:showPercent val="0"/>
          <c:showBubbleSize val="0"/>
        </c:dLbls>
        <c:gapWidth val="150"/>
        <c:overlap val="100"/>
        <c:axId val="1624167016"/>
        <c:axId val="1624169640"/>
        <c:extLst>
          <c:ext xmlns:c15="http://schemas.microsoft.com/office/drawing/2012/chart" uri="{02D57815-91ED-43cb-92C2-25804820EDAC}">
            <c15:filteredBarSeries>
              <c15:ser>
                <c:idx val="1"/>
                <c:order val="1"/>
                <c:tx>
                  <c:strRef>
                    <c:extLst>
                      <c:ext uri="{02D57815-91ED-43cb-92C2-25804820EDAC}">
                        <c15:formulaRef>
                          <c15:sqref>Sheet1!$C$1</c15:sqref>
                        </c15:formulaRef>
                      </c:ext>
                    </c:extLst>
                    <c:strCache>
                      <c:ptCount val="1"/>
                      <c:pt idx="0">
                        <c:v>Sector 1</c:v>
                      </c:pt>
                    </c:strCache>
                  </c:strRef>
                </c:tx>
                <c:spPr>
                  <a:solidFill>
                    <a:schemeClr val="dk1">
                      <a:tint val="55000"/>
                    </a:schemeClr>
                  </a:solidFill>
                  <a:ln>
                    <a:noFill/>
                  </a:ln>
                  <a:effectLst/>
                </c:spPr>
                <c:invertIfNegative val="0"/>
                <c:cat>
                  <c:strRef>
                    <c:extLst>
                      <c:ex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c:ext uri="{02D57815-91ED-43cb-92C2-25804820EDAC}">
                        <c15:formulaRef>
                          <c15:sqref>Sheet1!$C$2:$C$36</c15:sqref>
                        </c15:formulaRef>
                      </c:ext>
                    </c:extLst>
                    <c:numCache>
                      <c:formatCode>General</c:formatCode>
                      <c:ptCount val="35"/>
                      <c:pt idx="0">
                        <c:v>40.809865000000002</c:v>
                      </c:pt>
                      <c:pt idx="1">
                        <c:v>41.860694000000002</c:v>
                      </c:pt>
                      <c:pt idx="2">
                        <c:v>34.509422000000001</c:v>
                      </c:pt>
                      <c:pt idx="3">
                        <c:v>49.657702</c:v>
                      </c:pt>
                      <c:pt idx="4">
                        <c:v>50.616717999999999</c:v>
                      </c:pt>
                      <c:pt idx="5">
                        <c:v>51.539561999999997</c:v>
                      </c:pt>
                      <c:pt idx="6">
                        <c:v>53.959558000000001</c:v>
                      </c:pt>
                      <c:pt idx="7">
                        <c:v>48.84498</c:v>
                      </c:pt>
                      <c:pt idx="8">
                        <c:v>43.617640999999999</c:v>
                      </c:pt>
                      <c:pt idx="9">
                        <c:v>44.545436000000002</c:v>
                      </c:pt>
                      <c:pt idx="10">
                        <c:v>41.403309999999998</c:v>
                      </c:pt>
                      <c:pt idx="11">
                        <c:v>42.115876</c:v>
                      </c:pt>
                      <c:pt idx="12">
                        <c:v>39.743237000000001</c:v>
                      </c:pt>
                      <c:pt idx="13">
                        <c:v>42.646582000000002</c:v>
                      </c:pt>
                      <c:pt idx="14">
                        <c:v>40.323042999999998</c:v>
                      </c:pt>
                      <c:pt idx="15">
                        <c:v>52.877302</c:v>
                      </c:pt>
                      <c:pt idx="16">
                        <c:v>52.359431000000001</c:v>
                      </c:pt>
                      <c:pt idx="17">
                        <c:v>50.322519999999997</c:v>
                      </c:pt>
                      <c:pt idx="18">
                        <c:v>52.78004</c:v>
                      </c:pt>
                      <c:pt idx="19">
                        <c:v>49.372244999999999</c:v>
                      </c:pt>
                      <c:pt idx="20">
                        <c:v>50.002222000000003</c:v>
                      </c:pt>
                      <c:pt idx="21">
                        <c:v>46.193210000000001</c:v>
                      </c:pt>
                      <c:pt idx="22">
                        <c:v>41.510463999999999</c:v>
                      </c:pt>
                      <c:pt idx="23">
                        <c:v>40.221505000000001</c:v>
                      </c:pt>
                      <c:pt idx="24">
                        <c:v>42.523161999999999</c:v>
                      </c:pt>
                      <c:pt idx="25">
                        <c:v>45.628883999999999</c:v>
                      </c:pt>
                      <c:pt idx="26">
                        <c:v>40.031787999999999</c:v>
                      </c:pt>
                      <c:pt idx="27">
                        <c:v>51.652650000000001</c:v>
                      </c:pt>
                      <c:pt idx="28">
                        <c:v>50.177590000000002</c:v>
                      </c:pt>
                      <c:pt idx="29">
                        <c:v>54.531019999999998</c:v>
                      </c:pt>
                      <c:pt idx="30">
                        <c:v>56.857843000000003</c:v>
                      </c:pt>
                      <c:pt idx="31">
                        <c:v>50.233561999999999</c:v>
                      </c:pt>
                      <c:pt idx="32">
                        <c:v>48.179372000000001</c:v>
                      </c:pt>
                      <c:pt idx="33">
                        <c:v>47.120365</c:v>
                      </c:pt>
                      <c:pt idx="34">
                        <c:v>35.507016999999998</c:v>
                      </c:pt>
                    </c:numCache>
                  </c:numRef>
                </c:val>
                <c:extLst>
                  <c:ext xmlns:c16="http://schemas.microsoft.com/office/drawing/2014/chart" uri="{C3380CC4-5D6E-409C-BE32-E72D297353CC}">
                    <c16:uniqueId val="{00000001-A582-417D-A5F8-2A0075530F50}"/>
                  </c:ext>
                </c:extLst>
              </c15:ser>
            </c15:filteredBarSeries>
            <c15:filteredBarSeries>
              <c15:ser>
                <c:idx val="2"/>
                <c:order val="2"/>
                <c:tx>
                  <c:strRef>
                    <c:extLst xmlns:c15="http://schemas.microsoft.com/office/drawing/2012/chart">
                      <c:ext xmlns:c15="http://schemas.microsoft.com/office/drawing/2012/chart" uri="{02D57815-91ED-43cb-92C2-25804820EDAC}">
                        <c15:formulaRef>
                          <c15:sqref>Sheet1!$D$1</c15:sqref>
                        </c15:formulaRef>
                      </c:ext>
                    </c:extLst>
                    <c:strCache>
                      <c:ptCount val="1"/>
                      <c:pt idx="0">
                        <c:v>Sector 2</c:v>
                      </c:pt>
                    </c:strCache>
                  </c:strRef>
                </c:tx>
                <c:spPr>
                  <a:solidFill>
                    <a:schemeClr val="dk1">
                      <a:tint val="75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D$2:$D$36</c15:sqref>
                        </c15:formulaRef>
                      </c:ext>
                    </c:extLst>
                    <c:numCache>
                      <c:formatCode>General</c:formatCode>
                      <c:ptCount val="35"/>
                      <c:pt idx="0">
                        <c:v>19.557812999999999</c:v>
                      </c:pt>
                      <c:pt idx="1">
                        <c:v>23.784803</c:v>
                      </c:pt>
                      <c:pt idx="2">
                        <c:v>21.799987000000002</c:v>
                      </c:pt>
                      <c:pt idx="3">
                        <c:v>25.857672000000001</c:v>
                      </c:pt>
                      <c:pt idx="4">
                        <c:v>24.992432999999998</c:v>
                      </c:pt>
                      <c:pt idx="5">
                        <c:v>26.955321999999999</c:v>
                      </c:pt>
                      <c:pt idx="6">
                        <c:v>32.419100999999998</c:v>
                      </c:pt>
                      <c:pt idx="7">
                        <c:v>29.344944999999999</c:v>
                      </c:pt>
                      <c:pt idx="8">
                        <c:v>27.493164</c:v>
                      </c:pt>
                      <c:pt idx="9">
                        <c:v>23.275084</c:v>
                      </c:pt>
                      <c:pt idx="10">
                        <c:v>24.237242999999999</c:v>
                      </c:pt>
                      <c:pt idx="11">
                        <c:v>23.067723999999998</c:v>
                      </c:pt>
                      <c:pt idx="12">
                        <c:v>23.036899999999999</c:v>
                      </c:pt>
                      <c:pt idx="13">
                        <c:v>25.516981000000001</c:v>
                      </c:pt>
                      <c:pt idx="14">
                        <c:v>22.874832000000001</c:v>
                      </c:pt>
                      <c:pt idx="15">
                        <c:v>26.349399999999999</c:v>
                      </c:pt>
                      <c:pt idx="16">
                        <c:v>29.881401</c:v>
                      </c:pt>
                      <c:pt idx="17">
                        <c:v>31.686630000000001</c:v>
                      </c:pt>
                      <c:pt idx="18">
                        <c:v>34.259588000000001</c:v>
                      </c:pt>
                      <c:pt idx="19">
                        <c:v>31.563769000000001</c:v>
                      </c:pt>
                      <c:pt idx="20">
                        <c:v>27.452038999999999</c:v>
                      </c:pt>
                      <c:pt idx="21">
                        <c:v>24.840769999999999</c:v>
                      </c:pt>
                      <c:pt idx="22">
                        <c:v>26.102284999999998</c:v>
                      </c:pt>
                      <c:pt idx="23">
                        <c:v>23.897715000000002</c:v>
                      </c:pt>
                      <c:pt idx="24">
                        <c:v>25.006601</c:v>
                      </c:pt>
                      <c:pt idx="25">
                        <c:v>27.601903</c:v>
                      </c:pt>
                      <c:pt idx="26">
                        <c:v>22.956002999999999</c:v>
                      </c:pt>
                      <c:pt idx="27">
                        <c:v>26.913005999999999</c:v>
                      </c:pt>
                      <c:pt idx="28">
                        <c:v>31.412331999999999</c:v>
                      </c:pt>
                      <c:pt idx="29">
                        <c:v>32.630974000000002</c:v>
                      </c:pt>
                      <c:pt idx="30">
                        <c:v>31.591038000000001</c:v>
                      </c:pt>
                      <c:pt idx="31">
                        <c:v>31.863667</c:v>
                      </c:pt>
                      <c:pt idx="32">
                        <c:v>31.422338</c:v>
                      </c:pt>
                      <c:pt idx="33">
                        <c:v>28.426777000000001</c:v>
                      </c:pt>
                      <c:pt idx="34">
                        <c:v>26.165305</c:v>
                      </c:pt>
                    </c:numCache>
                  </c:numRef>
                </c:val>
                <c:extLst xmlns:c15="http://schemas.microsoft.com/office/drawing/2012/chart">
                  <c:ext xmlns:c16="http://schemas.microsoft.com/office/drawing/2014/chart" uri="{C3380CC4-5D6E-409C-BE32-E72D297353CC}">
                    <c16:uniqueId val="{00000000-2D16-4906-BB22-77AF188F6975}"/>
                  </c:ext>
                </c:extLst>
              </c15:ser>
            </c15:filteredBarSeries>
            <c15:filteredBarSeries>
              <c15:ser>
                <c:idx val="3"/>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Sector 3</c:v>
                      </c:pt>
                    </c:strCache>
                  </c:strRef>
                </c:tx>
                <c:spPr>
                  <a:solidFill>
                    <a:schemeClr val="dk1">
                      <a:tint val="985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E$2:$E$36</c15:sqref>
                        </c15:formulaRef>
                      </c:ext>
                    </c:extLst>
                    <c:numCache>
                      <c:formatCode>General</c:formatCode>
                      <c:ptCount val="35"/>
                      <c:pt idx="0">
                        <c:v>27.462826</c:v>
                      </c:pt>
                      <c:pt idx="1">
                        <c:v>39.404572000000002</c:v>
                      </c:pt>
                      <c:pt idx="2">
                        <c:v>34.570886000000002</c:v>
                      </c:pt>
                      <c:pt idx="3">
                        <c:v>47.424028999999997</c:v>
                      </c:pt>
                      <c:pt idx="4">
                        <c:v>42.725195999999997</c:v>
                      </c:pt>
                      <c:pt idx="5">
                        <c:v>49.893875999999999</c:v>
                      </c:pt>
                      <c:pt idx="6">
                        <c:v>45.230561999999999</c:v>
                      </c:pt>
                      <c:pt idx="7">
                        <c:v>36.896878999999998</c:v>
                      </c:pt>
                      <c:pt idx="8">
                        <c:v>33.942658000000002</c:v>
                      </c:pt>
                      <c:pt idx="9">
                        <c:v>31.043399000000001</c:v>
                      </c:pt>
                      <c:pt idx="10">
                        <c:v>28.703312</c:v>
                      </c:pt>
                      <c:pt idx="11">
                        <c:v>32.247686999999999</c:v>
                      </c:pt>
                      <c:pt idx="12">
                        <c:v>39.267698000000003</c:v>
                      </c:pt>
                      <c:pt idx="13">
                        <c:v>36.104199999999999</c:v>
                      </c:pt>
                      <c:pt idx="14">
                        <c:v>35.473145000000002</c:v>
                      </c:pt>
                      <c:pt idx="15">
                        <c:v>53.202506999999997</c:v>
                      </c:pt>
                      <c:pt idx="16">
                        <c:v>50.982067999999998</c:v>
                      </c:pt>
                      <c:pt idx="17">
                        <c:v>60.592055999999999</c:v>
                      </c:pt>
                      <c:pt idx="18">
                        <c:v>55.653505000000003</c:v>
                      </c:pt>
                      <c:pt idx="19">
                        <c:v>45.804431000000001</c:v>
                      </c:pt>
                      <c:pt idx="20">
                        <c:v>42.097817999999997</c:v>
                      </c:pt>
                      <c:pt idx="21">
                        <c:v>38.569479999999999</c:v>
                      </c:pt>
                      <c:pt idx="22">
                        <c:v>32.493749000000001</c:v>
                      </c:pt>
                      <c:pt idx="23">
                        <c:v>31.329796000000002</c:v>
                      </c:pt>
                      <c:pt idx="24">
                        <c:v>33.130343000000003</c:v>
                      </c:pt>
                      <c:pt idx="25">
                        <c:v>40.916313000000002</c:v>
                      </c:pt>
                      <c:pt idx="26">
                        <c:v>34.557360000000003</c:v>
                      </c:pt>
                      <c:pt idx="27">
                        <c:v>46.799098000000001</c:v>
                      </c:pt>
                      <c:pt idx="28">
                        <c:v>46.752299000000001</c:v>
                      </c:pt>
                      <c:pt idx="29">
                        <c:v>54.888565999999997</c:v>
                      </c:pt>
                      <c:pt idx="30">
                        <c:v>56.439608999999997</c:v>
                      </c:pt>
                      <c:pt idx="31">
                        <c:v>44.964128000000002</c:v>
                      </c:pt>
                      <c:pt idx="32">
                        <c:v>45.321382999999997</c:v>
                      </c:pt>
                      <c:pt idx="33">
                        <c:v>37.671095999999999</c:v>
                      </c:pt>
                      <c:pt idx="34">
                        <c:v>31.554338999999999</c:v>
                      </c:pt>
                    </c:numCache>
                  </c:numRef>
                </c:val>
                <c:extLst xmlns:c15="http://schemas.microsoft.com/office/drawing/2012/chart">
                  <c:ext xmlns:c16="http://schemas.microsoft.com/office/drawing/2014/chart" uri="{C3380CC4-5D6E-409C-BE32-E72D297353CC}">
                    <c16:uniqueId val="{00000001-2D16-4906-BB22-77AF188F6975}"/>
                  </c:ext>
                </c:extLst>
              </c15:ser>
            </c15:filteredBarSeries>
            <c15:filteredBarSeries>
              <c15:ser>
                <c:idx val="4"/>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Sector 4</c:v>
                      </c:pt>
                    </c:strCache>
                  </c:strRef>
                </c:tx>
                <c:spPr>
                  <a:solidFill>
                    <a:schemeClr val="dk1">
                      <a:tint val="30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F$2:$F$36</c15:sqref>
                        </c15:formulaRef>
                      </c:ext>
                    </c:extLst>
                    <c:numCache>
                      <c:formatCode>General</c:formatCode>
                      <c:ptCount val="35"/>
                      <c:pt idx="0">
                        <c:v>28.541810999999999</c:v>
                      </c:pt>
                      <c:pt idx="1">
                        <c:v>29.052481</c:v>
                      </c:pt>
                      <c:pt idx="2">
                        <c:v>33.367750000000001</c:v>
                      </c:pt>
                      <c:pt idx="3">
                        <c:v>35.968623999999998</c:v>
                      </c:pt>
                      <c:pt idx="4">
                        <c:v>33.207349000000001</c:v>
                      </c:pt>
                      <c:pt idx="5">
                        <c:v>35.057527</c:v>
                      </c:pt>
                      <c:pt idx="6">
                        <c:v>38.900894999999998</c:v>
                      </c:pt>
                      <c:pt idx="7">
                        <c:v>43.694178999999998</c:v>
                      </c:pt>
                      <c:pt idx="8">
                        <c:v>62.841144999999997</c:v>
                      </c:pt>
                      <c:pt idx="9">
                        <c:v>54.763354999999997</c:v>
                      </c:pt>
                      <c:pt idx="10">
                        <c:v>89.252371999999994</c:v>
                      </c:pt>
                      <c:pt idx="11">
                        <c:v>25.975645</c:v>
                      </c:pt>
                      <c:pt idx="12">
                        <c:v>30.148197</c:v>
                      </c:pt>
                      <c:pt idx="13">
                        <c:v>36.475974999999998</c:v>
                      </c:pt>
                      <c:pt idx="14">
                        <c:v>29.658926000000001</c:v>
                      </c:pt>
                      <c:pt idx="15">
                        <c:v>35.421528000000002</c:v>
                      </c:pt>
                      <c:pt idx="16">
                        <c:v>32.439849000000002</c:v>
                      </c:pt>
                      <c:pt idx="17">
                        <c:v>35.716830000000002</c:v>
                      </c:pt>
                      <c:pt idx="18">
                        <c:v>41.225175999999998</c:v>
                      </c:pt>
                      <c:pt idx="19">
                        <c:v>43.331505999999997</c:v>
                      </c:pt>
                      <c:pt idx="20">
                        <c:v>67.705122000000003</c:v>
                      </c:pt>
                      <c:pt idx="21">
                        <c:v>56.56662</c:v>
                      </c:pt>
                      <c:pt idx="22">
                        <c:v>91.018388000000002</c:v>
                      </c:pt>
                      <c:pt idx="23">
                        <c:v>26.250737000000001</c:v>
                      </c:pt>
                      <c:pt idx="24">
                        <c:v>30.771353000000001</c:v>
                      </c:pt>
                      <c:pt idx="25">
                        <c:v>32.781751</c:v>
                      </c:pt>
                      <c:pt idx="26">
                        <c:v>40.871063999999997</c:v>
                      </c:pt>
                      <c:pt idx="27">
                        <c:v>36.555362000000002</c:v>
                      </c:pt>
                      <c:pt idx="28">
                        <c:v>33.561486000000002</c:v>
                      </c:pt>
                      <c:pt idx="29">
                        <c:v>37.536104000000002</c:v>
                      </c:pt>
                      <c:pt idx="30">
                        <c:v>45.721882000000001</c:v>
                      </c:pt>
                      <c:pt idx="31">
                        <c:v>44.358134999999997</c:v>
                      </c:pt>
                      <c:pt idx="32">
                        <c:v>73.994276999999997</c:v>
                      </c:pt>
                      <c:pt idx="33">
                        <c:v>62.661236000000002</c:v>
                      </c:pt>
                      <c:pt idx="34">
                        <c:v>91.533505000000005</c:v>
                      </c:pt>
                    </c:numCache>
                  </c:numRef>
                </c:val>
                <c:extLst xmlns:c15="http://schemas.microsoft.com/office/drawing/2012/chart">
                  <c:ext xmlns:c16="http://schemas.microsoft.com/office/drawing/2014/chart" uri="{C3380CC4-5D6E-409C-BE32-E72D297353CC}">
                    <c16:uniqueId val="{00000002-2D16-4906-BB22-77AF188F6975}"/>
                  </c:ext>
                </c:extLst>
              </c15:ser>
            </c15:filteredBarSeries>
            <c15:filteredBarSeries>
              <c15:ser>
                <c:idx val="5"/>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Sector 5</c:v>
                      </c:pt>
                    </c:strCache>
                  </c:strRef>
                </c:tx>
                <c:spPr>
                  <a:solidFill>
                    <a:schemeClr val="dk1">
                      <a:tint val="60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G$2:$G$36</c15:sqref>
                        </c15:formulaRef>
                      </c:ext>
                    </c:extLst>
                    <c:numCache>
                      <c:formatCode>General</c:formatCode>
                      <c:ptCount val="35"/>
                      <c:pt idx="0">
                        <c:v>12.194502</c:v>
                      </c:pt>
                      <c:pt idx="1">
                        <c:v>7.156504</c:v>
                      </c:pt>
                      <c:pt idx="2">
                        <c:v>12.852249</c:v>
                      </c:pt>
                      <c:pt idx="3">
                        <c:v>17.913703000000002</c:v>
                      </c:pt>
                      <c:pt idx="4">
                        <c:v>9.8828340000000008</c:v>
                      </c:pt>
                      <c:pt idx="5">
                        <c:v>9.6037440000000007</c:v>
                      </c:pt>
                      <c:pt idx="6">
                        <c:v>11.410088999999999</c:v>
                      </c:pt>
                      <c:pt idx="7">
                        <c:v>11.869301</c:v>
                      </c:pt>
                      <c:pt idx="8">
                        <c:v>10.943581</c:v>
                      </c:pt>
                      <c:pt idx="9">
                        <c:v>24.200908999999999</c:v>
                      </c:pt>
                      <c:pt idx="10">
                        <c:v>59.814160000000001</c:v>
                      </c:pt>
                      <c:pt idx="11">
                        <c:v>7.4327399999999999</c:v>
                      </c:pt>
                      <c:pt idx="12">
                        <c:v>12.873098000000001</c:v>
                      </c:pt>
                      <c:pt idx="13">
                        <c:v>17.347481999999999</c:v>
                      </c:pt>
                      <c:pt idx="14">
                        <c:v>14.342812</c:v>
                      </c:pt>
                      <c:pt idx="15">
                        <c:v>16.454574000000001</c:v>
                      </c:pt>
                      <c:pt idx="16">
                        <c:v>8.7173169999999995</c:v>
                      </c:pt>
                      <c:pt idx="17">
                        <c:v>8.7356230000000004</c:v>
                      </c:pt>
                      <c:pt idx="18">
                        <c:v>11.042906</c:v>
                      </c:pt>
                      <c:pt idx="19">
                        <c:v>11.438431</c:v>
                      </c:pt>
                      <c:pt idx="20">
                        <c:v>12.034544</c:v>
                      </c:pt>
                      <c:pt idx="21">
                        <c:v>28.273</c:v>
                      </c:pt>
                      <c:pt idx="22">
                        <c:v>61.781478999999997</c:v>
                      </c:pt>
                      <c:pt idx="23">
                        <c:v>8.5091110000000008</c:v>
                      </c:pt>
                      <c:pt idx="24">
                        <c:v>14.055974000000001</c:v>
                      </c:pt>
                      <c:pt idx="25">
                        <c:v>10.074814999999999</c:v>
                      </c:pt>
                      <c:pt idx="26">
                        <c:v>26.582386</c:v>
                      </c:pt>
                      <c:pt idx="27">
                        <c:v>16.377361000000001</c:v>
                      </c:pt>
                      <c:pt idx="28">
                        <c:v>10.356033</c:v>
                      </c:pt>
                      <c:pt idx="29">
                        <c:v>11.832685</c:v>
                      </c:pt>
                      <c:pt idx="30">
                        <c:v>14.576200999999999</c:v>
                      </c:pt>
                      <c:pt idx="31">
                        <c:v>14.285002</c:v>
                      </c:pt>
                      <c:pt idx="32">
                        <c:v>16.927510000000002</c:v>
                      </c:pt>
                      <c:pt idx="33">
                        <c:v>34.868727999999997</c:v>
                      </c:pt>
                      <c:pt idx="34">
                        <c:v>70.545312999999993</c:v>
                      </c:pt>
                    </c:numCache>
                  </c:numRef>
                </c:val>
                <c:extLst xmlns:c15="http://schemas.microsoft.com/office/drawing/2012/chart">
                  <c:ext xmlns:c16="http://schemas.microsoft.com/office/drawing/2014/chart" uri="{C3380CC4-5D6E-409C-BE32-E72D297353CC}">
                    <c16:uniqueId val="{00000003-2D16-4906-BB22-77AF188F6975}"/>
                  </c:ext>
                </c:extLst>
              </c15:ser>
            </c15:filteredBarSeries>
            <c15:filteredBarSeries>
              <c15:ser>
                <c:idx val="6"/>
                <c:order val="6"/>
                <c:tx>
                  <c:strRef>
                    <c:extLst xmlns:c15="http://schemas.microsoft.com/office/drawing/2012/chart">
                      <c:ext xmlns:c15="http://schemas.microsoft.com/office/drawing/2012/chart" uri="{02D57815-91ED-43cb-92C2-25804820EDAC}">
                        <c15:formulaRef>
                          <c15:sqref>Sheet1!$H$1</c15:sqref>
                        </c15:formulaRef>
                      </c:ext>
                    </c:extLst>
                    <c:strCache>
                      <c:ptCount val="1"/>
                      <c:pt idx="0">
                        <c:v>Sector 6</c:v>
                      </c:pt>
                    </c:strCache>
                  </c:strRef>
                </c:tx>
                <c:spPr>
                  <a:solidFill>
                    <a:schemeClr val="dk1">
                      <a:tint val="80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H$2:$H$36</c15:sqref>
                        </c15:formulaRef>
                      </c:ext>
                    </c:extLst>
                    <c:numCache>
                      <c:formatCode>General</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numRef>
                </c:val>
                <c:extLst xmlns:c15="http://schemas.microsoft.com/office/drawing/2012/chart">
                  <c:ext xmlns:c16="http://schemas.microsoft.com/office/drawing/2014/chart" uri="{C3380CC4-5D6E-409C-BE32-E72D297353CC}">
                    <c16:uniqueId val="{00000003-CB01-4B89-A725-1CA2D0FD4A84}"/>
                  </c:ext>
                </c:extLst>
              </c15:ser>
            </c15:filteredBarSeries>
          </c:ext>
        </c:extLst>
      </c:barChart>
      <c:lineChart>
        <c:grouping val="stacked"/>
        <c:varyColors val="0"/>
        <c:ser>
          <c:idx val="0"/>
          <c:order val="0"/>
          <c:tx>
            <c:strRef>
              <c:f>Sheet1!$D$1</c:f>
              <c:strCache>
                <c:ptCount val="1"/>
                <c:pt idx="0">
                  <c:v>Total</c:v>
                </c:pt>
              </c:strCache>
            </c:strRef>
          </c:tx>
          <c:spPr>
            <a:solidFill>
              <a:srgbClr val="A6A6A6"/>
            </a:solidFill>
            <a:ln w="19050" cap="rnd" cmpd="sng" algn="ctr">
              <a:solidFill>
                <a:schemeClr val="accent1"/>
              </a:solidFill>
              <a:prstDash val="solid"/>
              <a:round/>
            </a:ln>
            <a:effectLst/>
          </c:spPr>
          <c:marker>
            <c:symbol val="circle"/>
            <c:size val="10"/>
            <c:spPr>
              <a:solidFill>
                <a:schemeClr val="accent1"/>
              </a:solidFill>
              <a:ln w="6350" cap="flat" cmpd="sng" algn="ctr">
                <a:solidFill>
                  <a:schemeClr val="accent1"/>
                </a:solidFill>
                <a:prstDash val="solid"/>
                <a:round/>
              </a:ln>
              <a:effectLst/>
            </c:spPr>
          </c:marker>
          <c:dPt>
            <c:idx val="0"/>
            <c:bubble3D val="0"/>
            <c:spPr>
              <a:ln w="19050" cap="rnd" cmpd="sng" algn="ctr">
                <a:solidFill>
                  <a:schemeClr val="accent1"/>
                </a:solidFill>
                <a:prstDash val="solid"/>
                <a:round/>
              </a:ln>
              <a:effectLst/>
            </c:spPr>
            <c:extLst>
              <c:ext xmlns:c16="http://schemas.microsoft.com/office/drawing/2014/chart" uri="{C3380CC4-5D6E-409C-BE32-E72D297353CC}">
                <c16:uniqueId val="{00000005-2D16-4906-BB22-77AF188F6975}"/>
              </c:ext>
            </c:extLst>
          </c:dPt>
          <c:cat>
            <c:strRef>
              <c:f>Sheet1!$A$2:$A$36</c:f>
              <c:strCache>
                <c:ptCount val="35"/>
                <c:pt idx="0">
                  <c:v>Oct-21</c:v>
                </c:pt>
                <c:pt idx="1">
                  <c:v>Nov-21</c:v>
                </c:pt>
                <c:pt idx="2">
                  <c:v>Dec-21</c:v>
                </c:pt>
                <c:pt idx="3">
                  <c:v>Jan-22</c:v>
                </c:pt>
                <c:pt idx="4">
                  <c:v>Feb-22</c:v>
                </c:pt>
                <c:pt idx="5">
                  <c:v>Mar-22</c:v>
                </c:pt>
                <c:pt idx="6">
                  <c:v>Apr-22</c:v>
                </c:pt>
                <c:pt idx="7">
                  <c:v>May-22</c:v>
                </c:pt>
                <c:pt idx="8">
                  <c:v>Jun-22</c:v>
                </c:pt>
                <c:pt idx="9">
                  <c:v>Jul-22</c:v>
                </c:pt>
                <c:pt idx="10">
                  <c:v>Aug-22</c:v>
                </c:pt>
                <c:pt idx="11">
                  <c:v>Sep-22</c:v>
                </c:pt>
                <c:pt idx="12">
                  <c:v>Oct-22</c:v>
                </c:pt>
                <c:pt idx="13">
                  <c:v>Nov-22</c:v>
                </c:pt>
                <c:pt idx="14">
                  <c:v>Dec-22</c:v>
                </c:pt>
                <c:pt idx="15">
                  <c:v>Jan-23</c:v>
                </c:pt>
                <c:pt idx="16">
                  <c:v>Feb-23</c:v>
                </c:pt>
                <c:pt idx="17">
                  <c:v>Mar-23</c:v>
                </c:pt>
                <c:pt idx="18">
                  <c:v>Apr-23</c:v>
                </c:pt>
                <c:pt idx="19">
                  <c:v>May-23</c:v>
                </c:pt>
                <c:pt idx="20">
                  <c:v>Jun-23</c:v>
                </c:pt>
                <c:pt idx="21">
                  <c:v>Jul-23</c:v>
                </c:pt>
                <c:pt idx="22">
                  <c:v>Aug-23</c:v>
                </c:pt>
                <c:pt idx="23">
                  <c:v>Sep-23</c:v>
                </c:pt>
                <c:pt idx="24">
                  <c:v>Oct-23</c:v>
                </c:pt>
                <c:pt idx="25">
                  <c:v>Nov-23</c:v>
                </c:pt>
                <c:pt idx="26">
                  <c:v>Dec-23</c:v>
                </c:pt>
                <c:pt idx="27">
                  <c:v>Jan-24</c:v>
                </c:pt>
                <c:pt idx="28">
                  <c:v>Feb-24</c:v>
                </c:pt>
                <c:pt idx="29">
                  <c:v>Mar-24</c:v>
                </c:pt>
                <c:pt idx="30">
                  <c:v>Apr-24</c:v>
                </c:pt>
                <c:pt idx="31">
                  <c:v>May-24</c:v>
                </c:pt>
                <c:pt idx="32">
                  <c:v>Jun-24</c:v>
                </c:pt>
                <c:pt idx="33">
                  <c:v>Jul-24</c:v>
                </c:pt>
                <c:pt idx="34">
                  <c:v>Aug-24</c:v>
                </c:pt>
              </c:strCache>
            </c:strRef>
          </c:cat>
          <c:val>
            <c:numRef>
              <c:f>Sheet1!$D$2:$D$36</c:f>
              <c:numCache>
                <c:formatCode>General</c:formatCode>
                <c:ptCount val="35"/>
                <c:pt idx="0">
                  <c:v>6.250365</c:v>
                </c:pt>
                <c:pt idx="1">
                  <c:v>6.129729</c:v>
                </c:pt>
                <c:pt idx="2">
                  <c:v>6.57791</c:v>
                </c:pt>
                <c:pt idx="3">
                  <c:v>7.092252</c:v>
                </c:pt>
                <c:pt idx="4">
                  <c:v>6.25804</c:v>
                </c:pt>
                <c:pt idx="5">
                  <c:v>7.224044</c:v>
                </c:pt>
                <c:pt idx="6">
                  <c:v>7.384405</c:v>
                </c:pt>
                <c:pt idx="7">
                  <c:v>8.351109</c:v>
                </c:pt>
                <c:pt idx="8">
                  <c:v>8.408648</c:v>
                </c:pt>
                <c:pt idx="9">
                  <c:v>10.259714</c:v>
                </c:pt>
                <c:pt idx="10">
                  <c:v>8.498289</c:v>
                </c:pt>
                <c:pt idx="11">
                  <c:v>7.779079</c:v>
                </c:pt>
                <c:pt idx="12">
                  <c:v>7.985354</c:v>
                </c:pt>
                <c:pt idx="13">
                  <c:v>7.580295</c:v>
                </c:pt>
                <c:pt idx="14">
                  <c:v>8.072886</c:v>
                </c:pt>
                <c:pt idx="15">
                  <c:v>8.403061</c:v>
                </c:pt>
                <c:pt idx="16">
                  <c:v>8.082733</c:v>
                </c:pt>
                <c:pt idx="17">
                  <c:v>8.441014</c:v>
                </c:pt>
                <c:pt idx="18">
                  <c:v>8.286471</c:v>
                </c:pt>
                <c:pt idx="19">
                  <c:v>9.131643</c:v>
                </c:pt>
                <c:pt idx="20">
                  <c:v>9.606468</c:v>
                </c:pt>
                <c:pt idx="21">
                  <c:v>11.432505</c:v>
                </c:pt>
                <c:pt idx="22">
                  <c:v>9.617298</c:v>
                </c:pt>
                <c:pt idx="23">
                  <c:v>8.691987</c:v>
                </c:pt>
                <c:pt idx="24">
                  <c:v>8.964939</c:v>
                </c:pt>
                <c:pt idx="25">
                  <c:v>8.618094</c:v>
                </c:pt>
                <c:pt idx="26">
                  <c:v>8.465047</c:v>
                </c:pt>
                <c:pt idx="27">
                  <c:v>8.591901</c:v>
                </c:pt>
                <c:pt idx="28">
                  <c:v>8.70143</c:v>
                </c:pt>
                <c:pt idx="29">
                  <c:v>10.319291</c:v>
                </c:pt>
                <c:pt idx="30">
                  <c:v>10.468158</c:v>
                </c:pt>
                <c:pt idx="31">
                  <c:v>11.017827</c:v>
                </c:pt>
                <c:pt idx="32">
                  <c:v>11.359069</c:v>
                </c:pt>
                <c:pt idx="33">
                  <c:v>13.437757</c:v>
                </c:pt>
                <c:pt idx="34">
                  <c:v>11.515989</c:v>
                </c:pt>
              </c:numCache>
            </c:numRef>
          </c:val>
          <c:smooth val="0"/>
          <c:extLst>
            <c:ext xmlns:c16="http://schemas.microsoft.com/office/drawing/2014/chart" uri="{C3380CC4-5D6E-409C-BE32-E72D297353CC}">
              <c16:uniqueId val="{00000000-A582-417D-A5F8-2A0075530F50}"/>
            </c:ext>
          </c:extLst>
        </c:ser>
        <c:dLbls>
          <c:showLegendKey val="0"/>
          <c:showVal val="0"/>
          <c:showCatName val="0"/>
          <c:showSerName val="0"/>
          <c:showPercent val="0"/>
          <c:showBubbleSize val="0"/>
        </c:dLbls>
        <c:marker val="1"/>
        <c:smooth val="0"/>
        <c:axId val="1624167016"/>
        <c:axId val="1624169640"/>
      </c:lineChart>
      <c:catAx>
        <c:axId val="1624167016"/>
        <c:scaling>
          <c:orientation val="minMax"/>
        </c:scaling>
        <c:delete val="0"/>
        <c:axPos val="b"/>
        <c:numFmt formatCode="General" sourceLinked="1"/>
        <c:majorTickMark val="none"/>
        <c:minorTickMark val="none"/>
        <c:tickLblPos val="nextTo"/>
        <c:spPr>
          <a:noFill/>
          <a:ln w="9525" cap="flat" cmpd="sng" algn="ctr">
            <a:noFill/>
            <a:prstDash val="solid"/>
            <a:round/>
          </a:ln>
          <a:effectLst/>
        </c:spPr>
        <c:txPr>
          <a:bodyPr rot="0" spcFirstLastPara="1" vertOverflow="ellipsis" wrap="square" anchor="ctr" anchorCtr="1"/>
          <a:lstStyle/>
          <a:p>
            <a:pPr algn="ctr">
              <a:defRPr lang="en-US" sz="800" b="0" i="0" u="none" strike="noStrike" kern="1200" baseline="0">
                <a:solidFill>
                  <a:schemeClr val="tx1"/>
                </a:solidFill>
                <a:latin typeface="+mj-lt"/>
                <a:ea typeface="+mn-ea"/>
                <a:cs typeface="+mn-cs"/>
              </a:defRPr>
            </a:pPr>
            <a:endParaRPr lang="en-US"/>
          </a:p>
        </c:txPr>
        <c:crossAx val="1624169640"/>
        <c:crosses val="autoZero"/>
        <c:auto val="1"/>
        <c:lblAlgn val="ctr"/>
        <c:lblOffset val="100"/>
        <c:tickLblSkip val="3"/>
        <c:noMultiLvlLbl val="1"/>
      </c:catAx>
      <c:valAx>
        <c:axId val="1624169640"/>
        <c:scaling>
          <c:orientation val="minMax"/>
        </c:scaling>
        <c:delete val="0"/>
        <c:axPos val="l"/>
        <c:numFmt formatCode="#,##0" sourceLinked="0"/>
        <c:majorTickMark val="none"/>
        <c:minorTickMark val="none"/>
        <c:tickLblPos val="nextTo"/>
        <c:spPr>
          <a:noFill/>
          <a:ln w="6350" cap="flat" cmpd="sng" algn="ctr">
            <a:noFill/>
            <a:prstDash val="solid"/>
            <a:round/>
          </a:ln>
          <a:effectLst/>
        </c:spPr>
        <c:txPr>
          <a:bodyPr rot="-60000000" spcFirstLastPara="1" vertOverflow="ellipsis" vert="horz" wrap="square" anchor="ctr" anchorCtr="1"/>
          <a:lstStyle/>
          <a:p>
            <a:pP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a:p>
        </c:txPr>
        <c:crossAx val="1624167016"/>
        <c:crosses val="autoZero"/>
        <c:crossBetween val="between"/>
      </c:valAx>
      <c:spPr>
        <a:noFill/>
        <a:ln>
          <a:noFill/>
        </a:ln>
        <a:effectLst/>
      </c:spPr>
    </c:plotArea>
    <c:legend>
      <c:legendPos val="b"/>
      <c:layout>
        <c:manualLayout>
          <c:xMode val="edge"/>
          <c:yMode val="edge"/>
          <c:x val="7.3660685603241294E-2"/>
          <c:y val="0.81729018208272031"/>
          <c:w val="0.90289148980965561"/>
          <c:h val="0.13936961130964612"/>
        </c:manualLayout>
      </c:layout>
      <c:overlay val="0"/>
      <c:spPr>
        <a:noFill/>
        <a:ln>
          <a:noFill/>
        </a:ln>
        <a:effectLst/>
      </c:spPr>
      <c:txPr>
        <a:bodyPr rot="0" spcFirstLastPara="1" vertOverflow="ellipsis" vert="horz" wrap="square" anchor="ctr" anchorCtr="0"/>
        <a:lstStyle/>
        <a:p>
          <a:pPr algn="ctr">
            <a:defRPr lang="en-US"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6350" cap="flat" cmpd="sng" algn="ctr">
      <a:noFill/>
      <a:prstDash val="solid"/>
      <a:miter lim="800000"/>
    </a:ln>
    <a:effectLst/>
  </c:spPr>
  <c:txPr>
    <a:bodyPr/>
    <a:lstStyle/>
    <a:p>
      <a:pPr algn="ctr">
        <a:defRPr lang="en-US" sz="900" b="0" i="0" u="none" strike="noStrike" kern="120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manualLayout>
          <c:layoutTarget val="inner"/>
          <c:xMode val="edge"/>
          <c:yMode val="edge"/>
          <c:x val="4.5205042438763526E-2"/>
          <c:y val="9.9397151645846074E-2"/>
          <c:w val="0.93468942653552012"/>
          <c:h val="0.61239220651000625"/>
        </c:manualLayout>
      </c:layout>
      <c:barChart>
        <c:barDir val="col"/>
        <c:grouping val="stacked"/>
        <c:varyColors val="0"/>
        <c:ser>
          <c:idx val="13"/>
          <c:order val="13"/>
          <c:tx>
            <c:strRef>
              <c:f>Sheet1!$B$1</c:f>
              <c:strCache>
                <c:ptCount val="1"/>
                <c:pt idx="0">
                  <c:v>Dermaplane</c:v>
                </c:pt>
              </c:strCache>
            </c:strRef>
          </c:tx>
          <c:spPr>
            <a:solidFill>
              <a:srgbClr val="00A097"/>
            </a:solidFill>
            <a:ln>
              <a:noFill/>
            </a:ln>
            <a:effectLst/>
          </c:spPr>
          <c:invertIfNegative val="0"/>
          <c:cat>
            <c:strRef>
              <c:f>Sheet1!$A$2:$A$36</c:f>
              <c:strCache>
                <c:ptCount val="35"/>
                <c:pt idx="0">
                  <c:v>Oct-21</c:v>
                </c:pt>
                <c:pt idx="1">
                  <c:v>Nov-21</c:v>
                </c:pt>
                <c:pt idx="2">
                  <c:v>Dec-21</c:v>
                </c:pt>
                <c:pt idx="3">
                  <c:v>Jan-22</c:v>
                </c:pt>
                <c:pt idx="4">
                  <c:v>Feb-22</c:v>
                </c:pt>
                <c:pt idx="5">
                  <c:v>Mar-22</c:v>
                </c:pt>
                <c:pt idx="6">
                  <c:v>Apr-22</c:v>
                </c:pt>
                <c:pt idx="7">
                  <c:v>May-22</c:v>
                </c:pt>
                <c:pt idx="8">
                  <c:v>Jun-22</c:v>
                </c:pt>
                <c:pt idx="9">
                  <c:v>Jul-22</c:v>
                </c:pt>
                <c:pt idx="10">
                  <c:v>Aug-22</c:v>
                </c:pt>
                <c:pt idx="11">
                  <c:v>Sep-22</c:v>
                </c:pt>
                <c:pt idx="12">
                  <c:v>Oct-22</c:v>
                </c:pt>
                <c:pt idx="13">
                  <c:v>Nov-22</c:v>
                </c:pt>
                <c:pt idx="14">
                  <c:v>Dec-22</c:v>
                </c:pt>
                <c:pt idx="15">
                  <c:v>Jan-23</c:v>
                </c:pt>
                <c:pt idx="16">
                  <c:v>Feb-23</c:v>
                </c:pt>
                <c:pt idx="17">
                  <c:v>Mar-23</c:v>
                </c:pt>
                <c:pt idx="18">
                  <c:v>Apr-23</c:v>
                </c:pt>
                <c:pt idx="19">
                  <c:v>May-23</c:v>
                </c:pt>
                <c:pt idx="20">
                  <c:v>Jun-23</c:v>
                </c:pt>
                <c:pt idx="21">
                  <c:v>Jul-23</c:v>
                </c:pt>
                <c:pt idx="22">
                  <c:v>Aug-23</c:v>
                </c:pt>
                <c:pt idx="23">
                  <c:v>Sep-23</c:v>
                </c:pt>
                <c:pt idx="24">
                  <c:v>Oct-23</c:v>
                </c:pt>
                <c:pt idx="25">
                  <c:v>Nov-23</c:v>
                </c:pt>
                <c:pt idx="26">
                  <c:v>Dec-23</c:v>
                </c:pt>
                <c:pt idx="27">
                  <c:v>Jan-24</c:v>
                </c:pt>
                <c:pt idx="28">
                  <c:v>Feb-24</c:v>
                </c:pt>
                <c:pt idx="29">
                  <c:v>Mar-24</c:v>
                </c:pt>
                <c:pt idx="30">
                  <c:v>Apr-24</c:v>
                </c:pt>
                <c:pt idx="31">
                  <c:v>May-24</c:v>
                </c:pt>
                <c:pt idx="32">
                  <c:v>Jun-24</c:v>
                </c:pt>
                <c:pt idx="33">
                  <c:v>Jul-24</c:v>
                </c:pt>
                <c:pt idx="34">
                  <c:v>Aug-24</c:v>
                </c:pt>
              </c:strCache>
            </c:strRef>
          </c:cat>
          <c:val>
            <c:numRef>
              <c:f>Sheet1!$B$2:$B$36</c:f>
              <c:numCache>
                <c:formatCode>General</c:formatCode>
                <c:ptCount val="35"/>
                <c:pt idx="0">
                  <c:v>0.43576</c:v>
                </c:pt>
                <c:pt idx="1">
                  <c:v>0.407004</c:v>
                </c:pt>
                <c:pt idx="2">
                  <c:v>0.474008</c:v>
                </c:pt>
                <c:pt idx="3">
                  <c:v>0.383375</c:v>
                </c:pt>
                <c:pt idx="4">
                  <c:v>0.377838</c:v>
                </c:pt>
                <c:pt idx="5">
                  <c:v>0.547128</c:v>
                </c:pt>
                <c:pt idx="6">
                  <c:v>0.502242</c:v>
                </c:pt>
                <c:pt idx="7">
                  <c:v>0.616005</c:v>
                </c:pt>
                <c:pt idx="8">
                  <c:v>0.528027</c:v>
                </c:pt>
                <c:pt idx="9">
                  <c:v>0.493915</c:v>
                </c:pt>
                <c:pt idx="10">
                  <c:v>0.503563</c:v>
                </c:pt>
                <c:pt idx="11">
                  <c:v>0.483616</c:v>
                </c:pt>
                <c:pt idx="12">
                  <c:v>0.479453</c:v>
                </c:pt>
                <c:pt idx="13">
                  <c:v>0.441226</c:v>
                </c:pt>
                <c:pt idx="14">
                  <c:v>0.56996</c:v>
                </c:pt>
                <c:pt idx="15">
                  <c:v>0.50407</c:v>
                </c:pt>
                <c:pt idx="16">
                  <c:v>0.442229</c:v>
                </c:pt>
                <c:pt idx="17">
                  <c:v>0.544377</c:v>
                </c:pt>
                <c:pt idx="18">
                  <c:v>0.463737</c:v>
                </c:pt>
                <c:pt idx="19">
                  <c:v>0.412118</c:v>
                </c:pt>
                <c:pt idx="20">
                  <c:v>0.441688</c:v>
                </c:pt>
                <c:pt idx="21">
                  <c:v>0.477047</c:v>
                </c:pt>
                <c:pt idx="22">
                  <c:v>0.428909</c:v>
                </c:pt>
                <c:pt idx="23">
                  <c:v>0.435519</c:v>
                </c:pt>
                <c:pt idx="24">
                  <c:v>0.437287</c:v>
                </c:pt>
                <c:pt idx="25">
                  <c:v>0.365822</c:v>
                </c:pt>
                <c:pt idx="26">
                  <c:v>0.412027</c:v>
                </c:pt>
                <c:pt idx="27">
                  <c:v>0.375545</c:v>
                </c:pt>
                <c:pt idx="28">
                  <c:v>0.411722</c:v>
                </c:pt>
                <c:pt idx="29">
                  <c:v>0.46989</c:v>
                </c:pt>
                <c:pt idx="30">
                  <c:v>0.480731</c:v>
                </c:pt>
                <c:pt idx="31">
                  <c:v>0.482534</c:v>
                </c:pt>
                <c:pt idx="32">
                  <c:v>0.504813</c:v>
                </c:pt>
                <c:pt idx="33">
                  <c:v>0.55449</c:v>
                </c:pt>
                <c:pt idx="34">
                  <c:v>0.549926</c:v>
                </c:pt>
              </c:numCache>
            </c:numRef>
          </c:val>
          <c:extLst>
            <c:ext xmlns:c16="http://schemas.microsoft.com/office/drawing/2014/chart" uri="{C3380CC4-5D6E-409C-BE32-E72D297353CC}">
              <c16:uniqueId val="{0000000A-CB01-4B89-A725-1CA2D0FD4A84}"/>
            </c:ext>
          </c:extLst>
        </c:ser>
        <c:ser>
          <c:idx val="14"/>
          <c:order val="14"/>
          <c:tx>
            <c:strRef>
              <c:f>Sheet1!$C$1</c:f>
              <c:strCache>
                <c:ptCount val="1"/>
                <c:pt idx="0">
                  <c:v>Disposable</c:v>
                </c:pt>
              </c:strCache>
            </c:strRef>
          </c:tx>
          <c:spPr>
            <a:solidFill>
              <a:srgbClr val="7ECAC4"/>
            </a:solidFill>
            <a:ln>
              <a:noFill/>
            </a:ln>
            <a:effectLst/>
          </c:spPr>
          <c:invertIfNegative val="0"/>
          <c:cat>
            <c:strRef>
              <c:f>Sheet1!$A$2:$A$36</c:f>
              <c:strCache>
                <c:ptCount val="35"/>
                <c:pt idx="0">
                  <c:v>Oct-21</c:v>
                </c:pt>
                <c:pt idx="1">
                  <c:v>Nov-21</c:v>
                </c:pt>
                <c:pt idx="2">
                  <c:v>Dec-21</c:v>
                </c:pt>
                <c:pt idx="3">
                  <c:v>Jan-22</c:v>
                </c:pt>
                <c:pt idx="4">
                  <c:v>Feb-22</c:v>
                </c:pt>
                <c:pt idx="5">
                  <c:v>Mar-22</c:v>
                </c:pt>
                <c:pt idx="6">
                  <c:v>Apr-22</c:v>
                </c:pt>
                <c:pt idx="7">
                  <c:v>May-22</c:v>
                </c:pt>
                <c:pt idx="8">
                  <c:v>Jun-22</c:v>
                </c:pt>
                <c:pt idx="9">
                  <c:v>Jul-22</c:v>
                </c:pt>
                <c:pt idx="10">
                  <c:v>Aug-22</c:v>
                </c:pt>
                <c:pt idx="11">
                  <c:v>Sep-22</c:v>
                </c:pt>
                <c:pt idx="12">
                  <c:v>Oct-22</c:v>
                </c:pt>
                <c:pt idx="13">
                  <c:v>Nov-22</c:v>
                </c:pt>
                <c:pt idx="14">
                  <c:v>Dec-22</c:v>
                </c:pt>
                <c:pt idx="15">
                  <c:v>Jan-23</c:v>
                </c:pt>
                <c:pt idx="16">
                  <c:v>Feb-23</c:v>
                </c:pt>
                <c:pt idx="17">
                  <c:v>Mar-23</c:v>
                </c:pt>
                <c:pt idx="18">
                  <c:v>Apr-23</c:v>
                </c:pt>
                <c:pt idx="19">
                  <c:v>May-23</c:v>
                </c:pt>
                <c:pt idx="20">
                  <c:v>Jun-23</c:v>
                </c:pt>
                <c:pt idx="21">
                  <c:v>Jul-23</c:v>
                </c:pt>
                <c:pt idx="22">
                  <c:v>Aug-23</c:v>
                </c:pt>
                <c:pt idx="23">
                  <c:v>Sep-23</c:v>
                </c:pt>
                <c:pt idx="24">
                  <c:v>Oct-23</c:v>
                </c:pt>
                <c:pt idx="25">
                  <c:v>Nov-23</c:v>
                </c:pt>
                <c:pt idx="26">
                  <c:v>Dec-23</c:v>
                </c:pt>
                <c:pt idx="27">
                  <c:v>Jan-24</c:v>
                </c:pt>
                <c:pt idx="28">
                  <c:v>Feb-24</c:v>
                </c:pt>
                <c:pt idx="29">
                  <c:v>Mar-24</c:v>
                </c:pt>
                <c:pt idx="30">
                  <c:v>Apr-24</c:v>
                </c:pt>
                <c:pt idx="31">
                  <c:v>May-24</c:v>
                </c:pt>
                <c:pt idx="32">
                  <c:v>Jun-24</c:v>
                </c:pt>
                <c:pt idx="33">
                  <c:v>Jul-24</c:v>
                </c:pt>
                <c:pt idx="34">
                  <c:v>Aug-24</c:v>
                </c:pt>
              </c:strCache>
            </c:strRef>
          </c:cat>
          <c:val>
            <c:numRef>
              <c:f>Sheet1!$C$2:$C$36</c:f>
              <c:numCache>
                <c:formatCode>General</c:formatCode>
                <c:ptCount val="35"/>
                <c:pt idx="0">
                  <c:v>2.338148</c:v>
                </c:pt>
                <c:pt idx="1">
                  <c:v>2.148581</c:v>
                </c:pt>
                <c:pt idx="2">
                  <c:v>1.875217</c:v>
                </c:pt>
                <c:pt idx="3">
                  <c:v>1.403246</c:v>
                </c:pt>
                <c:pt idx="4">
                  <c:v>1.669852</c:v>
                </c:pt>
                <c:pt idx="5">
                  <c:v>2.519015</c:v>
                </c:pt>
                <c:pt idx="6">
                  <c:v>2.212057</c:v>
                </c:pt>
                <c:pt idx="7">
                  <c:v>3.051144</c:v>
                </c:pt>
                <c:pt idx="8">
                  <c:v>2.339325</c:v>
                </c:pt>
                <c:pt idx="9">
                  <c:v>2.195462</c:v>
                </c:pt>
                <c:pt idx="10">
                  <c:v>1.991469</c:v>
                </c:pt>
                <c:pt idx="11">
                  <c:v>1.720918</c:v>
                </c:pt>
                <c:pt idx="12">
                  <c:v>1.829407</c:v>
                </c:pt>
                <c:pt idx="13">
                  <c:v>1.499606</c:v>
                </c:pt>
                <c:pt idx="14">
                  <c:v>1.609986</c:v>
                </c:pt>
                <c:pt idx="15">
                  <c:v>1.383221</c:v>
                </c:pt>
                <c:pt idx="16">
                  <c:v>1.746405</c:v>
                </c:pt>
                <c:pt idx="17">
                  <c:v>2.195652</c:v>
                </c:pt>
                <c:pt idx="18">
                  <c:v>2.046927</c:v>
                </c:pt>
                <c:pt idx="19">
                  <c:v>2.306423</c:v>
                </c:pt>
                <c:pt idx="20">
                  <c:v>2.61147</c:v>
                </c:pt>
                <c:pt idx="21">
                  <c:v>2.363585</c:v>
                </c:pt>
                <c:pt idx="22">
                  <c:v>1.949574</c:v>
                </c:pt>
                <c:pt idx="23">
                  <c:v>1.62064</c:v>
                </c:pt>
                <c:pt idx="24">
                  <c:v>1.876289</c:v>
                </c:pt>
                <c:pt idx="25">
                  <c:v>1.63647</c:v>
                </c:pt>
                <c:pt idx="26">
                  <c:v>1.812223</c:v>
                </c:pt>
                <c:pt idx="27">
                  <c:v>1.379378</c:v>
                </c:pt>
                <c:pt idx="28">
                  <c:v>1.4792</c:v>
                </c:pt>
                <c:pt idx="29">
                  <c:v>1.713958</c:v>
                </c:pt>
                <c:pt idx="30">
                  <c:v>2.218025</c:v>
                </c:pt>
                <c:pt idx="31">
                  <c:v>2.24344</c:v>
                </c:pt>
                <c:pt idx="32">
                  <c:v>2.389241</c:v>
                </c:pt>
                <c:pt idx="33">
                  <c:v>2.606508</c:v>
                </c:pt>
                <c:pt idx="34">
                  <c:v>3.367428</c:v>
                </c:pt>
              </c:numCache>
            </c:numRef>
          </c:val>
          <c:extLst>
            <c:ext xmlns:c16="http://schemas.microsoft.com/office/drawing/2014/chart" uri="{C3380CC4-5D6E-409C-BE32-E72D297353CC}">
              <c16:uniqueId val="{0000000B-CB01-4B89-A725-1CA2D0FD4A84}"/>
            </c:ext>
          </c:extLst>
        </c:ser>
        <c:ser>
          <c:idx val="15"/>
          <c:order val="15"/>
          <c:tx>
            <c:strRef>
              <c:f>Sheet1!$D$1</c:f>
              <c:strCache>
                <c:ptCount val="1"/>
                <c:pt idx="0">
                  <c:v>System</c:v>
                </c:pt>
              </c:strCache>
            </c:strRef>
          </c:tx>
          <c:spPr>
            <a:solidFill>
              <a:srgbClr val="B2DFDC"/>
            </a:solidFill>
            <a:ln>
              <a:noFill/>
            </a:ln>
            <a:effectLst/>
          </c:spPr>
          <c:invertIfNegative val="0"/>
          <c:cat>
            <c:strRef>
              <c:f>Sheet1!$A$2:$A$36</c:f>
              <c:strCache>
                <c:ptCount val="35"/>
                <c:pt idx="0">
                  <c:v>Oct-21</c:v>
                </c:pt>
                <c:pt idx="1">
                  <c:v>Nov-21</c:v>
                </c:pt>
                <c:pt idx="2">
                  <c:v>Dec-21</c:v>
                </c:pt>
                <c:pt idx="3">
                  <c:v>Jan-22</c:v>
                </c:pt>
                <c:pt idx="4">
                  <c:v>Feb-22</c:v>
                </c:pt>
                <c:pt idx="5">
                  <c:v>Mar-22</c:v>
                </c:pt>
                <c:pt idx="6">
                  <c:v>Apr-22</c:v>
                </c:pt>
                <c:pt idx="7">
                  <c:v>May-22</c:v>
                </c:pt>
                <c:pt idx="8">
                  <c:v>Jun-22</c:v>
                </c:pt>
                <c:pt idx="9">
                  <c:v>Jul-22</c:v>
                </c:pt>
                <c:pt idx="10">
                  <c:v>Aug-22</c:v>
                </c:pt>
                <c:pt idx="11">
                  <c:v>Sep-22</c:v>
                </c:pt>
                <c:pt idx="12">
                  <c:v>Oct-22</c:v>
                </c:pt>
                <c:pt idx="13">
                  <c:v>Nov-22</c:v>
                </c:pt>
                <c:pt idx="14">
                  <c:v>Dec-22</c:v>
                </c:pt>
                <c:pt idx="15">
                  <c:v>Jan-23</c:v>
                </c:pt>
                <c:pt idx="16">
                  <c:v>Feb-23</c:v>
                </c:pt>
                <c:pt idx="17">
                  <c:v>Mar-23</c:v>
                </c:pt>
                <c:pt idx="18">
                  <c:v>Apr-23</c:v>
                </c:pt>
                <c:pt idx="19">
                  <c:v>May-23</c:v>
                </c:pt>
                <c:pt idx="20">
                  <c:v>Jun-23</c:v>
                </c:pt>
                <c:pt idx="21">
                  <c:v>Jul-23</c:v>
                </c:pt>
                <c:pt idx="22">
                  <c:v>Aug-23</c:v>
                </c:pt>
                <c:pt idx="23">
                  <c:v>Sep-23</c:v>
                </c:pt>
                <c:pt idx="24">
                  <c:v>Oct-23</c:v>
                </c:pt>
                <c:pt idx="25">
                  <c:v>Nov-23</c:v>
                </c:pt>
                <c:pt idx="26">
                  <c:v>Dec-23</c:v>
                </c:pt>
                <c:pt idx="27">
                  <c:v>Jan-24</c:v>
                </c:pt>
                <c:pt idx="28">
                  <c:v>Feb-24</c:v>
                </c:pt>
                <c:pt idx="29">
                  <c:v>Mar-24</c:v>
                </c:pt>
                <c:pt idx="30">
                  <c:v>Apr-24</c:v>
                </c:pt>
                <c:pt idx="31">
                  <c:v>May-24</c:v>
                </c:pt>
                <c:pt idx="32">
                  <c:v>Jun-24</c:v>
                </c:pt>
                <c:pt idx="33">
                  <c:v>Jul-24</c:v>
                </c:pt>
                <c:pt idx="34">
                  <c:v>Aug-24</c:v>
                </c:pt>
              </c:strCache>
            </c:strRef>
          </c:cat>
          <c:val>
            <c:numRef>
              <c:f>Sheet1!$D$2:$D$36</c:f>
              <c:numCache>
                <c:formatCode>General</c:formatCode>
                <c:ptCount val="35"/>
                <c:pt idx="0">
                  <c:v>4.303019</c:v>
                </c:pt>
                <c:pt idx="1">
                  <c:v>3.866837</c:v>
                </c:pt>
                <c:pt idx="2">
                  <c:v>4.335678</c:v>
                </c:pt>
                <c:pt idx="3">
                  <c:v>3.883155</c:v>
                </c:pt>
                <c:pt idx="4">
                  <c:v>3.541757</c:v>
                </c:pt>
                <c:pt idx="5">
                  <c:v>6.155126</c:v>
                </c:pt>
                <c:pt idx="6">
                  <c:v>5.329176</c:v>
                </c:pt>
                <c:pt idx="7">
                  <c:v>5.611608</c:v>
                </c:pt>
                <c:pt idx="8">
                  <c:v>5.248507</c:v>
                </c:pt>
                <c:pt idx="9">
                  <c:v>5.081728</c:v>
                </c:pt>
                <c:pt idx="10">
                  <c:v>4.874403</c:v>
                </c:pt>
                <c:pt idx="11">
                  <c:v>4.061632</c:v>
                </c:pt>
                <c:pt idx="12">
                  <c:v>3.879358</c:v>
                </c:pt>
                <c:pt idx="13">
                  <c:v>3.511292</c:v>
                </c:pt>
                <c:pt idx="14">
                  <c:v>4.214885</c:v>
                </c:pt>
                <c:pt idx="15">
                  <c:v>3.744206</c:v>
                </c:pt>
                <c:pt idx="16">
                  <c:v>3.759512</c:v>
                </c:pt>
                <c:pt idx="17">
                  <c:v>5.253636</c:v>
                </c:pt>
                <c:pt idx="18">
                  <c:v>4.689123</c:v>
                </c:pt>
                <c:pt idx="19">
                  <c:v>5.734254</c:v>
                </c:pt>
                <c:pt idx="20">
                  <c:v>5.651768</c:v>
                </c:pt>
                <c:pt idx="21">
                  <c:v>5.474492</c:v>
                </c:pt>
                <c:pt idx="22">
                  <c:v>5.066269</c:v>
                </c:pt>
                <c:pt idx="23">
                  <c:v>4.404649</c:v>
                </c:pt>
                <c:pt idx="24">
                  <c:v>3.916131</c:v>
                </c:pt>
                <c:pt idx="25">
                  <c:v>3.577715</c:v>
                </c:pt>
                <c:pt idx="26">
                  <c:v>4.191728</c:v>
                </c:pt>
                <c:pt idx="27">
                  <c:v>3.535059</c:v>
                </c:pt>
                <c:pt idx="28">
                  <c:v>3.536179</c:v>
                </c:pt>
                <c:pt idx="29">
                  <c:v>4.090033</c:v>
                </c:pt>
                <c:pt idx="30">
                  <c:v>4.204209</c:v>
                </c:pt>
                <c:pt idx="31">
                  <c:v>4.654757</c:v>
                </c:pt>
                <c:pt idx="32">
                  <c:v>5.100493</c:v>
                </c:pt>
                <c:pt idx="33">
                  <c:v>5.300795</c:v>
                </c:pt>
                <c:pt idx="34">
                  <c:v>5.072208</c:v>
                </c:pt>
              </c:numCache>
            </c:numRef>
          </c:val>
          <c:extLst>
            <c:ext xmlns:c16="http://schemas.microsoft.com/office/drawing/2014/chart" uri="{C3380CC4-5D6E-409C-BE32-E72D297353CC}">
              <c16:uniqueId val="{0000000C-CB01-4B89-A725-1CA2D0FD4A84}"/>
            </c:ext>
          </c:extLst>
        </c:ser>
        <c:dLbls>
          <c:showLegendKey val="0"/>
          <c:showVal val="0"/>
          <c:showCatName val="0"/>
          <c:showSerName val="0"/>
          <c:showPercent val="0"/>
          <c:showBubbleSize val="0"/>
        </c:dLbls>
        <c:gapWidth val="150"/>
        <c:overlap val="100"/>
        <c:axId val="1624167016"/>
        <c:axId val="1624169640"/>
        <c:extLst>
          <c:ext xmlns:c15="http://schemas.microsoft.com/office/drawing/2012/chart" uri="{02D57815-91ED-43cb-92C2-25804820EDAC}">
            <c15:filteredBarSeries>
              <c15:ser>
                <c:idx val="1"/>
                <c:order val="1"/>
                <c:tx>
                  <c:strRef>
                    <c:extLst>
                      <c:ext uri="{02D57815-91ED-43cb-92C2-25804820EDAC}">
                        <c15:formulaRef>
                          <c15:sqref>Sheet1!$C$1</c15:sqref>
                        </c15:formulaRef>
                      </c:ext>
                    </c:extLst>
                    <c:strCache>
                      <c:ptCount val="1"/>
                      <c:pt idx="0">
                        <c:v>Sector 1</c:v>
                      </c:pt>
                    </c:strCache>
                  </c:strRef>
                </c:tx>
                <c:spPr>
                  <a:solidFill>
                    <a:schemeClr val="dk1">
                      <a:tint val="55000"/>
                    </a:schemeClr>
                  </a:solidFill>
                  <a:ln>
                    <a:noFill/>
                  </a:ln>
                  <a:effectLst/>
                </c:spPr>
                <c:invertIfNegative val="0"/>
                <c:cat>
                  <c:strRef>
                    <c:extLst>
                      <c:ex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c:ext uri="{02D57815-91ED-43cb-92C2-25804820EDAC}">
                        <c15:formulaRef>
                          <c15:sqref>Sheet1!$C$2:$C$36</c15:sqref>
                        </c15:formulaRef>
                      </c:ext>
                    </c:extLst>
                    <c:numCache>
                      <c:formatCode>General</c:formatCode>
                      <c:ptCount val="35"/>
                      <c:pt idx="0">
                        <c:v>40.809865000000002</c:v>
                      </c:pt>
                      <c:pt idx="1">
                        <c:v>41.860694000000002</c:v>
                      </c:pt>
                      <c:pt idx="2">
                        <c:v>34.509422000000001</c:v>
                      </c:pt>
                      <c:pt idx="3">
                        <c:v>49.657702</c:v>
                      </c:pt>
                      <c:pt idx="4">
                        <c:v>50.616717999999999</c:v>
                      </c:pt>
                      <c:pt idx="5">
                        <c:v>51.539561999999997</c:v>
                      </c:pt>
                      <c:pt idx="6">
                        <c:v>53.959558000000001</c:v>
                      </c:pt>
                      <c:pt idx="7">
                        <c:v>48.84498</c:v>
                      </c:pt>
                      <c:pt idx="8">
                        <c:v>43.617640999999999</c:v>
                      </c:pt>
                      <c:pt idx="9">
                        <c:v>44.545436000000002</c:v>
                      </c:pt>
                      <c:pt idx="10">
                        <c:v>41.403309999999998</c:v>
                      </c:pt>
                      <c:pt idx="11">
                        <c:v>42.115876</c:v>
                      </c:pt>
                      <c:pt idx="12">
                        <c:v>39.743237000000001</c:v>
                      </c:pt>
                      <c:pt idx="13">
                        <c:v>42.646582000000002</c:v>
                      </c:pt>
                      <c:pt idx="14">
                        <c:v>40.323042999999998</c:v>
                      </c:pt>
                      <c:pt idx="15">
                        <c:v>52.877302</c:v>
                      </c:pt>
                      <c:pt idx="16">
                        <c:v>52.359431000000001</c:v>
                      </c:pt>
                      <c:pt idx="17">
                        <c:v>50.322519999999997</c:v>
                      </c:pt>
                      <c:pt idx="18">
                        <c:v>52.78004</c:v>
                      </c:pt>
                      <c:pt idx="19">
                        <c:v>49.372244999999999</c:v>
                      </c:pt>
                      <c:pt idx="20">
                        <c:v>50.002222000000003</c:v>
                      </c:pt>
                      <c:pt idx="21">
                        <c:v>46.193210000000001</c:v>
                      </c:pt>
                      <c:pt idx="22">
                        <c:v>41.510463999999999</c:v>
                      </c:pt>
                      <c:pt idx="23">
                        <c:v>40.221505000000001</c:v>
                      </c:pt>
                      <c:pt idx="24">
                        <c:v>42.523161999999999</c:v>
                      </c:pt>
                      <c:pt idx="25">
                        <c:v>45.628883999999999</c:v>
                      </c:pt>
                      <c:pt idx="26">
                        <c:v>40.031787999999999</c:v>
                      </c:pt>
                      <c:pt idx="27">
                        <c:v>51.652650000000001</c:v>
                      </c:pt>
                      <c:pt idx="28">
                        <c:v>50.177590000000002</c:v>
                      </c:pt>
                      <c:pt idx="29">
                        <c:v>54.531019999999998</c:v>
                      </c:pt>
                      <c:pt idx="30">
                        <c:v>56.857843000000003</c:v>
                      </c:pt>
                      <c:pt idx="31">
                        <c:v>50.233561999999999</c:v>
                      </c:pt>
                      <c:pt idx="32">
                        <c:v>48.179372000000001</c:v>
                      </c:pt>
                      <c:pt idx="33">
                        <c:v>47.120365</c:v>
                      </c:pt>
                      <c:pt idx="34">
                        <c:v>35.507016999999998</c:v>
                      </c:pt>
                    </c:numCache>
                  </c:numRef>
                </c:val>
                <c:extLst>
                  <c:ext xmlns:c16="http://schemas.microsoft.com/office/drawing/2014/chart" uri="{C3380CC4-5D6E-409C-BE32-E72D297353CC}">
                    <c16:uniqueId val="{00000001-A582-417D-A5F8-2A0075530F50}"/>
                  </c:ext>
                </c:extLst>
              </c15:ser>
            </c15:filteredBarSeries>
            <c15:filteredBarSeries>
              <c15:ser>
                <c:idx val="2"/>
                <c:order val="2"/>
                <c:tx>
                  <c:strRef>
                    <c:extLst xmlns:c15="http://schemas.microsoft.com/office/drawing/2012/chart">
                      <c:ext xmlns:c15="http://schemas.microsoft.com/office/drawing/2012/chart" uri="{02D57815-91ED-43cb-92C2-25804820EDAC}">
                        <c15:formulaRef>
                          <c15:sqref>Sheet1!$D$1</c15:sqref>
                        </c15:formulaRef>
                      </c:ext>
                    </c:extLst>
                    <c:strCache>
                      <c:ptCount val="1"/>
                      <c:pt idx="0">
                        <c:v>Sector 2</c:v>
                      </c:pt>
                    </c:strCache>
                  </c:strRef>
                </c:tx>
                <c:spPr>
                  <a:solidFill>
                    <a:schemeClr val="dk1">
                      <a:tint val="75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D$2:$D$36</c15:sqref>
                        </c15:formulaRef>
                      </c:ext>
                    </c:extLst>
                    <c:numCache>
                      <c:formatCode>General</c:formatCode>
                      <c:ptCount val="35"/>
                      <c:pt idx="0">
                        <c:v>19.557812999999999</c:v>
                      </c:pt>
                      <c:pt idx="1">
                        <c:v>23.784803</c:v>
                      </c:pt>
                      <c:pt idx="2">
                        <c:v>21.799987000000002</c:v>
                      </c:pt>
                      <c:pt idx="3">
                        <c:v>25.857672000000001</c:v>
                      </c:pt>
                      <c:pt idx="4">
                        <c:v>24.992432999999998</c:v>
                      </c:pt>
                      <c:pt idx="5">
                        <c:v>26.955321999999999</c:v>
                      </c:pt>
                      <c:pt idx="6">
                        <c:v>32.419100999999998</c:v>
                      </c:pt>
                      <c:pt idx="7">
                        <c:v>29.344944999999999</c:v>
                      </c:pt>
                      <c:pt idx="8">
                        <c:v>27.493164</c:v>
                      </c:pt>
                      <c:pt idx="9">
                        <c:v>23.275084</c:v>
                      </c:pt>
                      <c:pt idx="10">
                        <c:v>24.237242999999999</c:v>
                      </c:pt>
                      <c:pt idx="11">
                        <c:v>23.067723999999998</c:v>
                      </c:pt>
                      <c:pt idx="12">
                        <c:v>23.036899999999999</c:v>
                      </c:pt>
                      <c:pt idx="13">
                        <c:v>25.516981000000001</c:v>
                      </c:pt>
                      <c:pt idx="14">
                        <c:v>22.874832000000001</c:v>
                      </c:pt>
                      <c:pt idx="15">
                        <c:v>26.349399999999999</c:v>
                      </c:pt>
                      <c:pt idx="16">
                        <c:v>29.881401</c:v>
                      </c:pt>
                      <c:pt idx="17">
                        <c:v>31.686630000000001</c:v>
                      </c:pt>
                      <c:pt idx="18">
                        <c:v>34.259588000000001</c:v>
                      </c:pt>
                      <c:pt idx="19">
                        <c:v>31.563769000000001</c:v>
                      </c:pt>
                      <c:pt idx="20">
                        <c:v>27.452038999999999</c:v>
                      </c:pt>
                      <c:pt idx="21">
                        <c:v>24.840769999999999</c:v>
                      </c:pt>
                      <c:pt idx="22">
                        <c:v>26.102284999999998</c:v>
                      </c:pt>
                      <c:pt idx="23">
                        <c:v>23.897715000000002</c:v>
                      </c:pt>
                      <c:pt idx="24">
                        <c:v>25.006601</c:v>
                      </c:pt>
                      <c:pt idx="25">
                        <c:v>27.601903</c:v>
                      </c:pt>
                      <c:pt idx="26">
                        <c:v>22.956002999999999</c:v>
                      </c:pt>
                      <c:pt idx="27">
                        <c:v>26.913005999999999</c:v>
                      </c:pt>
                      <c:pt idx="28">
                        <c:v>31.412331999999999</c:v>
                      </c:pt>
                      <c:pt idx="29">
                        <c:v>32.630974000000002</c:v>
                      </c:pt>
                      <c:pt idx="30">
                        <c:v>31.591038000000001</c:v>
                      </c:pt>
                      <c:pt idx="31">
                        <c:v>31.863667</c:v>
                      </c:pt>
                      <c:pt idx="32">
                        <c:v>31.422338</c:v>
                      </c:pt>
                      <c:pt idx="33">
                        <c:v>28.426777000000001</c:v>
                      </c:pt>
                      <c:pt idx="34">
                        <c:v>26.165305</c:v>
                      </c:pt>
                    </c:numCache>
                  </c:numRef>
                </c:val>
                <c:extLst xmlns:c15="http://schemas.microsoft.com/office/drawing/2012/chart">
                  <c:ext xmlns:c16="http://schemas.microsoft.com/office/drawing/2014/chart" uri="{C3380CC4-5D6E-409C-BE32-E72D297353CC}">
                    <c16:uniqueId val="{00000000-2D16-4906-BB22-77AF188F6975}"/>
                  </c:ext>
                </c:extLst>
              </c15:ser>
            </c15:filteredBarSeries>
            <c15:filteredBarSeries>
              <c15:ser>
                <c:idx val="3"/>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Sector 3</c:v>
                      </c:pt>
                    </c:strCache>
                  </c:strRef>
                </c:tx>
                <c:spPr>
                  <a:solidFill>
                    <a:schemeClr val="dk1">
                      <a:tint val="985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E$2:$E$36</c15:sqref>
                        </c15:formulaRef>
                      </c:ext>
                    </c:extLst>
                    <c:numCache>
                      <c:formatCode>General</c:formatCode>
                      <c:ptCount val="35"/>
                      <c:pt idx="0">
                        <c:v>27.462826</c:v>
                      </c:pt>
                      <c:pt idx="1">
                        <c:v>39.404572000000002</c:v>
                      </c:pt>
                      <c:pt idx="2">
                        <c:v>34.570886000000002</c:v>
                      </c:pt>
                      <c:pt idx="3">
                        <c:v>47.424028999999997</c:v>
                      </c:pt>
                      <c:pt idx="4">
                        <c:v>42.725195999999997</c:v>
                      </c:pt>
                      <c:pt idx="5">
                        <c:v>49.893875999999999</c:v>
                      </c:pt>
                      <c:pt idx="6">
                        <c:v>45.230561999999999</c:v>
                      </c:pt>
                      <c:pt idx="7">
                        <c:v>36.896878999999998</c:v>
                      </c:pt>
                      <c:pt idx="8">
                        <c:v>33.942658000000002</c:v>
                      </c:pt>
                      <c:pt idx="9">
                        <c:v>31.043399000000001</c:v>
                      </c:pt>
                      <c:pt idx="10">
                        <c:v>28.703312</c:v>
                      </c:pt>
                      <c:pt idx="11">
                        <c:v>32.247686999999999</c:v>
                      </c:pt>
                      <c:pt idx="12">
                        <c:v>39.267698000000003</c:v>
                      </c:pt>
                      <c:pt idx="13">
                        <c:v>36.104199999999999</c:v>
                      </c:pt>
                      <c:pt idx="14">
                        <c:v>35.473145000000002</c:v>
                      </c:pt>
                      <c:pt idx="15">
                        <c:v>53.202506999999997</c:v>
                      </c:pt>
                      <c:pt idx="16">
                        <c:v>50.982067999999998</c:v>
                      </c:pt>
                      <c:pt idx="17">
                        <c:v>60.592055999999999</c:v>
                      </c:pt>
                      <c:pt idx="18">
                        <c:v>55.653505000000003</c:v>
                      </c:pt>
                      <c:pt idx="19">
                        <c:v>45.804431000000001</c:v>
                      </c:pt>
                      <c:pt idx="20">
                        <c:v>42.097817999999997</c:v>
                      </c:pt>
                      <c:pt idx="21">
                        <c:v>38.569479999999999</c:v>
                      </c:pt>
                      <c:pt idx="22">
                        <c:v>32.493749000000001</c:v>
                      </c:pt>
                      <c:pt idx="23">
                        <c:v>31.329796000000002</c:v>
                      </c:pt>
                      <c:pt idx="24">
                        <c:v>33.130343000000003</c:v>
                      </c:pt>
                      <c:pt idx="25">
                        <c:v>40.916313000000002</c:v>
                      </c:pt>
                      <c:pt idx="26">
                        <c:v>34.557360000000003</c:v>
                      </c:pt>
                      <c:pt idx="27">
                        <c:v>46.799098000000001</c:v>
                      </c:pt>
                      <c:pt idx="28">
                        <c:v>46.752299000000001</c:v>
                      </c:pt>
                      <c:pt idx="29">
                        <c:v>54.888565999999997</c:v>
                      </c:pt>
                      <c:pt idx="30">
                        <c:v>56.439608999999997</c:v>
                      </c:pt>
                      <c:pt idx="31">
                        <c:v>44.964128000000002</c:v>
                      </c:pt>
                      <c:pt idx="32">
                        <c:v>45.321382999999997</c:v>
                      </c:pt>
                      <c:pt idx="33">
                        <c:v>37.671095999999999</c:v>
                      </c:pt>
                      <c:pt idx="34">
                        <c:v>31.554338999999999</c:v>
                      </c:pt>
                    </c:numCache>
                  </c:numRef>
                </c:val>
                <c:extLst xmlns:c15="http://schemas.microsoft.com/office/drawing/2012/chart">
                  <c:ext xmlns:c16="http://schemas.microsoft.com/office/drawing/2014/chart" uri="{C3380CC4-5D6E-409C-BE32-E72D297353CC}">
                    <c16:uniqueId val="{00000001-2D16-4906-BB22-77AF188F6975}"/>
                  </c:ext>
                </c:extLst>
              </c15:ser>
            </c15:filteredBarSeries>
            <c15:filteredBarSeries>
              <c15:ser>
                <c:idx val="4"/>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Sector 4</c:v>
                      </c:pt>
                    </c:strCache>
                  </c:strRef>
                </c:tx>
                <c:spPr>
                  <a:solidFill>
                    <a:schemeClr val="dk1">
                      <a:tint val="30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F$2:$F$36</c15:sqref>
                        </c15:formulaRef>
                      </c:ext>
                    </c:extLst>
                    <c:numCache>
                      <c:formatCode>General</c:formatCode>
                      <c:ptCount val="35"/>
                      <c:pt idx="0">
                        <c:v>28.541810999999999</c:v>
                      </c:pt>
                      <c:pt idx="1">
                        <c:v>29.052481</c:v>
                      </c:pt>
                      <c:pt idx="2">
                        <c:v>33.367750000000001</c:v>
                      </c:pt>
                      <c:pt idx="3">
                        <c:v>35.968623999999998</c:v>
                      </c:pt>
                      <c:pt idx="4">
                        <c:v>33.207349000000001</c:v>
                      </c:pt>
                      <c:pt idx="5">
                        <c:v>35.057527</c:v>
                      </c:pt>
                      <c:pt idx="6">
                        <c:v>38.900894999999998</c:v>
                      </c:pt>
                      <c:pt idx="7">
                        <c:v>43.694178999999998</c:v>
                      </c:pt>
                      <c:pt idx="8">
                        <c:v>62.841144999999997</c:v>
                      </c:pt>
                      <c:pt idx="9">
                        <c:v>54.763354999999997</c:v>
                      </c:pt>
                      <c:pt idx="10">
                        <c:v>89.252371999999994</c:v>
                      </c:pt>
                      <c:pt idx="11">
                        <c:v>25.975645</c:v>
                      </c:pt>
                      <c:pt idx="12">
                        <c:v>30.148197</c:v>
                      </c:pt>
                      <c:pt idx="13">
                        <c:v>36.475974999999998</c:v>
                      </c:pt>
                      <c:pt idx="14">
                        <c:v>29.658926000000001</c:v>
                      </c:pt>
                      <c:pt idx="15">
                        <c:v>35.421528000000002</c:v>
                      </c:pt>
                      <c:pt idx="16">
                        <c:v>32.439849000000002</c:v>
                      </c:pt>
                      <c:pt idx="17">
                        <c:v>35.716830000000002</c:v>
                      </c:pt>
                      <c:pt idx="18">
                        <c:v>41.225175999999998</c:v>
                      </c:pt>
                      <c:pt idx="19">
                        <c:v>43.331505999999997</c:v>
                      </c:pt>
                      <c:pt idx="20">
                        <c:v>67.705122000000003</c:v>
                      </c:pt>
                      <c:pt idx="21">
                        <c:v>56.56662</c:v>
                      </c:pt>
                      <c:pt idx="22">
                        <c:v>91.018388000000002</c:v>
                      </c:pt>
                      <c:pt idx="23">
                        <c:v>26.250737000000001</c:v>
                      </c:pt>
                      <c:pt idx="24">
                        <c:v>30.771353000000001</c:v>
                      </c:pt>
                      <c:pt idx="25">
                        <c:v>32.781751</c:v>
                      </c:pt>
                      <c:pt idx="26">
                        <c:v>40.871063999999997</c:v>
                      </c:pt>
                      <c:pt idx="27">
                        <c:v>36.555362000000002</c:v>
                      </c:pt>
                      <c:pt idx="28">
                        <c:v>33.561486000000002</c:v>
                      </c:pt>
                      <c:pt idx="29">
                        <c:v>37.536104000000002</c:v>
                      </c:pt>
                      <c:pt idx="30">
                        <c:v>45.721882000000001</c:v>
                      </c:pt>
                      <c:pt idx="31">
                        <c:v>44.358134999999997</c:v>
                      </c:pt>
                      <c:pt idx="32">
                        <c:v>73.994276999999997</c:v>
                      </c:pt>
                      <c:pt idx="33">
                        <c:v>62.661236000000002</c:v>
                      </c:pt>
                      <c:pt idx="34">
                        <c:v>91.533505000000005</c:v>
                      </c:pt>
                    </c:numCache>
                  </c:numRef>
                </c:val>
                <c:extLst xmlns:c15="http://schemas.microsoft.com/office/drawing/2012/chart">
                  <c:ext xmlns:c16="http://schemas.microsoft.com/office/drawing/2014/chart" uri="{C3380CC4-5D6E-409C-BE32-E72D297353CC}">
                    <c16:uniqueId val="{00000002-2D16-4906-BB22-77AF188F6975}"/>
                  </c:ext>
                </c:extLst>
              </c15:ser>
            </c15:filteredBarSeries>
            <c15:filteredBarSeries>
              <c15:ser>
                <c:idx val="5"/>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Sector 5</c:v>
                      </c:pt>
                    </c:strCache>
                  </c:strRef>
                </c:tx>
                <c:spPr>
                  <a:solidFill>
                    <a:schemeClr val="dk1">
                      <a:tint val="60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G$2:$G$36</c15:sqref>
                        </c15:formulaRef>
                      </c:ext>
                    </c:extLst>
                    <c:numCache>
                      <c:formatCode>General</c:formatCode>
                      <c:ptCount val="35"/>
                      <c:pt idx="0">
                        <c:v>12.194502</c:v>
                      </c:pt>
                      <c:pt idx="1">
                        <c:v>7.156504</c:v>
                      </c:pt>
                      <c:pt idx="2">
                        <c:v>12.852249</c:v>
                      </c:pt>
                      <c:pt idx="3">
                        <c:v>17.913703000000002</c:v>
                      </c:pt>
                      <c:pt idx="4">
                        <c:v>9.8828340000000008</c:v>
                      </c:pt>
                      <c:pt idx="5">
                        <c:v>9.6037440000000007</c:v>
                      </c:pt>
                      <c:pt idx="6">
                        <c:v>11.410088999999999</c:v>
                      </c:pt>
                      <c:pt idx="7">
                        <c:v>11.869301</c:v>
                      </c:pt>
                      <c:pt idx="8">
                        <c:v>10.943581</c:v>
                      </c:pt>
                      <c:pt idx="9">
                        <c:v>24.200908999999999</c:v>
                      </c:pt>
                      <c:pt idx="10">
                        <c:v>59.814160000000001</c:v>
                      </c:pt>
                      <c:pt idx="11">
                        <c:v>7.4327399999999999</c:v>
                      </c:pt>
                      <c:pt idx="12">
                        <c:v>12.873098000000001</c:v>
                      </c:pt>
                      <c:pt idx="13">
                        <c:v>17.347481999999999</c:v>
                      </c:pt>
                      <c:pt idx="14">
                        <c:v>14.342812</c:v>
                      </c:pt>
                      <c:pt idx="15">
                        <c:v>16.454574000000001</c:v>
                      </c:pt>
                      <c:pt idx="16">
                        <c:v>8.7173169999999995</c:v>
                      </c:pt>
                      <c:pt idx="17">
                        <c:v>8.7356230000000004</c:v>
                      </c:pt>
                      <c:pt idx="18">
                        <c:v>11.042906</c:v>
                      </c:pt>
                      <c:pt idx="19">
                        <c:v>11.438431</c:v>
                      </c:pt>
                      <c:pt idx="20">
                        <c:v>12.034544</c:v>
                      </c:pt>
                      <c:pt idx="21">
                        <c:v>28.273</c:v>
                      </c:pt>
                      <c:pt idx="22">
                        <c:v>61.781478999999997</c:v>
                      </c:pt>
                      <c:pt idx="23">
                        <c:v>8.5091110000000008</c:v>
                      </c:pt>
                      <c:pt idx="24">
                        <c:v>14.055974000000001</c:v>
                      </c:pt>
                      <c:pt idx="25">
                        <c:v>10.074814999999999</c:v>
                      </c:pt>
                      <c:pt idx="26">
                        <c:v>26.582386</c:v>
                      </c:pt>
                      <c:pt idx="27">
                        <c:v>16.377361000000001</c:v>
                      </c:pt>
                      <c:pt idx="28">
                        <c:v>10.356033</c:v>
                      </c:pt>
                      <c:pt idx="29">
                        <c:v>11.832685</c:v>
                      </c:pt>
                      <c:pt idx="30">
                        <c:v>14.576200999999999</c:v>
                      </c:pt>
                      <c:pt idx="31">
                        <c:v>14.285002</c:v>
                      </c:pt>
                      <c:pt idx="32">
                        <c:v>16.927510000000002</c:v>
                      </c:pt>
                      <c:pt idx="33">
                        <c:v>34.868727999999997</c:v>
                      </c:pt>
                      <c:pt idx="34">
                        <c:v>70.545312999999993</c:v>
                      </c:pt>
                    </c:numCache>
                  </c:numRef>
                </c:val>
                <c:extLst xmlns:c15="http://schemas.microsoft.com/office/drawing/2012/chart">
                  <c:ext xmlns:c16="http://schemas.microsoft.com/office/drawing/2014/chart" uri="{C3380CC4-5D6E-409C-BE32-E72D297353CC}">
                    <c16:uniqueId val="{00000003-2D16-4906-BB22-77AF188F6975}"/>
                  </c:ext>
                </c:extLst>
              </c15:ser>
            </c15:filteredBarSeries>
            <c15:filteredBarSeries>
              <c15:ser>
                <c:idx val="6"/>
                <c:order val="6"/>
                <c:tx>
                  <c:strRef>
                    <c:extLst xmlns:c15="http://schemas.microsoft.com/office/drawing/2012/chart">
                      <c:ext xmlns:c15="http://schemas.microsoft.com/office/drawing/2012/chart" uri="{02D57815-91ED-43cb-92C2-25804820EDAC}">
                        <c15:formulaRef>
                          <c15:sqref>Sheet1!$H$1</c15:sqref>
                        </c15:formulaRef>
                      </c:ext>
                    </c:extLst>
                    <c:strCache>
                      <c:ptCount val="1"/>
                      <c:pt idx="0">
                        <c:v>Sector 6</c:v>
                      </c:pt>
                    </c:strCache>
                  </c:strRef>
                </c:tx>
                <c:spPr>
                  <a:solidFill>
                    <a:schemeClr val="dk1">
                      <a:tint val="80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H$2:$H$36</c15:sqref>
                        </c15:formulaRef>
                      </c:ext>
                    </c:extLst>
                    <c:numCache>
                      <c:formatCode>General</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numRef>
                </c:val>
                <c:extLst xmlns:c15="http://schemas.microsoft.com/office/drawing/2012/chart">
                  <c:ext xmlns:c16="http://schemas.microsoft.com/office/drawing/2014/chart" uri="{C3380CC4-5D6E-409C-BE32-E72D297353CC}">
                    <c16:uniqueId val="{00000003-CB01-4B89-A725-1CA2D0FD4A84}"/>
                  </c:ext>
                </c:extLst>
              </c15:ser>
            </c15:filteredBarSeries>
          </c:ext>
        </c:extLst>
      </c:barChart>
      <c:lineChart>
        <c:grouping val="stacked"/>
        <c:varyColors val="0"/>
        <c:ser>
          <c:idx val="0"/>
          <c:order val="0"/>
          <c:tx>
            <c:strRef>
              <c:f>Sheet1!$E$1</c:f>
              <c:strCache>
                <c:ptCount val="1"/>
                <c:pt idx="0">
                  <c:v>Total</c:v>
                </c:pt>
              </c:strCache>
            </c:strRef>
          </c:tx>
          <c:spPr>
            <a:solidFill>
              <a:srgbClr val="9B9898"/>
            </a:solidFill>
            <a:ln w="19050" cap="rnd" cmpd="sng" algn="ctr">
              <a:solidFill>
                <a:schemeClr val="accent1"/>
              </a:solidFill>
              <a:prstDash val="solid"/>
              <a:round/>
            </a:ln>
            <a:effectLst/>
          </c:spPr>
          <c:marker>
            <c:symbol val="circle"/>
            <c:size val="10"/>
            <c:spPr>
              <a:solidFill>
                <a:schemeClr val="accent1"/>
              </a:solidFill>
              <a:ln w="6350" cap="flat" cmpd="sng" algn="ctr">
                <a:solidFill>
                  <a:schemeClr val="accent1"/>
                </a:solidFill>
                <a:prstDash val="solid"/>
                <a:round/>
              </a:ln>
              <a:effectLst/>
            </c:spPr>
          </c:marker>
          <c:dPt>
            <c:idx val="0"/>
            <c:bubble3D val="0"/>
            <c:spPr>
              <a:ln w="19050" cap="rnd" cmpd="sng" algn="ctr">
                <a:solidFill>
                  <a:schemeClr val="accent1"/>
                </a:solidFill>
                <a:prstDash val="solid"/>
                <a:round/>
              </a:ln>
              <a:effectLst/>
            </c:spPr>
            <c:extLst>
              <c:ext xmlns:c16="http://schemas.microsoft.com/office/drawing/2014/chart" uri="{C3380CC4-5D6E-409C-BE32-E72D297353CC}">
                <c16:uniqueId val="{00000005-2D16-4906-BB22-77AF188F6975}"/>
              </c:ext>
            </c:extLst>
          </c:dPt>
          <c:cat>
            <c:strRef>
              <c:f>Sheet1!$A$2:$A$36</c:f>
              <c:strCache>
                <c:ptCount val="35"/>
                <c:pt idx="0">
                  <c:v>Oct-21</c:v>
                </c:pt>
                <c:pt idx="1">
                  <c:v>Nov-21</c:v>
                </c:pt>
                <c:pt idx="2">
                  <c:v>Dec-21</c:v>
                </c:pt>
                <c:pt idx="3">
                  <c:v>Jan-22</c:v>
                </c:pt>
                <c:pt idx="4">
                  <c:v>Feb-22</c:v>
                </c:pt>
                <c:pt idx="5">
                  <c:v>Mar-22</c:v>
                </c:pt>
                <c:pt idx="6">
                  <c:v>Apr-22</c:v>
                </c:pt>
                <c:pt idx="7">
                  <c:v>May-22</c:v>
                </c:pt>
                <c:pt idx="8">
                  <c:v>Jun-22</c:v>
                </c:pt>
                <c:pt idx="9">
                  <c:v>Jul-22</c:v>
                </c:pt>
                <c:pt idx="10">
                  <c:v>Aug-22</c:v>
                </c:pt>
                <c:pt idx="11">
                  <c:v>Sep-22</c:v>
                </c:pt>
                <c:pt idx="12">
                  <c:v>Oct-22</c:v>
                </c:pt>
                <c:pt idx="13">
                  <c:v>Nov-22</c:v>
                </c:pt>
                <c:pt idx="14">
                  <c:v>Dec-22</c:v>
                </c:pt>
                <c:pt idx="15">
                  <c:v>Jan-23</c:v>
                </c:pt>
                <c:pt idx="16">
                  <c:v>Feb-23</c:v>
                </c:pt>
                <c:pt idx="17">
                  <c:v>Mar-23</c:v>
                </c:pt>
                <c:pt idx="18">
                  <c:v>Apr-23</c:v>
                </c:pt>
                <c:pt idx="19">
                  <c:v>May-23</c:v>
                </c:pt>
                <c:pt idx="20">
                  <c:v>Jun-23</c:v>
                </c:pt>
                <c:pt idx="21">
                  <c:v>Jul-23</c:v>
                </c:pt>
                <c:pt idx="22">
                  <c:v>Aug-23</c:v>
                </c:pt>
                <c:pt idx="23">
                  <c:v>Sep-23</c:v>
                </c:pt>
                <c:pt idx="24">
                  <c:v>Oct-23</c:v>
                </c:pt>
                <c:pt idx="25">
                  <c:v>Nov-23</c:v>
                </c:pt>
                <c:pt idx="26">
                  <c:v>Dec-23</c:v>
                </c:pt>
                <c:pt idx="27">
                  <c:v>Jan-24</c:v>
                </c:pt>
                <c:pt idx="28">
                  <c:v>Feb-24</c:v>
                </c:pt>
                <c:pt idx="29">
                  <c:v>Mar-24</c:v>
                </c:pt>
                <c:pt idx="30">
                  <c:v>Apr-24</c:v>
                </c:pt>
                <c:pt idx="31">
                  <c:v>May-24</c:v>
                </c:pt>
                <c:pt idx="32">
                  <c:v>Jun-24</c:v>
                </c:pt>
                <c:pt idx="33">
                  <c:v>Jul-24</c:v>
                </c:pt>
                <c:pt idx="34">
                  <c:v>Aug-24</c:v>
                </c:pt>
              </c:strCache>
            </c:strRef>
          </c:cat>
          <c:val>
            <c:numRef>
              <c:f>Sheet1!$E$2:$E$36</c:f>
              <c:numCache>
                <c:formatCode>General</c:formatCode>
                <c:ptCount val="35"/>
                <c:pt idx="0">
                  <c:v>7.076927</c:v>
                </c:pt>
                <c:pt idx="1">
                  <c:v>6.422422</c:v>
                </c:pt>
                <c:pt idx="2">
                  <c:v>6.684903</c:v>
                </c:pt>
                <c:pt idx="3">
                  <c:v>5.669776</c:v>
                </c:pt>
                <c:pt idx="4">
                  <c:v>5.589447</c:v>
                </c:pt>
                <c:pt idx="5">
                  <c:v>9.221269</c:v>
                </c:pt>
                <c:pt idx="6">
                  <c:v>8.043475</c:v>
                </c:pt>
                <c:pt idx="7">
                  <c:v>9.278757</c:v>
                </c:pt>
                <c:pt idx="8">
                  <c:v>8.115859</c:v>
                </c:pt>
                <c:pt idx="9">
                  <c:v>7.771105</c:v>
                </c:pt>
                <c:pt idx="10">
                  <c:v>7.369435</c:v>
                </c:pt>
                <c:pt idx="11">
                  <c:v>6.266166</c:v>
                </c:pt>
                <c:pt idx="12">
                  <c:v>6.188218</c:v>
                </c:pt>
                <c:pt idx="13">
                  <c:v>5.452124</c:v>
                </c:pt>
                <c:pt idx="14">
                  <c:v>6.394831</c:v>
                </c:pt>
                <c:pt idx="15">
                  <c:v>5.631497</c:v>
                </c:pt>
                <c:pt idx="16">
                  <c:v>5.948146</c:v>
                </c:pt>
                <c:pt idx="17">
                  <c:v>7.993665</c:v>
                </c:pt>
                <c:pt idx="18">
                  <c:v>7.199787</c:v>
                </c:pt>
                <c:pt idx="19">
                  <c:v>8.452795</c:v>
                </c:pt>
                <c:pt idx="20">
                  <c:v>8.704926</c:v>
                </c:pt>
                <c:pt idx="21">
                  <c:v>8.315124</c:v>
                </c:pt>
                <c:pt idx="22">
                  <c:v>7.444752</c:v>
                </c:pt>
                <c:pt idx="23">
                  <c:v>6.460808</c:v>
                </c:pt>
                <c:pt idx="24">
                  <c:v>6.229707</c:v>
                </c:pt>
                <c:pt idx="25">
                  <c:v>5.580007</c:v>
                </c:pt>
                <c:pt idx="26">
                  <c:v>6.415978</c:v>
                </c:pt>
                <c:pt idx="27">
                  <c:v>5.289982</c:v>
                </c:pt>
                <c:pt idx="28">
                  <c:v>5.427101</c:v>
                </c:pt>
                <c:pt idx="29">
                  <c:v>6.273881</c:v>
                </c:pt>
                <c:pt idx="30">
                  <c:v>6.902965</c:v>
                </c:pt>
                <c:pt idx="31">
                  <c:v>7.380731</c:v>
                </c:pt>
                <c:pt idx="32">
                  <c:v>7.994547</c:v>
                </c:pt>
                <c:pt idx="33">
                  <c:v>8.461793</c:v>
                </c:pt>
                <c:pt idx="34">
                  <c:v>8.989562</c:v>
                </c:pt>
              </c:numCache>
            </c:numRef>
          </c:val>
          <c:smooth val="0"/>
          <c:extLst>
            <c:ext xmlns:c16="http://schemas.microsoft.com/office/drawing/2014/chart" uri="{C3380CC4-5D6E-409C-BE32-E72D297353CC}">
              <c16:uniqueId val="{00000000-A582-417D-A5F8-2A0075530F50}"/>
            </c:ext>
          </c:extLst>
        </c:ser>
        <c:dLbls>
          <c:showLegendKey val="0"/>
          <c:showVal val="0"/>
          <c:showCatName val="0"/>
          <c:showSerName val="0"/>
          <c:showPercent val="0"/>
          <c:showBubbleSize val="0"/>
        </c:dLbls>
        <c:marker val="1"/>
        <c:smooth val="0"/>
        <c:axId val="1624167016"/>
        <c:axId val="1624169640"/>
      </c:lineChart>
      <c:catAx>
        <c:axId val="1624167016"/>
        <c:scaling>
          <c:orientation val="minMax"/>
        </c:scaling>
        <c:delete val="0"/>
        <c:axPos val="b"/>
        <c:numFmt formatCode="General" sourceLinked="1"/>
        <c:majorTickMark val="none"/>
        <c:minorTickMark val="none"/>
        <c:tickLblPos val="nextTo"/>
        <c:spPr>
          <a:noFill/>
          <a:ln w="9525" cap="flat" cmpd="sng" algn="ctr">
            <a:noFill/>
            <a:prstDash val="solid"/>
            <a:round/>
          </a:ln>
          <a:effectLst/>
        </c:spPr>
        <c:txPr>
          <a:bodyPr rot="0" spcFirstLastPara="1" vertOverflow="ellipsis" wrap="square" anchor="ctr" anchorCtr="1"/>
          <a:lstStyle/>
          <a:p>
            <a:pPr algn="ctr">
              <a:defRPr lang="en-US" sz="800" b="0" i="0" u="none" strike="noStrike" kern="1200" baseline="0">
                <a:solidFill>
                  <a:schemeClr val="tx1"/>
                </a:solidFill>
                <a:latin typeface="+mj-lt"/>
                <a:ea typeface="+mn-ea"/>
                <a:cs typeface="+mn-cs"/>
              </a:defRPr>
            </a:pPr>
            <a:endParaRPr lang="en-US"/>
          </a:p>
        </c:txPr>
        <c:crossAx val="1624169640"/>
        <c:crosses val="autoZero"/>
        <c:auto val="1"/>
        <c:lblAlgn val="ctr"/>
        <c:lblOffset val="100"/>
        <c:tickLblSkip val="3"/>
        <c:noMultiLvlLbl val="1"/>
      </c:catAx>
      <c:valAx>
        <c:axId val="1624169640"/>
        <c:scaling>
          <c:orientation val="minMax"/>
        </c:scaling>
        <c:delete val="0"/>
        <c:axPos val="l"/>
        <c:numFmt formatCode="#,##0" sourceLinked="0"/>
        <c:majorTickMark val="none"/>
        <c:minorTickMark val="none"/>
        <c:tickLblPos val="nextTo"/>
        <c:spPr>
          <a:noFill/>
          <a:ln w="6350" cap="flat" cmpd="sng" algn="ctr">
            <a:noFill/>
            <a:prstDash val="solid"/>
            <a:round/>
          </a:ln>
          <a:effectLst/>
        </c:spPr>
        <c:txPr>
          <a:bodyPr rot="-60000000" spcFirstLastPara="1" vertOverflow="ellipsis" vert="horz" wrap="square" anchor="ctr" anchorCtr="1"/>
          <a:lstStyle/>
          <a:p>
            <a:pP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a:p>
        </c:txPr>
        <c:crossAx val="1624167016"/>
        <c:crosses val="autoZero"/>
        <c:crossBetween val="between"/>
      </c:valAx>
      <c:spPr>
        <a:noFill/>
        <a:ln>
          <a:noFill/>
        </a:ln>
        <a:effectLst/>
      </c:spPr>
    </c:plotArea>
    <c:legend>
      <c:legendPos val="b"/>
      <c:layout>
        <c:manualLayout>
          <c:xMode val="edge"/>
          <c:yMode val="edge"/>
          <c:x val="7.3660685603241294E-2"/>
          <c:y val="0.81729018208272031"/>
          <c:w val="0.90289148980965561"/>
          <c:h val="0.13936961130964612"/>
        </c:manualLayout>
      </c:layout>
      <c:overlay val="0"/>
      <c:spPr>
        <a:noFill/>
        <a:ln>
          <a:noFill/>
        </a:ln>
        <a:effectLst/>
      </c:spPr>
      <c:txPr>
        <a:bodyPr rot="0" spcFirstLastPara="1" vertOverflow="ellipsis" vert="horz" wrap="square" anchor="ctr" anchorCtr="0"/>
        <a:lstStyle/>
        <a:p>
          <a:pPr algn="ctr">
            <a:defRPr lang="en-US"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6350" cap="flat" cmpd="sng" algn="ctr">
      <a:noFill/>
      <a:prstDash val="solid"/>
      <a:miter lim="800000"/>
    </a:ln>
    <a:effectLst/>
  </c:spPr>
  <c:txPr>
    <a:bodyPr/>
    <a:lstStyle/>
    <a:p>
      <a:pPr algn="ctr">
        <a:defRPr lang="en-US" sz="900" b="0" i="0" u="none" strike="noStrike" kern="120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manualLayout>
          <c:layoutTarget val="inner"/>
          <c:xMode val="edge"/>
          <c:yMode val="edge"/>
          <c:x val="4.5205042438763526E-2"/>
          <c:y val="9.9397151645846074E-2"/>
          <c:w val="0.93468942653552012"/>
          <c:h val="0.61239220651000625"/>
        </c:manualLayout>
      </c:layout>
      <c:barChart>
        <c:barDir val="col"/>
        <c:grouping val="stacked"/>
        <c:varyColors val="0"/>
        <c:ser>
          <c:idx val="13"/>
          <c:order val="13"/>
          <c:tx>
            <c:strRef>
              <c:f>Sheet1!$B$1</c:f>
              <c:strCache>
                <c:ptCount val="1"/>
                <c:pt idx="0">
                  <c:v>Dermaplane</c:v>
                </c:pt>
              </c:strCache>
            </c:strRef>
          </c:tx>
          <c:spPr>
            <a:solidFill>
              <a:srgbClr val="00A097"/>
            </a:solidFill>
            <a:ln>
              <a:noFill/>
            </a:ln>
            <a:effectLst/>
          </c:spPr>
          <c:invertIfNegative val="0"/>
          <c:cat>
            <c:strRef>
              <c:f>Sheet1!$A$2:$A$36</c:f>
              <c:strCache>
                <c:ptCount val="35"/>
                <c:pt idx="0">
                  <c:v>Oct-21</c:v>
                </c:pt>
                <c:pt idx="1">
                  <c:v>Nov-21</c:v>
                </c:pt>
                <c:pt idx="2">
                  <c:v>Dec-21</c:v>
                </c:pt>
                <c:pt idx="3">
                  <c:v>Jan-22</c:v>
                </c:pt>
                <c:pt idx="4">
                  <c:v>Feb-22</c:v>
                </c:pt>
                <c:pt idx="5">
                  <c:v>Mar-22</c:v>
                </c:pt>
                <c:pt idx="6">
                  <c:v>Apr-22</c:v>
                </c:pt>
                <c:pt idx="7">
                  <c:v>May-22</c:v>
                </c:pt>
                <c:pt idx="8">
                  <c:v>Jun-22</c:v>
                </c:pt>
                <c:pt idx="9">
                  <c:v>Jul-22</c:v>
                </c:pt>
                <c:pt idx="10">
                  <c:v>Aug-22</c:v>
                </c:pt>
                <c:pt idx="11">
                  <c:v>Sep-22</c:v>
                </c:pt>
                <c:pt idx="12">
                  <c:v>Oct-22</c:v>
                </c:pt>
                <c:pt idx="13">
                  <c:v>Nov-22</c:v>
                </c:pt>
                <c:pt idx="14">
                  <c:v>Dec-22</c:v>
                </c:pt>
                <c:pt idx="15">
                  <c:v>Jan-23</c:v>
                </c:pt>
                <c:pt idx="16">
                  <c:v>Feb-23</c:v>
                </c:pt>
                <c:pt idx="17">
                  <c:v>Mar-23</c:v>
                </c:pt>
                <c:pt idx="18">
                  <c:v>Apr-23</c:v>
                </c:pt>
                <c:pt idx="19">
                  <c:v>May-23</c:v>
                </c:pt>
                <c:pt idx="20">
                  <c:v>Jun-23</c:v>
                </c:pt>
                <c:pt idx="21">
                  <c:v>Jul-23</c:v>
                </c:pt>
                <c:pt idx="22">
                  <c:v>Aug-23</c:v>
                </c:pt>
                <c:pt idx="23">
                  <c:v>Sep-23</c:v>
                </c:pt>
                <c:pt idx="24">
                  <c:v>Oct-23</c:v>
                </c:pt>
                <c:pt idx="25">
                  <c:v>Nov-23</c:v>
                </c:pt>
                <c:pt idx="26">
                  <c:v>Dec-23</c:v>
                </c:pt>
                <c:pt idx="27">
                  <c:v>Jan-24</c:v>
                </c:pt>
                <c:pt idx="28">
                  <c:v>Feb-24</c:v>
                </c:pt>
                <c:pt idx="29">
                  <c:v>Mar-24</c:v>
                </c:pt>
                <c:pt idx="30">
                  <c:v>Apr-24</c:v>
                </c:pt>
                <c:pt idx="31">
                  <c:v>May-24</c:v>
                </c:pt>
                <c:pt idx="32">
                  <c:v>Jun-24</c:v>
                </c:pt>
                <c:pt idx="33">
                  <c:v>Jul-24</c:v>
                </c:pt>
                <c:pt idx="34">
                  <c:v>Aug-24</c:v>
                </c:pt>
              </c:strCache>
            </c:strRef>
          </c:cat>
          <c:val>
            <c:numRef>
              <c:f>Sheet1!$B$2:$B$36</c:f>
              <c:numCache>
                <c:formatCode>General</c:formatCode>
                <c:ptCount val="35"/>
                <c:pt idx="0">
                  <c:v>1.84307</c:v>
                </c:pt>
                <c:pt idx="1">
                  <c:v>1.618002</c:v>
                </c:pt>
                <c:pt idx="2">
                  <c:v>1.800412</c:v>
                </c:pt>
                <c:pt idx="3">
                  <c:v>1.467202</c:v>
                </c:pt>
                <c:pt idx="4">
                  <c:v>1.75835</c:v>
                </c:pt>
                <c:pt idx="5">
                  <c:v>2.240589</c:v>
                </c:pt>
                <c:pt idx="6">
                  <c:v>2.188376</c:v>
                </c:pt>
                <c:pt idx="7">
                  <c:v>2.167473</c:v>
                </c:pt>
                <c:pt idx="8">
                  <c:v>2.037835</c:v>
                </c:pt>
                <c:pt idx="9">
                  <c:v>2.110326</c:v>
                </c:pt>
                <c:pt idx="10">
                  <c:v>2.313256</c:v>
                </c:pt>
                <c:pt idx="11">
                  <c:v>2.075313</c:v>
                </c:pt>
                <c:pt idx="12">
                  <c:v>2.033037</c:v>
                </c:pt>
                <c:pt idx="13">
                  <c:v>2.007544</c:v>
                </c:pt>
                <c:pt idx="14">
                  <c:v>2.528101</c:v>
                </c:pt>
                <c:pt idx="15">
                  <c:v>2.059586</c:v>
                </c:pt>
                <c:pt idx="16">
                  <c:v>1.975366</c:v>
                </c:pt>
                <c:pt idx="17">
                  <c:v>2.447184</c:v>
                </c:pt>
                <c:pt idx="18">
                  <c:v>2.27768</c:v>
                </c:pt>
                <c:pt idx="19">
                  <c:v>2.242012</c:v>
                </c:pt>
                <c:pt idx="20">
                  <c:v>2.213254</c:v>
                </c:pt>
                <c:pt idx="21">
                  <c:v>2.37575</c:v>
                </c:pt>
                <c:pt idx="22">
                  <c:v>2.531345</c:v>
                </c:pt>
                <c:pt idx="23">
                  <c:v>2.303165</c:v>
                </c:pt>
                <c:pt idx="24">
                  <c:v>2.390241</c:v>
                </c:pt>
                <c:pt idx="25">
                  <c:v>2.227848</c:v>
                </c:pt>
                <c:pt idx="26">
                  <c:v>2.529323</c:v>
                </c:pt>
                <c:pt idx="27">
                  <c:v>2.246718</c:v>
                </c:pt>
                <c:pt idx="28">
                  <c:v>2.221207</c:v>
                </c:pt>
                <c:pt idx="29">
                  <c:v>2.373127</c:v>
                </c:pt>
                <c:pt idx="30">
                  <c:v>2.2677</c:v>
                </c:pt>
                <c:pt idx="31">
                  <c:v>2.413107</c:v>
                </c:pt>
                <c:pt idx="32">
                  <c:v>2.422648</c:v>
                </c:pt>
                <c:pt idx="33">
                  <c:v>2.512785</c:v>
                </c:pt>
                <c:pt idx="34">
                  <c:v>2.473616</c:v>
                </c:pt>
              </c:numCache>
            </c:numRef>
          </c:val>
          <c:extLst>
            <c:ext xmlns:c16="http://schemas.microsoft.com/office/drawing/2014/chart" uri="{C3380CC4-5D6E-409C-BE32-E72D297353CC}">
              <c16:uniqueId val="{0000000A-CB01-4B89-A725-1CA2D0FD4A84}"/>
            </c:ext>
          </c:extLst>
        </c:ser>
        <c:ser>
          <c:idx val="14"/>
          <c:order val="14"/>
          <c:tx>
            <c:strRef>
              <c:f>Sheet1!$C$1</c:f>
              <c:strCache>
                <c:ptCount val="1"/>
                <c:pt idx="0">
                  <c:v>Disposable</c:v>
                </c:pt>
              </c:strCache>
            </c:strRef>
          </c:tx>
          <c:spPr>
            <a:solidFill>
              <a:srgbClr val="7ECAC4"/>
            </a:solidFill>
            <a:ln>
              <a:noFill/>
            </a:ln>
            <a:effectLst/>
          </c:spPr>
          <c:invertIfNegative val="0"/>
          <c:cat>
            <c:strRef>
              <c:f>Sheet1!$A$2:$A$36</c:f>
              <c:strCache>
                <c:ptCount val="35"/>
                <c:pt idx="0">
                  <c:v>Oct-21</c:v>
                </c:pt>
                <c:pt idx="1">
                  <c:v>Nov-21</c:v>
                </c:pt>
                <c:pt idx="2">
                  <c:v>Dec-21</c:v>
                </c:pt>
                <c:pt idx="3">
                  <c:v>Jan-22</c:v>
                </c:pt>
                <c:pt idx="4">
                  <c:v>Feb-22</c:v>
                </c:pt>
                <c:pt idx="5">
                  <c:v>Mar-22</c:v>
                </c:pt>
                <c:pt idx="6">
                  <c:v>Apr-22</c:v>
                </c:pt>
                <c:pt idx="7">
                  <c:v>May-22</c:v>
                </c:pt>
                <c:pt idx="8">
                  <c:v>Jun-22</c:v>
                </c:pt>
                <c:pt idx="9">
                  <c:v>Jul-22</c:v>
                </c:pt>
                <c:pt idx="10">
                  <c:v>Aug-22</c:v>
                </c:pt>
                <c:pt idx="11">
                  <c:v>Sep-22</c:v>
                </c:pt>
                <c:pt idx="12">
                  <c:v>Oct-22</c:v>
                </c:pt>
                <c:pt idx="13">
                  <c:v>Nov-22</c:v>
                </c:pt>
                <c:pt idx="14">
                  <c:v>Dec-22</c:v>
                </c:pt>
                <c:pt idx="15">
                  <c:v>Jan-23</c:v>
                </c:pt>
                <c:pt idx="16">
                  <c:v>Feb-23</c:v>
                </c:pt>
                <c:pt idx="17">
                  <c:v>Mar-23</c:v>
                </c:pt>
                <c:pt idx="18">
                  <c:v>Apr-23</c:v>
                </c:pt>
                <c:pt idx="19">
                  <c:v>May-23</c:v>
                </c:pt>
                <c:pt idx="20">
                  <c:v>Jun-23</c:v>
                </c:pt>
                <c:pt idx="21">
                  <c:v>Jul-23</c:v>
                </c:pt>
                <c:pt idx="22">
                  <c:v>Aug-23</c:v>
                </c:pt>
                <c:pt idx="23">
                  <c:v>Sep-23</c:v>
                </c:pt>
                <c:pt idx="24">
                  <c:v>Oct-23</c:v>
                </c:pt>
                <c:pt idx="25">
                  <c:v>Nov-23</c:v>
                </c:pt>
                <c:pt idx="26">
                  <c:v>Dec-23</c:v>
                </c:pt>
                <c:pt idx="27">
                  <c:v>Jan-24</c:v>
                </c:pt>
                <c:pt idx="28">
                  <c:v>Feb-24</c:v>
                </c:pt>
                <c:pt idx="29">
                  <c:v>Mar-24</c:v>
                </c:pt>
                <c:pt idx="30">
                  <c:v>Apr-24</c:v>
                </c:pt>
                <c:pt idx="31">
                  <c:v>May-24</c:v>
                </c:pt>
                <c:pt idx="32">
                  <c:v>Jun-24</c:v>
                </c:pt>
                <c:pt idx="33">
                  <c:v>Jul-24</c:v>
                </c:pt>
                <c:pt idx="34">
                  <c:v>Aug-24</c:v>
                </c:pt>
              </c:strCache>
            </c:strRef>
          </c:cat>
          <c:val>
            <c:numRef>
              <c:f>Sheet1!$C$2:$C$36</c:f>
              <c:numCache>
                <c:formatCode>General</c:formatCode>
                <c:ptCount val="35"/>
                <c:pt idx="0">
                  <c:v>13.998096</c:v>
                </c:pt>
                <c:pt idx="1">
                  <c:v>13.498275</c:v>
                </c:pt>
                <c:pt idx="2">
                  <c:v>15.170905</c:v>
                </c:pt>
                <c:pt idx="3">
                  <c:v>11.936156</c:v>
                </c:pt>
                <c:pt idx="4">
                  <c:v>12.045197</c:v>
                </c:pt>
                <c:pt idx="5">
                  <c:v>14.847609</c:v>
                </c:pt>
                <c:pt idx="6">
                  <c:v>14.388601</c:v>
                </c:pt>
                <c:pt idx="7">
                  <c:v>15.328575</c:v>
                </c:pt>
                <c:pt idx="8">
                  <c:v>15.943466</c:v>
                </c:pt>
                <c:pt idx="9">
                  <c:v>16.568296</c:v>
                </c:pt>
                <c:pt idx="10">
                  <c:v>16.328948</c:v>
                </c:pt>
                <c:pt idx="11">
                  <c:v>13.903942</c:v>
                </c:pt>
                <c:pt idx="12">
                  <c:v>13.78687</c:v>
                </c:pt>
                <c:pt idx="13">
                  <c:v>12.967761</c:v>
                </c:pt>
                <c:pt idx="14">
                  <c:v>14.830612</c:v>
                </c:pt>
                <c:pt idx="15">
                  <c:v>11.934438</c:v>
                </c:pt>
                <c:pt idx="16">
                  <c:v>11.683988</c:v>
                </c:pt>
                <c:pt idx="17">
                  <c:v>13.594828</c:v>
                </c:pt>
                <c:pt idx="18">
                  <c:v>13.64822</c:v>
                </c:pt>
                <c:pt idx="19">
                  <c:v>15.361788</c:v>
                </c:pt>
                <c:pt idx="20">
                  <c:v>16.42362</c:v>
                </c:pt>
                <c:pt idx="21">
                  <c:v>16.731661</c:v>
                </c:pt>
                <c:pt idx="22">
                  <c:v>15.745765</c:v>
                </c:pt>
                <c:pt idx="23">
                  <c:v>13.278527</c:v>
                </c:pt>
                <c:pt idx="24">
                  <c:v>13.147419</c:v>
                </c:pt>
                <c:pt idx="25">
                  <c:v>12.640339</c:v>
                </c:pt>
                <c:pt idx="26">
                  <c:v>15.95261</c:v>
                </c:pt>
                <c:pt idx="27">
                  <c:v>11.775781</c:v>
                </c:pt>
                <c:pt idx="28">
                  <c:v>12.006458</c:v>
                </c:pt>
                <c:pt idx="29">
                  <c:v>13.656793</c:v>
                </c:pt>
                <c:pt idx="30">
                  <c:v>13.476069</c:v>
                </c:pt>
                <c:pt idx="31">
                  <c:v>15.03192</c:v>
                </c:pt>
                <c:pt idx="32">
                  <c:v>16.469975</c:v>
                </c:pt>
                <c:pt idx="33">
                  <c:v>16.499725</c:v>
                </c:pt>
                <c:pt idx="34">
                  <c:v>15.623029</c:v>
                </c:pt>
              </c:numCache>
            </c:numRef>
          </c:val>
          <c:extLst>
            <c:ext xmlns:c16="http://schemas.microsoft.com/office/drawing/2014/chart" uri="{C3380CC4-5D6E-409C-BE32-E72D297353CC}">
              <c16:uniqueId val="{0000000B-CB01-4B89-A725-1CA2D0FD4A84}"/>
            </c:ext>
          </c:extLst>
        </c:ser>
        <c:ser>
          <c:idx val="15"/>
          <c:order val="15"/>
          <c:tx>
            <c:strRef>
              <c:f>Sheet1!$D$1</c:f>
              <c:strCache>
                <c:ptCount val="1"/>
                <c:pt idx="0">
                  <c:v>System</c:v>
                </c:pt>
              </c:strCache>
            </c:strRef>
          </c:tx>
          <c:spPr>
            <a:solidFill>
              <a:srgbClr val="B2DFDC"/>
            </a:solidFill>
            <a:ln>
              <a:noFill/>
            </a:ln>
            <a:effectLst/>
          </c:spPr>
          <c:invertIfNegative val="0"/>
          <c:cat>
            <c:strRef>
              <c:f>Sheet1!$A$2:$A$36</c:f>
              <c:strCache>
                <c:ptCount val="35"/>
                <c:pt idx="0">
                  <c:v>Oct-21</c:v>
                </c:pt>
                <c:pt idx="1">
                  <c:v>Nov-21</c:v>
                </c:pt>
                <c:pt idx="2">
                  <c:v>Dec-21</c:v>
                </c:pt>
                <c:pt idx="3">
                  <c:v>Jan-22</c:v>
                </c:pt>
                <c:pt idx="4">
                  <c:v>Feb-22</c:v>
                </c:pt>
                <c:pt idx="5">
                  <c:v>Mar-22</c:v>
                </c:pt>
                <c:pt idx="6">
                  <c:v>Apr-22</c:v>
                </c:pt>
                <c:pt idx="7">
                  <c:v>May-22</c:v>
                </c:pt>
                <c:pt idx="8">
                  <c:v>Jun-22</c:v>
                </c:pt>
                <c:pt idx="9">
                  <c:v>Jul-22</c:v>
                </c:pt>
                <c:pt idx="10">
                  <c:v>Aug-22</c:v>
                </c:pt>
                <c:pt idx="11">
                  <c:v>Sep-22</c:v>
                </c:pt>
                <c:pt idx="12">
                  <c:v>Oct-22</c:v>
                </c:pt>
                <c:pt idx="13">
                  <c:v>Nov-22</c:v>
                </c:pt>
                <c:pt idx="14">
                  <c:v>Dec-22</c:v>
                </c:pt>
                <c:pt idx="15">
                  <c:v>Jan-23</c:v>
                </c:pt>
                <c:pt idx="16">
                  <c:v>Feb-23</c:v>
                </c:pt>
                <c:pt idx="17">
                  <c:v>Mar-23</c:v>
                </c:pt>
                <c:pt idx="18">
                  <c:v>Apr-23</c:v>
                </c:pt>
                <c:pt idx="19">
                  <c:v>May-23</c:v>
                </c:pt>
                <c:pt idx="20">
                  <c:v>Jun-23</c:v>
                </c:pt>
                <c:pt idx="21">
                  <c:v>Jul-23</c:v>
                </c:pt>
                <c:pt idx="22">
                  <c:v>Aug-23</c:v>
                </c:pt>
                <c:pt idx="23">
                  <c:v>Sep-23</c:v>
                </c:pt>
                <c:pt idx="24">
                  <c:v>Oct-23</c:v>
                </c:pt>
                <c:pt idx="25">
                  <c:v>Nov-23</c:v>
                </c:pt>
                <c:pt idx="26">
                  <c:v>Dec-23</c:v>
                </c:pt>
                <c:pt idx="27">
                  <c:v>Jan-24</c:v>
                </c:pt>
                <c:pt idx="28">
                  <c:v>Feb-24</c:v>
                </c:pt>
                <c:pt idx="29">
                  <c:v>Mar-24</c:v>
                </c:pt>
                <c:pt idx="30">
                  <c:v>Apr-24</c:v>
                </c:pt>
                <c:pt idx="31">
                  <c:v>May-24</c:v>
                </c:pt>
                <c:pt idx="32">
                  <c:v>Jun-24</c:v>
                </c:pt>
                <c:pt idx="33">
                  <c:v>Jul-24</c:v>
                </c:pt>
                <c:pt idx="34">
                  <c:v>Aug-24</c:v>
                </c:pt>
              </c:strCache>
            </c:strRef>
          </c:cat>
          <c:val>
            <c:numRef>
              <c:f>Sheet1!$D$2:$D$36</c:f>
              <c:numCache>
                <c:formatCode>General</c:formatCode>
                <c:ptCount val="35"/>
                <c:pt idx="0">
                  <c:v>13.489983</c:v>
                </c:pt>
                <c:pt idx="1">
                  <c:v>13.88067</c:v>
                </c:pt>
                <c:pt idx="2">
                  <c:v>15.888146</c:v>
                </c:pt>
                <c:pt idx="3">
                  <c:v>11.588505</c:v>
                </c:pt>
                <c:pt idx="4">
                  <c:v>13.118775</c:v>
                </c:pt>
                <c:pt idx="5">
                  <c:v>16.390374</c:v>
                </c:pt>
                <c:pt idx="6">
                  <c:v>15.501589</c:v>
                </c:pt>
                <c:pt idx="7">
                  <c:v>16.549052</c:v>
                </c:pt>
                <c:pt idx="8">
                  <c:v>17.042355</c:v>
                </c:pt>
                <c:pt idx="9">
                  <c:v>17.363801</c:v>
                </c:pt>
                <c:pt idx="10">
                  <c:v>17.115458</c:v>
                </c:pt>
                <c:pt idx="11">
                  <c:v>14.099013</c:v>
                </c:pt>
                <c:pt idx="12">
                  <c:v>14.262124</c:v>
                </c:pt>
                <c:pt idx="13">
                  <c:v>13.65816</c:v>
                </c:pt>
                <c:pt idx="14">
                  <c:v>16.603109</c:v>
                </c:pt>
                <c:pt idx="15">
                  <c:v>12.638772</c:v>
                </c:pt>
                <c:pt idx="16">
                  <c:v>12.445663</c:v>
                </c:pt>
                <c:pt idx="17">
                  <c:v>14.523636</c:v>
                </c:pt>
                <c:pt idx="18">
                  <c:v>14.291351</c:v>
                </c:pt>
                <c:pt idx="19">
                  <c:v>15.833449</c:v>
                </c:pt>
                <c:pt idx="20">
                  <c:v>16.4555</c:v>
                </c:pt>
                <c:pt idx="21">
                  <c:v>17.436862</c:v>
                </c:pt>
                <c:pt idx="22">
                  <c:v>16.979949</c:v>
                </c:pt>
                <c:pt idx="23">
                  <c:v>13.825736</c:v>
                </c:pt>
                <c:pt idx="24">
                  <c:v>13.840085</c:v>
                </c:pt>
                <c:pt idx="25">
                  <c:v>13.797124</c:v>
                </c:pt>
                <c:pt idx="26">
                  <c:v>19.001872</c:v>
                </c:pt>
                <c:pt idx="27">
                  <c:v>12.381734</c:v>
                </c:pt>
                <c:pt idx="28">
                  <c:v>13.19693</c:v>
                </c:pt>
                <c:pt idx="29">
                  <c:v>15.115975</c:v>
                </c:pt>
                <c:pt idx="30">
                  <c:v>14.162521</c:v>
                </c:pt>
                <c:pt idx="31">
                  <c:v>15.527794</c:v>
                </c:pt>
                <c:pt idx="32">
                  <c:v>16.726613</c:v>
                </c:pt>
                <c:pt idx="33">
                  <c:v>17.142091</c:v>
                </c:pt>
                <c:pt idx="34">
                  <c:v>16.686727</c:v>
                </c:pt>
              </c:numCache>
            </c:numRef>
          </c:val>
          <c:extLst>
            <c:ext xmlns:c16="http://schemas.microsoft.com/office/drawing/2014/chart" uri="{C3380CC4-5D6E-409C-BE32-E72D297353CC}">
              <c16:uniqueId val="{0000000C-CB01-4B89-A725-1CA2D0FD4A84}"/>
            </c:ext>
          </c:extLst>
        </c:ser>
        <c:dLbls>
          <c:showLegendKey val="0"/>
          <c:showVal val="0"/>
          <c:showCatName val="0"/>
          <c:showSerName val="0"/>
          <c:showPercent val="0"/>
          <c:showBubbleSize val="0"/>
        </c:dLbls>
        <c:gapWidth val="150"/>
        <c:overlap val="100"/>
        <c:axId val="1624167016"/>
        <c:axId val="1624169640"/>
        <c:extLst>
          <c:ext xmlns:c15="http://schemas.microsoft.com/office/drawing/2012/chart" uri="{02D57815-91ED-43cb-92C2-25804820EDAC}">
            <c15:filteredBarSeries>
              <c15:ser>
                <c:idx val="1"/>
                <c:order val="1"/>
                <c:tx>
                  <c:strRef>
                    <c:extLst>
                      <c:ext uri="{02D57815-91ED-43cb-92C2-25804820EDAC}">
                        <c15:formulaRef>
                          <c15:sqref>Sheet1!$C$1</c15:sqref>
                        </c15:formulaRef>
                      </c:ext>
                    </c:extLst>
                    <c:strCache>
                      <c:ptCount val="1"/>
                      <c:pt idx="0">
                        <c:v>Sector 1</c:v>
                      </c:pt>
                    </c:strCache>
                  </c:strRef>
                </c:tx>
                <c:spPr>
                  <a:solidFill>
                    <a:schemeClr val="dk1">
                      <a:tint val="55000"/>
                    </a:schemeClr>
                  </a:solidFill>
                  <a:ln>
                    <a:noFill/>
                  </a:ln>
                  <a:effectLst/>
                </c:spPr>
                <c:invertIfNegative val="0"/>
                <c:cat>
                  <c:strRef>
                    <c:extLst>
                      <c:ex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c:ext uri="{02D57815-91ED-43cb-92C2-25804820EDAC}">
                        <c15:formulaRef>
                          <c15:sqref>Sheet1!$C$2:$C$36</c15:sqref>
                        </c15:formulaRef>
                      </c:ext>
                    </c:extLst>
                    <c:numCache>
                      <c:formatCode>General</c:formatCode>
                      <c:ptCount val="35"/>
                      <c:pt idx="0">
                        <c:v>40.809865000000002</c:v>
                      </c:pt>
                      <c:pt idx="1">
                        <c:v>41.860694000000002</c:v>
                      </c:pt>
                      <c:pt idx="2">
                        <c:v>34.509422000000001</c:v>
                      </c:pt>
                      <c:pt idx="3">
                        <c:v>49.657702</c:v>
                      </c:pt>
                      <c:pt idx="4">
                        <c:v>50.616717999999999</c:v>
                      </c:pt>
                      <c:pt idx="5">
                        <c:v>51.539561999999997</c:v>
                      </c:pt>
                      <c:pt idx="6">
                        <c:v>53.959558000000001</c:v>
                      </c:pt>
                      <c:pt idx="7">
                        <c:v>48.84498</c:v>
                      </c:pt>
                      <c:pt idx="8">
                        <c:v>43.617640999999999</c:v>
                      </c:pt>
                      <c:pt idx="9">
                        <c:v>44.545436000000002</c:v>
                      </c:pt>
                      <c:pt idx="10">
                        <c:v>41.403309999999998</c:v>
                      </c:pt>
                      <c:pt idx="11">
                        <c:v>42.115876</c:v>
                      </c:pt>
                      <c:pt idx="12">
                        <c:v>39.743237000000001</c:v>
                      </c:pt>
                      <c:pt idx="13">
                        <c:v>42.646582000000002</c:v>
                      </c:pt>
                      <c:pt idx="14">
                        <c:v>40.323042999999998</c:v>
                      </c:pt>
                      <c:pt idx="15">
                        <c:v>52.877302</c:v>
                      </c:pt>
                      <c:pt idx="16">
                        <c:v>52.359431000000001</c:v>
                      </c:pt>
                      <c:pt idx="17">
                        <c:v>50.322519999999997</c:v>
                      </c:pt>
                      <c:pt idx="18">
                        <c:v>52.78004</c:v>
                      </c:pt>
                      <c:pt idx="19">
                        <c:v>49.372244999999999</c:v>
                      </c:pt>
                      <c:pt idx="20">
                        <c:v>50.002222000000003</c:v>
                      </c:pt>
                      <c:pt idx="21">
                        <c:v>46.193210000000001</c:v>
                      </c:pt>
                      <c:pt idx="22">
                        <c:v>41.510463999999999</c:v>
                      </c:pt>
                      <c:pt idx="23">
                        <c:v>40.221505000000001</c:v>
                      </c:pt>
                      <c:pt idx="24">
                        <c:v>42.523161999999999</c:v>
                      </c:pt>
                      <c:pt idx="25">
                        <c:v>45.628883999999999</c:v>
                      </c:pt>
                      <c:pt idx="26">
                        <c:v>40.031787999999999</c:v>
                      </c:pt>
                      <c:pt idx="27">
                        <c:v>51.652650000000001</c:v>
                      </c:pt>
                      <c:pt idx="28">
                        <c:v>50.177590000000002</c:v>
                      </c:pt>
                      <c:pt idx="29">
                        <c:v>54.531019999999998</c:v>
                      </c:pt>
                      <c:pt idx="30">
                        <c:v>56.857843000000003</c:v>
                      </c:pt>
                      <c:pt idx="31">
                        <c:v>50.233561999999999</c:v>
                      </c:pt>
                      <c:pt idx="32">
                        <c:v>48.179372000000001</c:v>
                      </c:pt>
                      <c:pt idx="33">
                        <c:v>47.120365</c:v>
                      </c:pt>
                      <c:pt idx="34">
                        <c:v>35.507016999999998</c:v>
                      </c:pt>
                    </c:numCache>
                  </c:numRef>
                </c:val>
                <c:extLst>
                  <c:ext xmlns:c16="http://schemas.microsoft.com/office/drawing/2014/chart" uri="{C3380CC4-5D6E-409C-BE32-E72D297353CC}">
                    <c16:uniqueId val="{00000001-A582-417D-A5F8-2A0075530F50}"/>
                  </c:ext>
                </c:extLst>
              </c15:ser>
            </c15:filteredBarSeries>
            <c15:filteredBarSeries>
              <c15:ser>
                <c:idx val="2"/>
                <c:order val="2"/>
                <c:tx>
                  <c:strRef>
                    <c:extLst xmlns:c15="http://schemas.microsoft.com/office/drawing/2012/chart">
                      <c:ext xmlns:c15="http://schemas.microsoft.com/office/drawing/2012/chart" uri="{02D57815-91ED-43cb-92C2-25804820EDAC}">
                        <c15:formulaRef>
                          <c15:sqref>Sheet1!$D$1</c15:sqref>
                        </c15:formulaRef>
                      </c:ext>
                    </c:extLst>
                    <c:strCache>
                      <c:ptCount val="1"/>
                      <c:pt idx="0">
                        <c:v>Sector 2</c:v>
                      </c:pt>
                    </c:strCache>
                  </c:strRef>
                </c:tx>
                <c:spPr>
                  <a:solidFill>
                    <a:schemeClr val="dk1">
                      <a:tint val="75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D$2:$D$36</c15:sqref>
                        </c15:formulaRef>
                      </c:ext>
                    </c:extLst>
                    <c:numCache>
                      <c:formatCode>General</c:formatCode>
                      <c:ptCount val="35"/>
                      <c:pt idx="0">
                        <c:v>19.557812999999999</c:v>
                      </c:pt>
                      <c:pt idx="1">
                        <c:v>23.784803</c:v>
                      </c:pt>
                      <c:pt idx="2">
                        <c:v>21.799987000000002</c:v>
                      </c:pt>
                      <c:pt idx="3">
                        <c:v>25.857672000000001</c:v>
                      </c:pt>
                      <c:pt idx="4">
                        <c:v>24.992432999999998</c:v>
                      </c:pt>
                      <c:pt idx="5">
                        <c:v>26.955321999999999</c:v>
                      </c:pt>
                      <c:pt idx="6">
                        <c:v>32.419100999999998</c:v>
                      </c:pt>
                      <c:pt idx="7">
                        <c:v>29.344944999999999</c:v>
                      </c:pt>
                      <c:pt idx="8">
                        <c:v>27.493164</c:v>
                      </c:pt>
                      <c:pt idx="9">
                        <c:v>23.275084</c:v>
                      </c:pt>
                      <c:pt idx="10">
                        <c:v>24.237242999999999</c:v>
                      </c:pt>
                      <c:pt idx="11">
                        <c:v>23.067723999999998</c:v>
                      </c:pt>
                      <c:pt idx="12">
                        <c:v>23.036899999999999</c:v>
                      </c:pt>
                      <c:pt idx="13">
                        <c:v>25.516981000000001</c:v>
                      </c:pt>
                      <c:pt idx="14">
                        <c:v>22.874832000000001</c:v>
                      </c:pt>
                      <c:pt idx="15">
                        <c:v>26.349399999999999</c:v>
                      </c:pt>
                      <c:pt idx="16">
                        <c:v>29.881401</c:v>
                      </c:pt>
                      <c:pt idx="17">
                        <c:v>31.686630000000001</c:v>
                      </c:pt>
                      <c:pt idx="18">
                        <c:v>34.259588000000001</c:v>
                      </c:pt>
                      <c:pt idx="19">
                        <c:v>31.563769000000001</c:v>
                      </c:pt>
                      <c:pt idx="20">
                        <c:v>27.452038999999999</c:v>
                      </c:pt>
                      <c:pt idx="21">
                        <c:v>24.840769999999999</c:v>
                      </c:pt>
                      <c:pt idx="22">
                        <c:v>26.102284999999998</c:v>
                      </c:pt>
                      <c:pt idx="23">
                        <c:v>23.897715000000002</c:v>
                      </c:pt>
                      <c:pt idx="24">
                        <c:v>25.006601</c:v>
                      </c:pt>
                      <c:pt idx="25">
                        <c:v>27.601903</c:v>
                      </c:pt>
                      <c:pt idx="26">
                        <c:v>22.956002999999999</c:v>
                      </c:pt>
                      <c:pt idx="27">
                        <c:v>26.913005999999999</c:v>
                      </c:pt>
                      <c:pt idx="28">
                        <c:v>31.412331999999999</c:v>
                      </c:pt>
                      <c:pt idx="29">
                        <c:v>32.630974000000002</c:v>
                      </c:pt>
                      <c:pt idx="30">
                        <c:v>31.591038000000001</c:v>
                      </c:pt>
                      <c:pt idx="31">
                        <c:v>31.863667</c:v>
                      </c:pt>
                      <c:pt idx="32">
                        <c:v>31.422338</c:v>
                      </c:pt>
                      <c:pt idx="33">
                        <c:v>28.426777000000001</c:v>
                      </c:pt>
                      <c:pt idx="34">
                        <c:v>26.165305</c:v>
                      </c:pt>
                    </c:numCache>
                  </c:numRef>
                </c:val>
                <c:extLst xmlns:c15="http://schemas.microsoft.com/office/drawing/2012/chart">
                  <c:ext xmlns:c16="http://schemas.microsoft.com/office/drawing/2014/chart" uri="{C3380CC4-5D6E-409C-BE32-E72D297353CC}">
                    <c16:uniqueId val="{00000000-2D16-4906-BB22-77AF188F6975}"/>
                  </c:ext>
                </c:extLst>
              </c15:ser>
            </c15:filteredBarSeries>
            <c15:filteredBarSeries>
              <c15:ser>
                <c:idx val="3"/>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Sector 3</c:v>
                      </c:pt>
                    </c:strCache>
                  </c:strRef>
                </c:tx>
                <c:spPr>
                  <a:solidFill>
                    <a:schemeClr val="dk1">
                      <a:tint val="985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E$2:$E$36</c15:sqref>
                        </c15:formulaRef>
                      </c:ext>
                    </c:extLst>
                    <c:numCache>
                      <c:formatCode>General</c:formatCode>
                      <c:ptCount val="35"/>
                      <c:pt idx="0">
                        <c:v>27.462826</c:v>
                      </c:pt>
                      <c:pt idx="1">
                        <c:v>39.404572000000002</c:v>
                      </c:pt>
                      <c:pt idx="2">
                        <c:v>34.570886000000002</c:v>
                      </c:pt>
                      <c:pt idx="3">
                        <c:v>47.424028999999997</c:v>
                      </c:pt>
                      <c:pt idx="4">
                        <c:v>42.725195999999997</c:v>
                      </c:pt>
                      <c:pt idx="5">
                        <c:v>49.893875999999999</c:v>
                      </c:pt>
                      <c:pt idx="6">
                        <c:v>45.230561999999999</c:v>
                      </c:pt>
                      <c:pt idx="7">
                        <c:v>36.896878999999998</c:v>
                      </c:pt>
                      <c:pt idx="8">
                        <c:v>33.942658000000002</c:v>
                      </c:pt>
                      <c:pt idx="9">
                        <c:v>31.043399000000001</c:v>
                      </c:pt>
                      <c:pt idx="10">
                        <c:v>28.703312</c:v>
                      </c:pt>
                      <c:pt idx="11">
                        <c:v>32.247686999999999</c:v>
                      </c:pt>
                      <c:pt idx="12">
                        <c:v>39.267698000000003</c:v>
                      </c:pt>
                      <c:pt idx="13">
                        <c:v>36.104199999999999</c:v>
                      </c:pt>
                      <c:pt idx="14">
                        <c:v>35.473145000000002</c:v>
                      </c:pt>
                      <c:pt idx="15">
                        <c:v>53.202506999999997</c:v>
                      </c:pt>
                      <c:pt idx="16">
                        <c:v>50.982067999999998</c:v>
                      </c:pt>
                      <c:pt idx="17">
                        <c:v>60.592055999999999</c:v>
                      </c:pt>
                      <c:pt idx="18">
                        <c:v>55.653505000000003</c:v>
                      </c:pt>
                      <c:pt idx="19">
                        <c:v>45.804431000000001</c:v>
                      </c:pt>
                      <c:pt idx="20">
                        <c:v>42.097817999999997</c:v>
                      </c:pt>
                      <c:pt idx="21">
                        <c:v>38.569479999999999</c:v>
                      </c:pt>
                      <c:pt idx="22">
                        <c:v>32.493749000000001</c:v>
                      </c:pt>
                      <c:pt idx="23">
                        <c:v>31.329796000000002</c:v>
                      </c:pt>
                      <c:pt idx="24">
                        <c:v>33.130343000000003</c:v>
                      </c:pt>
                      <c:pt idx="25">
                        <c:v>40.916313000000002</c:v>
                      </c:pt>
                      <c:pt idx="26">
                        <c:v>34.557360000000003</c:v>
                      </c:pt>
                      <c:pt idx="27">
                        <c:v>46.799098000000001</c:v>
                      </c:pt>
                      <c:pt idx="28">
                        <c:v>46.752299000000001</c:v>
                      </c:pt>
                      <c:pt idx="29">
                        <c:v>54.888565999999997</c:v>
                      </c:pt>
                      <c:pt idx="30">
                        <c:v>56.439608999999997</c:v>
                      </c:pt>
                      <c:pt idx="31">
                        <c:v>44.964128000000002</c:v>
                      </c:pt>
                      <c:pt idx="32">
                        <c:v>45.321382999999997</c:v>
                      </c:pt>
                      <c:pt idx="33">
                        <c:v>37.671095999999999</c:v>
                      </c:pt>
                      <c:pt idx="34">
                        <c:v>31.554338999999999</c:v>
                      </c:pt>
                    </c:numCache>
                  </c:numRef>
                </c:val>
                <c:extLst xmlns:c15="http://schemas.microsoft.com/office/drawing/2012/chart">
                  <c:ext xmlns:c16="http://schemas.microsoft.com/office/drawing/2014/chart" uri="{C3380CC4-5D6E-409C-BE32-E72D297353CC}">
                    <c16:uniqueId val="{00000001-2D16-4906-BB22-77AF188F6975}"/>
                  </c:ext>
                </c:extLst>
              </c15:ser>
            </c15:filteredBarSeries>
            <c15:filteredBarSeries>
              <c15:ser>
                <c:idx val="4"/>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Sector 4</c:v>
                      </c:pt>
                    </c:strCache>
                  </c:strRef>
                </c:tx>
                <c:spPr>
                  <a:solidFill>
                    <a:schemeClr val="dk1">
                      <a:tint val="30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F$2:$F$36</c15:sqref>
                        </c15:formulaRef>
                      </c:ext>
                    </c:extLst>
                    <c:numCache>
                      <c:formatCode>General</c:formatCode>
                      <c:ptCount val="35"/>
                      <c:pt idx="0">
                        <c:v>28.541810999999999</c:v>
                      </c:pt>
                      <c:pt idx="1">
                        <c:v>29.052481</c:v>
                      </c:pt>
                      <c:pt idx="2">
                        <c:v>33.367750000000001</c:v>
                      </c:pt>
                      <c:pt idx="3">
                        <c:v>35.968623999999998</c:v>
                      </c:pt>
                      <c:pt idx="4">
                        <c:v>33.207349000000001</c:v>
                      </c:pt>
                      <c:pt idx="5">
                        <c:v>35.057527</c:v>
                      </c:pt>
                      <c:pt idx="6">
                        <c:v>38.900894999999998</c:v>
                      </c:pt>
                      <c:pt idx="7">
                        <c:v>43.694178999999998</c:v>
                      </c:pt>
                      <c:pt idx="8">
                        <c:v>62.841144999999997</c:v>
                      </c:pt>
                      <c:pt idx="9">
                        <c:v>54.763354999999997</c:v>
                      </c:pt>
                      <c:pt idx="10">
                        <c:v>89.252371999999994</c:v>
                      </c:pt>
                      <c:pt idx="11">
                        <c:v>25.975645</c:v>
                      </c:pt>
                      <c:pt idx="12">
                        <c:v>30.148197</c:v>
                      </c:pt>
                      <c:pt idx="13">
                        <c:v>36.475974999999998</c:v>
                      </c:pt>
                      <c:pt idx="14">
                        <c:v>29.658926000000001</c:v>
                      </c:pt>
                      <c:pt idx="15">
                        <c:v>35.421528000000002</c:v>
                      </c:pt>
                      <c:pt idx="16">
                        <c:v>32.439849000000002</c:v>
                      </c:pt>
                      <c:pt idx="17">
                        <c:v>35.716830000000002</c:v>
                      </c:pt>
                      <c:pt idx="18">
                        <c:v>41.225175999999998</c:v>
                      </c:pt>
                      <c:pt idx="19">
                        <c:v>43.331505999999997</c:v>
                      </c:pt>
                      <c:pt idx="20">
                        <c:v>67.705122000000003</c:v>
                      </c:pt>
                      <c:pt idx="21">
                        <c:v>56.56662</c:v>
                      </c:pt>
                      <c:pt idx="22">
                        <c:v>91.018388000000002</c:v>
                      </c:pt>
                      <c:pt idx="23">
                        <c:v>26.250737000000001</c:v>
                      </c:pt>
                      <c:pt idx="24">
                        <c:v>30.771353000000001</c:v>
                      </c:pt>
                      <c:pt idx="25">
                        <c:v>32.781751</c:v>
                      </c:pt>
                      <c:pt idx="26">
                        <c:v>40.871063999999997</c:v>
                      </c:pt>
                      <c:pt idx="27">
                        <c:v>36.555362000000002</c:v>
                      </c:pt>
                      <c:pt idx="28">
                        <c:v>33.561486000000002</c:v>
                      </c:pt>
                      <c:pt idx="29">
                        <c:v>37.536104000000002</c:v>
                      </c:pt>
                      <c:pt idx="30">
                        <c:v>45.721882000000001</c:v>
                      </c:pt>
                      <c:pt idx="31">
                        <c:v>44.358134999999997</c:v>
                      </c:pt>
                      <c:pt idx="32">
                        <c:v>73.994276999999997</c:v>
                      </c:pt>
                      <c:pt idx="33">
                        <c:v>62.661236000000002</c:v>
                      </c:pt>
                      <c:pt idx="34">
                        <c:v>91.533505000000005</c:v>
                      </c:pt>
                    </c:numCache>
                  </c:numRef>
                </c:val>
                <c:extLst xmlns:c15="http://schemas.microsoft.com/office/drawing/2012/chart">
                  <c:ext xmlns:c16="http://schemas.microsoft.com/office/drawing/2014/chart" uri="{C3380CC4-5D6E-409C-BE32-E72D297353CC}">
                    <c16:uniqueId val="{00000002-2D16-4906-BB22-77AF188F6975}"/>
                  </c:ext>
                </c:extLst>
              </c15:ser>
            </c15:filteredBarSeries>
            <c15:filteredBarSeries>
              <c15:ser>
                <c:idx val="5"/>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Sector 5</c:v>
                      </c:pt>
                    </c:strCache>
                  </c:strRef>
                </c:tx>
                <c:spPr>
                  <a:solidFill>
                    <a:schemeClr val="dk1">
                      <a:tint val="60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G$2:$G$36</c15:sqref>
                        </c15:formulaRef>
                      </c:ext>
                    </c:extLst>
                    <c:numCache>
                      <c:formatCode>General</c:formatCode>
                      <c:ptCount val="35"/>
                      <c:pt idx="0">
                        <c:v>12.194502</c:v>
                      </c:pt>
                      <c:pt idx="1">
                        <c:v>7.156504</c:v>
                      </c:pt>
                      <c:pt idx="2">
                        <c:v>12.852249</c:v>
                      </c:pt>
                      <c:pt idx="3">
                        <c:v>17.913703000000002</c:v>
                      </c:pt>
                      <c:pt idx="4">
                        <c:v>9.8828340000000008</c:v>
                      </c:pt>
                      <c:pt idx="5">
                        <c:v>9.6037440000000007</c:v>
                      </c:pt>
                      <c:pt idx="6">
                        <c:v>11.410088999999999</c:v>
                      </c:pt>
                      <c:pt idx="7">
                        <c:v>11.869301</c:v>
                      </c:pt>
                      <c:pt idx="8">
                        <c:v>10.943581</c:v>
                      </c:pt>
                      <c:pt idx="9">
                        <c:v>24.200908999999999</c:v>
                      </c:pt>
                      <c:pt idx="10">
                        <c:v>59.814160000000001</c:v>
                      </c:pt>
                      <c:pt idx="11">
                        <c:v>7.4327399999999999</c:v>
                      </c:pt>
                      <c:pt idx="12">
                        <c:v>12.873098000000001</c:v>
                      </c:pt>
                      <c:pt idx="13">
                        <c:v>17.347481999999999</c:v>
                      </c:pt>
                      <c:pt idx="14">
                        <c:v>14.342812</c:v>
                      </c:pt>
                      <c:pt idx="15">
                        <c:v>16.454574000000001</c:v>
                      </c:pt>
                      <c:pt idx="16">
                        <c:v>8.7173169999999995</c:v>
                      </c:pt>
                      <c:pt idx="17">
                        <c:v>8.7356230000000004</c:v>
                      </c:pt>
                      <c:pt idx="18">
                        <c:v>11.042906</c:v>
                      </c:pt>
                      <c:pt idx="19">
                        <c:v>11.438431</c:v>
                      </c:pt>
                      <c:pt idx="20">
                        <c:v>12.034544</c:v>
                      </c:pt>
                      <c:pt idx="21">
                        <c:v>28.273</c:v>
                      </c:pt>
                      <c:pt idx="22">
                        <c:v>61.781478999999997</c:v>
                      </c:pt>
                      <c:pt idx="23">
                        <c:v>8.5091110000000008</c:v>
                      </c:pt>
                      <c:pt idx="24">
                        <c:v>14.055974000000001</c:v>
                      </c:pt>
                      <c:pt idx="25">
                        <c:v>10.074814999999999</c:v>
                      </c:pt>
                      <c:pt idx="26">
                        <c:v>26.582386</c:v>
                      </c:pt>
                      <c:pt idx="27">
                        <c:v>16.377361000000001</c:v>
                      </c:pt>
                      <c:pt idx="28">
                        <c:v>10.356033</c:v>
                      </c:pt>
                      <c:pt idx="29">
                        <c:v>11.832685</c:v>
                      </c:pt>
                      <c:pt idx="30">
                        <c:v>14.576200999999999</c:v>
                      </c:pt>
                      <c:pt idx="31">
                        <c:v>14.285002</c:v>
                      </c:pt>
                      <c:pt idx="32">
                        <c:v>16.927510000000002</c:v>
                      </c:pt>
                      <c:pt idx="33">
                        <c:v>34.868727999999997</c:v>
                      </c:pt>
                      <c:pt idx="34">
                        <c:v>70.545312999999993</c:v>
                      </c:pt>
                    </c:numCache>
                  </c:numRef>
                </c:val>
                <c:extLst xmlns:c15="http://schemas.microsoft.com/office/drawing/2012/chart">
                  <c:ext xmlns:c16="http://schemas.microsoft.com/office/drawing/2014/chart" uri="{C3380CC4-5D6E-409C-BE32-E72D297353CC}">
                    <c16:uniqueId val="{00000003-2D16-4906-BB22-77AF188F6975}"/>
                  </c:ext>
                </c:extLst>
              </c15:ser>
            </c15:filteredBarSeries>
            <c15:filteredBarSeries>
              <c15:ser>
                <c:idx val="6"/>
                <c:order val="6"/>
                <c:tx>
                  <c:strRef>
                    <c:extLst xmlns:c15="http://schemas.microsoft.com/office/drawing/2012/chart">
                      <c:ext xmlns:c15="http://schemas.microsoft.com/office/drawing/2012/chart" uri="{02D57815-91ED-43cb-92C2-25804820EDAC}">
                        <c15:formulaRef>
                          <c15:sqref>Sheet1!$H$1</c15:sqref>
                        </c15:formulaRef>
                      </c:ext>
                    </c:extLst>
                    <c:strCache>
                      <c:ptCount val="1"/>
                      <c:pt idx="0">
                        <c:v>Sector 6</c:v>
                      </c:pt>
                    </c:strCache>
                  </c:strRef>
                </c:tx>
                <c:spPr>
                  <a:solidFill>
                    <a:schemeClr val="dk1">
                      <a:tint val="80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H$2:$H$36</c15:sqref>
                        </c15:formulaRef>
                      </c:ext>
                    </c:extLst>
                    <c:numCache>
                      <c:formatCode>General</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numRef>
                </c:val>
                <c:extLst xmlns:c15="http://schemas.microsoft.com/office/drawing/2012/chart">
                  <c:ext xmlns:c16="http://schemas.microsoft.com/office/drawing/2014/chart" uri="{C3380CC4-5D6E-409C-BE32-E72D297353CC}">
                    <c16:uniqueId val="{00000003-CB01-4B89-A725-1CA2D0FD4A84}"/>
                  </c:ext>
                </c:extLst>
              </c15:ser>
            </c15:filteredBarSeries>
          </c:ext>
        </c:extLst>
      </c:barChart>
      <c:lineChart>
        <c:grouping val="stacked"/>
        <c:varyColors val="0"/>
        <c:ser>
          <c:idx val="0"/>
          <c:order val="0"/>
          <c:tx>
            <c:strRef>
              <c:f>Sheet1!$E$1</c:f>
              <c:strCache>
                <c:ptCount val="1"/>
                <c:pt idx="0">
                  <c:v>Total</c:v>
                </c:pt>
              </c:strCache>
            </c:strRef>
          </c:tx>
          <c:spPr>
            <a:solidFill>
              <a:srgbClr val="9B9898"/>
            </a:solidFill>
            <a:ln w="19050" cap="rnd" cmpd="sng" algn="ctr">
              <a:solidFill>
                <a:schemeClr val="accent1"/>
              </a:solidFill>
              <a:prstDash val="solid"/>
              <a:round/>
            </a:ln>
            <a:effectLst/>
          </c:spPr>
          <c:marker>
            <c:symbol val="circle"/>
            <c:size val="10"/>
            <c:spPr>
              <a:solidFill>
                <a:schemeClr val="accent1"/>
              </a:solidFill>
              <a:ln w="6350" cap="flat" cmpd="sng" algn="ctr">
                <a:solidFill>
                  <a:schemeClr val="accent1"/>
                </a:solidFill>
                <a:prstDash val="solid"/>
                <a:round/>
              </a:ln>
              <a:effectLst/>
            </c:spPr>
          </c:marker>
          <c:dPt>
            <c:idx val="0"/>
            <c:bubble3D val="0"/>
            <c:spPr>
              <a:ln w="19050" cap="rnd" cmpd="sng" algn="ctr">
                <a:solidFill>
                  <a:schemeClr val="accent1"/>
                </a:solidFill>
                <a:prstDash val="solid"/>
                <a:round/>
              </a:ln>
              <a:effectLst/>
            </c:spPr>
            <c:extLst>
              <c:ext xmlns:c16="http://schemas.microsoft.com/office/drawing/2014/chart" uri="{C3380CC4-5D6E-409C-BE32-E72D297353CC}">
                <c16:uniqueId val="{00000005-2D16-4906-BB22-77AF188F6975}"/>
              </c:ext>
            </c:extLst>
          </c:dPt>
          <c:cat>
            <c:strRef>
              <c:f>Sheet1!$A$2:$A$36</c:f>
              <c:strCache>
                <c:ptCount val="35"/>
                <c:pt idx="0">
                  <c:v>Oct-21</c:v>
                </c:pt>
                <c:pt idx="1">
                  <c:v>Nov-21</c:v>
                </c:pt>
                <c:pt idx="2">
                  <c:v>Dec-21</c:v>
                </c:pt>
                <c:pt idx="3">
                  <c:v>Jan-22</c:v>
                </c:pt>
                <c:pt idx="4">
                  <c:v>Feb-22</c:v>
                </c:pt>
                <c:pt idx="5">
                  <c:v>Mar-22</c:v>
                </c:pt>
                <c:pt idx="6">
                  <c:v>Apr-22</c:v>
                </c:pt>
                <c:pt idx="7">
                  <c:v>May-22</c:v>
                </c:pt>
                <c:pt idx="8">
                  <c:v>Jun-22</c:v>
                </c:pt>
                <c:pt idx="9">
                  <c:v>Jul-22</c:v>
                </c:pt>
                <c:pt idx="10">
                  <c:v>Aug-22</c:v>
                </c:pt>
                <c:pt idx="11">
                  <c:v>Sep-22</c:v>
                </c:pt>
                <c:pt idx="12">
                  <c:v>Oct-22</c:v>
                </c:pt>
                <c:pt idx="13">
                  <c:v>Nov-22</c:v>
                </c:pt>
                <c:pt idx="14">
                  <c:v>Dec-22</c:v>
                </c:pt>
                <c:pt idx="15">
                  <c:v>Jan-23</c:v>
                </c:pt>
                <c:pt idx="16">
                  <c:v>Feb-23</c:v>
                </c:pt>
                <c:pt idx="17">
                  <c:v>Mar-23</c:v>
                </c:pt>
                <c:pt idx="18">
                  <c:v>Apr-23</c:v>
                </c:pt>
                <c:pt idx="19">
                  <c:v>May-23</c:v>
                </c:pt>
                <c:pt idx="20">
                  <c:v>Jun-23</c:v>
                </c:pt>
                <c:pt idx="21">
                  <c:v>Jul-23</c:v>
                </c:pt>
                <c:pt idx="22">
                  <c:v>Aug-23</c:v>
                </c:pt>
                <c:pt idx="23">
                  <c:v>Sep-23</c:v>
                </c:pt>
                <c:pt idx="24">
                  <c:v>Oct-23</c:v>
                </c:pt>
                <c:pt idx="25">
                  <c:v>Nov-23</c:v>
                </c:pt>
                <c:pt idx="26">
                  <c:v>Dec-23</c:v>
                </c:pt>
                <c:pt idx="27">
                  <c:v>Jan-24</c:v>
                </c:pt>
                <c:pt idx="28">
                  <c:v>Feb-24</c:v>
                </c:pt>
                <c:pt idx="29">
                  <c:v>Mar-24</c:v>
                </c:pt>
                <c:pt idx="30">
                  <c:v>Apr-24</c:v>
                </c:pt>
                <c:pt idx="31">
                  <c:v>May-24</c:v>
                </c:pt>
                <c:pt idx="32">
                  <c:v>Jun-24</c:v>
                </c:pt>
                <c:pt idx="33">
                  <c:v>Jul-24</c:v>
                </c:pt>
                <c:pt idx="34">
                  <c:v>Aug-24</c:v>
                </c:pt>
              </c:strCache>
            </c:strRef>
          </c:cat>
          <c:val>
            <c:numRef>
              <c:f>Sheet1!$E$2:$E$36</c:f>
              <c:numCache>
                <c:formatCode>General</c:formatCode>
                <c:ptCount val="35"/>
                <c:pt idx="0">
                  <c:v>29.331149</c:v>
                </c:pt>
                <c:pt idx="1">
                  <c:v>28.996947</c:v>
                </c:pt>
                <c:pt idx="2">
                  <c:v>32.859463</c:v>
                </c:pt>
                <c:pt idx="3">
                  <c:v>24.991863</c:v>
                </c:pt>
                <c:pt idx="4">
                  <c:v>26.922322</c:v>
                </c:pt>
                <c:pt idx="5">
                  <c:v>33.478572</c:v>
                </c:pt>
                <c:pt idx="6">
                  <c:v>32.078566</c:v>
                </c:pt>
                <c:pt idx="7">
                  <c:v>34.0451</c:v>
                </c:pt>
                <c:pt idx="8">
                  <c:v>35.023656</c:v>
                </c:pt>
                <c:pt idx="9">
                  <c:v>36.042423</c:v>
                </c:pt>
                <c:pt idx="10">
                  <c:v>35.757662</c:v>
                </c:pt>
                <c:pt idx="11">
                  <c:v>30.078268</c:v>
                </c:pt>
                <c:pt idx="12">
                  <c:v>30.082031</c:v>
                </c:pt>
                <c:pt idx="13">
                  <c:v>28.633465</c:v>
                </c:pt>
                <c:pt idx="14">
                  <c:v>33.961822</c:v>
                </c:pt>
                <c:pt idx="15">
                  <c:v>26.632796</c:v>
                </c:pt>
                <c:pt idx="16">
                  <c:v>26.105017</c:v>
                </c:pt>
                <c:pt idx="17">
                  <c:v>30.565648</c:v>
                </c:pt>
                <c:pt idx="18">
                  <c:v>30.217251</c:v>
                </c:pt>
                <c:pt idx="19">
                  <c:v>33.437249</c:v>
                </c:pt>
                <c:pt idx="20">
                  <c:v>35.092374</c:v>
                </c:pt>
                <c:pt idx="21">
                  <c:v>36.544273</c:v>
                </c:pt>
                <c:pt idx="22">
                  <c:v>35.257059</c:v>
                </c:pt>
                <c:pt idx="23">
                  <c:v>29.407428</c:v>
                </c:pt>
                <c:pt idx="24">
                  <c:v>29.377745</c:v>
                </c:pt>
                <c:pt idx="25">
                  <c:v>28.665311</c:v>
                </c:pt>
                <c:pt idx="26">
                  <c:v>37.483805</c:v>
                </c:pt>
                <c:pt idx="27">
                  <c:v>26.404233</c:v>
                </c:pt>
                <c:pt idx="28">
                  <c:v>27.424595</c:v>
                </c:pt>
                <c:pt idx="29">
                  <c:v>31.145895</c:v>
                </c:pt>
                <c:pt idx="30">
                  <c:v>29.90629</c:v>
                </c:pt>
                <c:pt idx="31">
                  <c:v>32.972821</c:v>
                </c:pt>
                <c:pt idx="32">
                  <c:v>35.619236</c:v>
                </c:pt>
                <c:pt idx="33">
                  <c:v>36.154601</c:v>
                </c:pt>
                <c:pt idx="34">
                  <c:v>34.783372</c:v>
                </c:pt>
              </c:numCache>
            </c:numRef>
          </c:val>
          <c:smooth val="0"/>
          <c:extLst>
            <c:ext xmlns:c16="http://schemas.microsoft.com/office/drawing/2014/chart" uri="{C3380CC4-5D6E-409C-BE32-E72D297353CC}">
              <c16:uniqueId val="{00000000-A582-417D-A5F8-2A0075530F50}"/>
            </c:ext>
          </c:extLst>
        </c:ser>
        <c:dLbls>
          <c:showLegendKey val="0"/>
          <c:showVal val="0"/>
          <c:showCatName val="0"/>
          <c:showSerName val="0"/>
          <c:showPercent val="0"/>
          <c:showBubbleSize val="0"/>
        </c:dLbls>
        <c:marker val="1"/>
        <c:smooth val="0"/>
        <c:axId val="1624167016"/>
        <c:axId val="1624169640"/>
      </c:lineChart>
      <c:catAx>
        <c:axId val="1624167016"/>
        <c:scaling>
          <c:orientation val="minMax"/>
        </c:scaling>
        <c:delete val="0"/>
        <c:axPos val="b"/>
        <c:numFmt formatCode="General" sourceLinked="1"/>
        <c:majorTickMark val="none"/>
        <c:minorTickMark val="none"/>
        <c:tickLblPos val="nextTo"/>
        <c:spPr>
          <a:noFill/>
          <a:ln w="9525" cap="flat" cmpd="sng" algn="ctr">
            <a:noFill/>
            <a:prstDash val="solid"/>
            <a:round/>
          </a:ln>
          <a:effectLst/>
        </c:spPr>
        <c:txPr>
          <a:bodyPr rot="0" spcFirstLastPara="1" vertOverflow="ellipsis" wrap="square" anchor="ctr" anchorCtr="1"/>
          <a:lstStyle/>
          <a:p>
            <a:pPr algn="ctr">
              <a:defRPr lang="en-US" sz="800" b="0" i="0" u="none" strike="noStrike" kern="1200" baseline="0">
                <a:solidFill>
                  <a:schemeClr val="tx1"/>
                </a:solidFill>
                <a:latin typeface="+mj-lt"/>
                <a:ea typeface="+mn-ea"/>
                <a:cs typeface="+mn-cs"/>
              </a:defRPr>
            </a:pPr>
            <a:endParaRPr lang="en-US"/>
          </a:p>
        </c:txPr>
        <c:crossAx val="1624169640"/>
        <c:crosses val="autoZero"/>
        <c:auto val="1"/>
        <c:lblAlgn val="ctr"/>
        <c:lblOffset val="100"/>
        <c:tickLblSkip val="3"/>
        <c:noMultiLvlLbl val="1"/>
      </c:catAx>
      <c:valAx>
        <c:axId val="1624169640"/>
        <c:scaling>
          <c:orientation val="minMax"/>
        </c:scaling>
        <c:delete val="0"/>
        <c:axPos val="l"/>
        <c:numFmt formatCode="#,##0" sourceLinked="0"/>
        <c:majorTickMark val="none"/>
        <c:minorTickMark val="none"/>
        <c:tickLblPos val="nextTo"/>
        <c:spPr>
          <a:noFill/>
          <a:ln w="6350" cap="flat" cmpd="sng" algn="ctr">
            <a:noFill/>
            <a:prstDash val="solid"/>
            <a:round/>
          </a:ln>
          <a:effectLst/>
        </c:spPr>
        <c:txPr>
          <a:bodyPr rot="-60000000" spcFirstLastPara="1" vertOverflow="ellipsis" vert="horz" wrap="square" anchor="ctr" anchorCtr="1"/>
          <a:lstStyle/>
          <a:p>
            <a:pP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a:p>
        </c:txPr>
        <c:crossAx val="1624167016"/>
        <c:crosses val="autoZero"/>
        <c:crossBetween val="between"/>
      </c:valAx>
      <c:spPr>
        <a:noFill/>
        <a:ln>
          <a:noFill/>
        </a:ln>
        <a:effectLst/>
      </c:spPr>
    </c:plotArea>
    <c:legend>
      <c:legendPos val="b"/>
      <c:layout>
        <c:manualLayout>
          <c:xMode val="edge"/>
          <c:yMode val="edge"/>
          <c:x val="7.3660685603241294E-2"/>
          <c:y val="0.81729018208272031"/>
          <c:w val="0.90289148980965561"/>
          <c:h val="0.13936961130964612"/>
        </c:manualLayout>
      </c:layout>
      <c:overlay val="0"/>
      <c:spPr>
        <a:noFill/>
        <a:ln>
          <a:noFill/>
        </a:ln>
        <a:effectLst/>
      </c:spPr>
      <c:txPr>
        <a:bodyPr rot="0" spcFirstLastPara="1" vertOverflow="ellipsis" vert="horz" wrap="square" anchor="ctr" anchorCtr="0"/>
        <a:lstStyle/>
        <a:p>
          <a:pPr algn="ctr">
            <a:defRPr lang="en-US"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6350" cap="flat" cmpd="sng" algn="ctr">
      <a:noFill/>
      <a:prstDash val="solid"/>
      <a:miter lim="800000"/>
    </a:ln>
    <a:effectLst/>
  </c:spPr>
  <c:txPr>
    <a:bodyPr/>
    <a:lstStyle/>
    <a:p>
      <a:pPr algn="ctr">
        <a:defRPr lang="en-US" sz="900" b="0" i="0" u="none" strike="noStrike" kern="120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32,95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30,33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9,87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32950</c:v>
                </c:pt>
                <c:pt idx="1">
                  <c:v>27982</c:v>
                </c:pt>
                <c:pt idx="2">
                  <c:v>80576</c:v>
                </c:pt>
                <c:pt idx="3">
                  <c:v>74057</c:v>
                </c:pt>
                <c:pt idx="4">
                  <c:v>93495</c:v>
                </c:pt>
                <c:pt idx="5">
                  <c:v>27009</c:v>
                </c:pt>
                <c:pt idx="6">
                  <c:v>25275</c:v>
                </c:pt>
                <c:pt idx="7">
                  <c:v>37531</c:v>
                </c:pt>
                <c:pt idx="8">
                  <c:v>56139</c:v>
                </c:pt>
                <c:pt idx="9">
                  <c:v>42541</c:v>
                </c:pt>
                <c:pt idx="10">
                  <c:v>37037</c:v>
                </c:pt>
                <c:pt idx="11">
                  <c:v>42051</c:v>
                </c:pt>
                <c:pt idx="12">
                  <c:v>50399</c:v>
                </c:pt>
                <c:pt idx="13">
                  <c:v>30335</c:v>
                </c:pt>
                <c:pt idx="14">
                  <c:v>67639</c:v>
                </c:pt>
                <c:pt idx="15">
                  <c:v>80161</c:v>
                </c:pt>
                <c:pt idx="16">
                  <c:v>105159</c:v>
                </c:pt>
                <c:pt idx="17">
                  <c:v>14492</c:v>
                </c:pt>
                <c:pt idx="18">
                  <c:v>9452</c:v>
                </c:pt>
                <c:pt idx="19">
                  <c:v>8044</c:v>
                </c:pt>
                <c:pt idx="20">
                  <c:v>26176</c:v>
                </c:pt>
                <c:pt idx="21">
                  <c:v>14452</c:v>
                </c:pt>
                <c:pt idx="22">
                  <c:v>12052</c:v>
                </c:pt>
                <c:pt idx="23">
                  <c:v>11696</c:v>
                </c:pt>
                <c:pt idx="24">
                  <c:v>9870</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2.1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0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6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2.14</c:v>
                </c:pt>
                <c:pt idx="1">
                  <c:v>2.14</c:v>
                </c:pt>
                <c:pt idx="2">
                  <c:v>1.14</c:v>
                </c:pt>
                <c:pt idx="3">
                  <c:v>1.11</c:v>
                </c:pt>
                <c:pt idx="4">
                  <c:v>1.02</c:v>
                </c:pt>
                <c:pt idx="5">
                  <c:v>1.41</c:v>
                </c:pt>
                <c:pt idx="6">
                  <c:v>1.91</c:v>
                </c:pt>
                <c:pt idx="7">
                  <c:v>1.88</c:v>
                </c:pt>
                <c:pt idx="8">
                  <c:v>1.86</c:v>
                </c:pt>
                <c:pt idx="9">
                  <c:v>1.82</c:v>
                </c:pt>
                <c:pt idx="10">
                  <c:v>2.02</c:v>
                </c:pt>
                <c:pt idx="11">
                  <c:v>2.0</c:v>
                </c:pt>
                <c:pt idx="12">
                  <c:v>1.95</c:v>
                </c:pt>
                <c:pt idx="13">
                  <c:v>2.04</c:v>
                </c:pt>
                <c:pt idx="14">
                  <c:v>1.27</c:v>
                </c:pt>
                <c:pt idx="15">
                  <c:v>1.17</c:v>
                </c:pt>
                <c:pt idx="16">
                  <c:v>1.0</c:v>
                </c:pt>
                <c:pt idx="17">
                  <c:v>1.16</c:v>
                </c:pt>
                <c:pt idx="18">
                  <c:v>1.46</c:v>
                </c:pt>
                <c:pt idx="19">
                  <c:v>1.61</c:v>
                </c:pt>
                <c:pt idx="20">
                  <c:v>1.62</c:v>
                </c:pt>
                <c:pt idx="21">
                  <c:v>1.63</c:v>
                </c:pt>
                <c:pt idx="22">
                  <c:v>1.61</c:v>
                </c:pt>
                <c:pt idx="23">
                  <c:v>1.63</c:v>
                </c:pt>
                <c:pt idx="24">
                  <c:v>1.6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5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manualLayout>
          <c:layoutTarget val="inner"/>
          <c:xMode val="edge"/>
          <c:yMode val="edge"/>
          <c:x val="4.5205042438763526E-2"/>
          <c:y val="9.9397151645846074E-2"/>
          <c:w val="0.93468942653552012"/>
          <c:h val="0.61239220651000625"/>
        </c:manualLayout>
      </c:layout>
      <c:barChart>
        <c:barDir val="col"/>
        <c:grouping val="stacked"/>
        <c:varyColors val="0"/>
        <c:ser>
          <c:idx val="14"/>
          <c:order val="14"/>
          <c:tx>
            <c:strRef>
              <c:f>Sheet1!$B$1</c:f>
              <c:strCache>
                <c:ptCount val="1"/>
                <c:pt idx="0">
                  <c:v>Disposable</c:v>
                </c:pt>
              </c:strCache>
            </c:strRef>
          </c:tx>
          <c:spPr>
            <a:solidFill>
              <a:srgbClr val="00A097"/>
            </a:solidFill>
            <a:ln>
              <a:noFill/>
            </a:ln>
            <a:effectLst/>
          </c:spPr>
          <c:invertIfNegative val="0"/>
          <c:cat>
            <c:strRef>
              <c:f>Sheet1!$A$2:$A$36</c:f>
              <c:strCache>
                <c:ptCount val="35"/>
                <c:pt idx="0">
                  <c:v>Oct-21</c:v>
                </c:pt>
                <c:pt idx="1">
                  <c:v>Nov-21</c:v>
                </c:pt>
                <c:pt idx="2">
                  <c:v>Dec-21</c:v>
                </c:pt>
                <c:pt idx="3">
                  <c:v>Jan-22</c:v>
                </c:pt>
                <c:pt idx="4">
                  <c:v>Feb-22</c:v>
                </c:pt>
                <c:pt idx="5">
                  <c:v>Mar-22</c:v>
                </c:pt>
                <c:pt idx="6">
                  <c:v>Apr-22</c:v>
                </c:pt>
                <c:pt idx="7">
                  <c:v>May-22</c:v>
                </c:pt>
                <c:pt idx="8">
                  <c:v>Jun-22</c:v>
                </c:pt>
                <c:pt idx="9">
                  <c:v>Jul-22</c:v>
                </c:pt>
                <c:pt idx="10">
                  <c:v>Aug-22</c:v>
                </c:pt>
                <c:pt idx="11">
                  <c:v>Sep-22</c:v>
                </c:pt>
                <c:pt idx="12">
                  <c:v>Oct-22</c:v>
                </c:pt>
                <c:pt idx="13">
                  <c:v>Nov-22</c:v>
                </c:pt>
                <c:pt idx="14">
                  <c:v>Dec-22</c:v>
                </c:pt>
                <c:pt idx="15">
                  <c:v>Jan-23</c:v>
                </c:pt>
                <c:pt idx="16">
                  <c:v>Feb-23</c:v>
                </c:pt>
                <c:pt idx="17">
                  <c:v>Mar-23</c:v>
                </c:pt>
                <c:pt idx="18">
                  <c:v>Apr-23</c:v>
                </c:pt>
                <c:pt idx="19">
                  <c:v>May-23</c:v>
                </c:pt>
                <c:pt idx="20">
                  <c:v>Jun-23</c:v>
                </c:pt>
                <c:pt idx="21">
                  <c:v>Jul-23</c:v>
                </c:pt>
                <c:pt idx="22">
                  <c:v>Aug-23</c:v>
                </c:pt>
                <c:pt idx="23">
                  <c:v>Sep-23</c:v>
                </c:pt>
                <c:pt idx="24">
                  <c:v>Oct-23</c:v>
                </c:pt>
                <c:pt idx="25">
                  <c:v>Nov-23</c:v>
                </c:pt>
                <c:pt idx="26">
                  <c:v>Dec-23</c:v>
                </c:pt>
                <c:pt idx="27">
                  <c:v>Jan-24</c:v>
                </c:pt>
                <c:pt idx="28">
                  <c:v>Feb-24</c:v>
                </c:pt>
                <c:pt idx="29">
                  <c:v>Mar-24</c:v>
                </c:pt>
                <c:pt idx="30">
                  <c:v>Apr-24</c:v>
                </c:pt>
                <c:pt idx="31">
                  <c:v>May-24</c:v>
                </c:pt>
                <c:pt idx="32">
                  <c:v>Jun-24</c:v>
                </c:pt>
                <c:pt idx="33">
                  <c:v>Jul-24</c:v>
                </c:pt>
                <c:pt idx="34">
                  <c:v>Aug-24</c:v>
                </c:pt>
              </c:strCache>
            </c:strRef>
          </c:cat>
          <c:val>
            <c:numRef>
              <c:f>Sheet1!$B$2:$B$36</c:f>
              <c:numCache>
                <c:formatCode>General</c:formatCode>
                <c:ptCount val="35"/>
                <c:pt idx="0">
                  <c:v>0.864241</c:v>
                </c:pt>
                <c:pt idx="1">
                  <c:v>0.927985</c:v>
                </c:pt>
                <c:pt idx="2">
                  <c:v>1.003475</c:v>
                </c:pt>
                <c:pt idx="3">
                  <c:v>1.130501</c:v>
                </c:pt>
                <c:pt idx="4">
                  <c:v>1.002125</c:v>
                </c:pt>
                <c:pt idx="5">
                  <c:v>1.167181</c:v>
                </c:pt>
                <c:pt idx="6">
                  <c:v>1.213345</c:v>
                </c:pt>
                <c:pt idx="7">
                  <c:v>1.578068</c:v>
                </c:pt>
                <c:pt idx="8">
                  <c:v>1.335153</c:v>
                </c:pt>
                <c:pt idx="9">
                  <c:v>1.461896</c:v>
                </c:pt>
                <c:pt idx="10">
                  <c:v>1.312924</c:v>
                </c:pt>
                <c:pt idx="11">
                  <c:v>1.183297</c:v>
                </c:pt>
                <c:pt idx="12">
                  <c:v>1.190678</c:v>
                </c:pt>
                <c:pt idx="13">
                  <c:v>1.130916</c:v>
                </c:pt>
                <c:pt idx="14">
                  <c:v>1.195124</c:v>
                </c:pt>
                <c:pt idx="15">
                  <c:v>1.145863</c:v>
                </c:pt>
                <c:pt idx="16">
                  <c:v>1.277539</c:v>
                </c:pt>
                <c:pt idx="17">
                  <c:v>1.229642</c:v>
                </c:pt>
                <c:pt idx="18">
                  <c:v>1.19103</c:v>
                </c:pt>
                <c:pt idx="19">
                  <c:v>1.377941</c:v>
                </c:pt>
                <c:pt idx="20">
                  <c:v>1.464105</c:v>
                </c:pt>
                <c:pt idx="21">
                  <c:v>1.714752</c:v>
                </c:pt>
                <c:pt idx="22">
                  <c:v>1.358314</c:v>
                </c:pt>
                <c:pt idx="23">
                  <c:v>1.24574</c:v>
                </c:pt>
                <c:pt idx="24">
                  <c:v>1.347298</c:v>
                </c:pt>
                <c:pt idx="25">
                  <c:v>1.259311</c:v>
                </c:pt>
                <c:pt idx="26">
                  <c:v>1.32509</c:v>
                </c:pt>
                <c:pt idx="27">
                  <c:v>1.245489</c:v>
                </c:pt>
                <c:pt idx="28">
                  <c:v>1.292818</c:v>
                </c:pt>
                <c:pt idx="29">
                  <c:v>1.632783</c:v>
                </c:pt>
                <c:pt idx="30">
                  <c:v>1.639565</c:v>
                </c:pt>
                <c:pt idx="31">
                  <c:v>1.646544</c:v>
                </c:pt>
                <c:pt idx="32">
                  <c:v>1.825679</c:v>
                </c:pt>
                <c:pt idx="33">
                  <c:v>2.198762</c:v>
                </c:pt>
                <c:pt idx="34">
                  <c:v>1.784063</c:v>
                </c:pt>
              </c:numCache>
            </c:numRef>
          </c:val>
          <c:extLst>
            <c:ext xmlns:c16="http://schemas.microsoft.com/office/drawing/2014/chart" uri="{C3380CC4-5D6E-409C-BE32-E72D297353CC}">
              <c16:uniqueId val="{0000000B-CB01-4B89-A725-1CA2D0FD4A84}"/>
            </c:ext>
          </c:extLst>
        </c:ser>
        <c:ser>
          <c:idx val="15"/>
          <c:order val="15"/>
          <c:tx>
            <c:strRef>
              <c:f>Sheet1!$C$1</c:f>
              <c:strCache>
                <c:ptCount val="1"/>
                <c:pt idx="0">
                  <c:v>System</c:v>
                </c:pt>
              </c:strCache>
            </c:strRef>
          </c:tx>
          <c:spPr>
            <a:solidFill>
              <a:srgbClr val="7ECAC4"/>
            </a:solidFill>
            <a:ln>
              <a:noFill/>
            </a:ln>
            <a:effectLst/>
          </c:spPr>
          <c:invertIfNegative val="0"/>
          <c:cat>
            <c:strRef>
              <c:f>Sheet1!$A$2:$A$36</c:f>
              <c:strCache>
                <c:ptCount val="35"/>
                <c:pt idx="0">
                  <c:v>Oct-21</c:v>
                </c:pt>
                <c:pt idx="1">
                  <c:v>Nov-21</c:v>
                </c:pt>
                <c:pt idx="2">
                  <c:v>Dec-21</c:v>
                </c:pt>
                <c:pt idx="3">
                  <c:v>Jan-22</c:v>
                </c:pt>
                <c:pt idx="4">
                  <c:v>Feb-22</c:v>
                </c:pt>
                <c:pt idx="5">
                  <c:v>Mar-22</c:v>
                </c:pt>
                <c:pt idx="6">
                  <c:v>Apr-22</c:v>
                </c:pt>
                <c:pt idx="7">
                  <c:v>May-22</c:v>
                </c:pt>
                <c:pt idx="8">
                  <c:v>Jun-22</c:v>
                </c:pt>
                <c:pt idx="9">
                  <c:v>Jul-22</c:v>
                </c:pt>
                <c:pt idx="10">
                  <c:v>Aug-22</c:v>
                </c:pt>
                <c:pt idx="11">
                  <c:v>Sep-22</c:v>
                </c:pt>
                <c:pt idx="12">
                  <c:v>Oct-22</c:v>
                </c:pt>
                <c:pt idx="13">
                  <c:v>Nov-22</c:v>
                </c:pt>
                <c:pt idx="14">
                  <c:v>Dec-22</c:v>
                </c:pt>
                <c:pt idx="15">
                  <c:v>Jan-23</c:v>
                </c:pt>
                <c:pt idx="16">
                  <c:v>Feb-23</c:v>
                </c:pt>
                <c:pt idx="17">
                  <c:v>Mar-23</c:v>
                </c:pt>
                <c:pt idx="18">
                  <c:v>Apr-23</c:v>
                </c:pt>
                <c:pt idx="19">
                  <c:v>May-23</c:v>
                </c:pt>
                <c:pt idx="20">
                  <c:v>Jun-23</c:v>
                </c:pt>
                <c:pt idx="21">
                  <c:v>Jul-23</c:v>
                </c:pt>
                <c:pt idx="22">
                  <c:v>Aug-23</c:v>
                </c:pt>
                <c:pt idx="23">
                  <c:v>Sep-23</c:v>
                </c:pt>
                <c:pt idx="24">
                  <c:v>Oct-23</c:v>
                </c:pt>
                <c:pt idx="25">
                  <c:v>Nov-23</c:v>
                </c:pt>
                <c:pt idx="26">
                  <c:v>Dec-23</c:v>
                </c:pt>
                <c:pt idx="27">
                  <c:v>Jan-24</c:v>
                </c:pt>
                <c:pt idx="28">
                  <c:v>Feb-24</c:v>
                </c:pt>
                <c:pt idx="29">
                  <c:v>Mar-24</c:v>
                </c:pt>
                <c:pt idx="30">
                  <c:v>Apr-24</c:v>
                </c:pt>
                <c:pt idx="31">
                  <c:v>May-24</c:v>
                </c:pt>
                <c:pt idx="32">
                  <c:v>Jun-24</c:v>
                </c:pt>
                <c:pt idx="33">
                  <c:v>Jul-24</c:v>
                </c:pt>
                <c:pt idx="34">
                  <c:v>Aug-24</c:v>
                </c:pt>
              </c:strCache>
            </c:strRef>
          </c:cat>
          <c:val>
            <c:numRef>
              <c:f>Sheet1!$C$2:$C$36</c:f>
              <c:numCache>
                <c:formatCode>General</c:formatCode>
                <c:ptCount val="35"/>
                <c:pt idx="0">
                  <c:v>3.900121</c:v>
                </c:pt>
                <c:pt idx="1">
                  <c:v>3.722985</c:v>
                </c:pt>
                <c:pt idx="2">
                  <c:v>3.947945</c:v>
                </c:pt>
                <c:pt idx="3">
                  <c:v>4.152908</c:v>
                </c:pt>
                <c:pt idx="4">
                  <c:v>3.676103</c:v>
                </c:pt>
                <c:pt idx="5">
                  <c:v>4.005706</c:v>
                </c:pt>
                <c:pt idx="6">
                  <c:v>4.123656</c:v>
                </c:pt>
                <c:pt idx="7">
                  <c:v>4.48288</c:v>
                </c:pt>
                <c:pt idx="8">
                  <c:v>4.713316</c:v>
                </c:pt>
                <c:pt idx="9">
                  <c:v>6.189028</c:v>
                </c:pt>
                <c:pt idx="10">
                  <c:v>4.960212</c:v>
                </c:pt>
                <c:pt idx="11">
                  <c:v>4.675681</c:v>
                </c:pt>
                <c:pt idx="12">
                  <c:v>4.886119</c:v>
                </c:pt>
                <c:pt idx="13">
                  <c:v>4.540242</c:v>
                </c:pt>
                <c:pt idx="14">
                  <c:v>4.881251</c:v>
                </c:pt>
                <c:pt idx="15">
                  <c:v>5.138433</c:v>
                </c:pt>
                <c:pt idx="16">
                  <c:v>4.827799</c:v>
                </c:pt>
                <c:pt idx="17">
                  <c:v>5.111764</c:v>
                </c:pt>
                <c:pt idx="18">
                  <c:v>5.099776</c:v>
                </c:pt>
                <c:pt idx="19">
                  <c:v>5.508871</c:v>
                </c:pt>
                <c:pt idx="20">
                  <c:v>5.699533</c:v>
                </c:pt>
                <c:pt idx="21">
                  <c:v>6.89688</c:v>
                </c:pt>
                <c:pt idx="22">
                  <c:v>5.66367</c:v>
                </c:pt>
                <c:pt idx="23">
                  <c:v>5.205322</c:v>
                </c:pt>
                <c:pt idx="24">
                  <c:v>5.31893</c:v>
                </c:pt>
                <c:pt idx="25">
                  <c:v>5.156409</c:v>
                </c:pt>
                <c:pt idx="26">
                  <c:v>4.91923</c:v>
                </c:pt>
                <c:pt idx="27">
                  <c:v>5.11852</c:v>
                </c:pt>
                <c:pt idx="28">
                  <c:v>5.047365</c:v>
                </c:pt>
                <c:pt idx="29">
                  <c:v>5.801345</c:v>
                </c:pt>
                <c:pt idx="30">
                  <c:v>5.992577</c:v>
                </c:pt>
                <c:pt idx="31">
                  <c:v>6.57112</c:v>
                </c:pt>
                <c:pt idx="32">
                  <c:v>6.763778</c:v>
                </c:pt>
                <c:pt idx="33">
                  <c:v>8.370339</c:v>
                </c:pt>
                <c:pt idx="34">
                  <c:v>7.187013</c:v>
                </c:pt>
              </c:numCache>
            </c:numRef>
          </c:val>
          <c:extLst>
            <c:ext xmlns:c16="http://schemas.microsoft.com/office/drawing/2014/chart" uri="{C3380CC4-5D6E-409C-BE32-E72D297353CC}">
              <c16:uniqueId val="{0000000C-CB01-4B89-A725-1CA2D0FD4A84}"/>
            </c:ext>
          </c:extLst>
        </c:ser>
        <c:dLbls>
          <c:showLegendKey val="0"/>
          <c:showVal val="0"/>
          <c:showCatName val="0"/>
          <c:showSerName val="0"/>
          <c:showPercent val="0"/>
          <c:showBubbleSize val="0"/>
        </c:dLbls>
        <c:gapWidth val="150"/>
        <c:overlap val="100"/>
        <c:axId val="1624167016"/>
        <c:axId val="1624169640"/>
        <c:extLst>
          <c:ext xmlns:c15="http://schemas.microsoft.com/office/drawing/2012/chart" uri="{02D57815-91ED-43cb-92C2-25804820EDAC}">
            <c15:filteredBarSeries>
              <c15:ser>
                <c:idx val="1"/>
                <c:order val="1"/>
                <c:tx>
                  <c:strRef>
                    <c:extLst>
                      <c:ext uri="{02D57815-91ED-43cb-92C2-25804820EDAC}">
                        <c15:formulaRef>
                          <c15:sqref>Sheet1!$C$1</c15:sqref>
                        </c15:formulaRef>
                      </c:ext>
                    </c:extLst>
                    <c:strCache>
                      <c:ptCount val="1"/>
                      <c:pt idx="0">
                        <c:v>Sector 1</c:v>
                      </c:pt>
                    </c:strCache>
                  </c:strRef>
                </c:tx>
                <c:spPr>
                  <a:solidFill>
                    <a:schemeClr val="dk1">
                      <a:tint val="55000"/>
                    </a:schemeClr>
                  </a:solidFill>
                  <a:ln>
                    <a:noFill/>
                  </a:ln>
                  <a:effectLst/>
                </c:spPr>
                <c:invertIfNegative val="0"/>
                <c:cat>
                  <c:strRef>
                    <c:extLst>
                      <c:ex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c:ext uri="{02D57815-91ED-43cb-92C2-25804820EDAC}">
                        <c15:formulaRef>
                          <c15:sqref>Sheet1!$C$2:$C$36</c15:sqref>
                        </c15:formulaRef>
                      </c:ext>
                    </c:extLst>
                    <c:numCache>
                      <c:formatCode>General</c:formatCode>
                      <c:ptCount val="35"/>
                      <c:pt idx="0">
                        <c:v>40.809865000000002</c:v>
                      </c:pt>
                      <c:pt idx="1">
                        <c:v>41.860694000000002</c:v>
                      </c:pt>
                      <c:pt idx="2">
                        <c:v>34.509422000000001</c:v>
                      </c:pt>
                      <c:pt idx="3">
                        <c:v>49.657702</c:v>
                      </c:pt>
                      <c:pt idx="4">
                        <c:v>50.616717999999999</c:v>
                      </c:pt>
                      <c:pt idx="5">
                        <c:v>51.539561999999997</c:v>
                      </c:pt>
                      <c:pt idx="6">
                        <c:v>53.959558000000001</c:v>
                      </c:pt>
                      <c:pt idx="7">
                        <c:v>48.84498</c:v>
                      </c:pt>
                      <c:pt idx="8">
                        <c:v>43.617640999999999</c:v>
                      </c:pt>
                      <c:pt idx="9">
                        <c:v>44.545436000000002</c:v>
                      </c:pt>
                      <c:pt idx="10">
                        <c:v>41.403309999999998</c:v>
                      </c:pt>
                      <c:pt idx="11">
                        <c:v>42.115876</c:v>
                      </c:pt>
                      <c:pt idx="12">
                        <c:v>39.743237000000001</c:v>
                      </c:pt>
                      <c:pt idx="13">
                        <c:v>42.646582000000002</c:v>
                      </c:pt>
                      <c:pt idx="14">
                        <c:v>40.323042999999998</c:v>
                      </c:pt>
                      <c:pt idx="15">
                        <c:v>52.877302</c:v>
                      </c:pt>
                      <c:pt idx="16">
                        <c:v>52.359431000000001</c:v>
                      </c:pt>
                      <c:pt idx="17">
                        <c:v>50.322519999999997</c:v>
                      </c:pt>
                      <c:pt idx="18">
                        <c:v>52.78004</c:v>
                      </c:pt>
                      <c:pt idx="19">
                        <c:v>49.372244999999999</c:v>
                      </c:pt>
                      <c:pt idx="20">
                        <c:v>50.002222000000003</c:v>
                      </c:pt>
                      <c:pt idx="21">
                        <c:v>46.193210000000001</c:v>
                      </c:pt>
                      <c:pt idx="22">
                        <c:v>41.510463999999999</c:v>
                      </c:pt>
                      <c:pt idx="23">
                        <c:v>40.221505000000001</c:v>
                      </c:pt>
                      <c:pt idx="24">
                        <c:v>42.523161999999999</c:v>
                      </c:pt>
                      <c:pt idx="25">
                        <c:v>45.628883999999999</c:v>
                      </c:pt>
                      <c:pt idx="26">
                        <c:v>40.031787999999999</c:v>
                      </c:pt>
                      <c:pt idx="27">
                        <c:v>51.652650000000001</c:v>
                      </c:pt>
                      <c:pt idx="28">
                        <c:v>50.177590000000002</c:v>
                      </c:pt>
                      <c:pt idx="29">
                        <c:v>54.531019999999998</c:v>
                      </c:pt>
                      <c:pt idx="30">
                        <c:v>56.857843000000003</c:v>
                      </c:pt>
                      <c:pt idx="31">
                        <c:v>50.233561999999999</c:v>
                      </c:pt>
                      <c:pt idx="32">
                        <c:v>48.179372000000001</c:v>
                      </c:pt>
                      <c:pt idx="33">
                        <c:v>47.120365</c:v>
                      </c:pt>
                      <c:pt idx="34">
                        <c:v>35.507016999999998</c:v>
                      </c:pt>
                    </c:numCache>
                  </c:numRef>
                </c:val>
                <c:extLst>
                  <c:ext xmlns:c16="http://schemas.microsoft.com/office/drawing/2014/chart" uri="{C3380CC4-5D6E-409C-BE32-E72D297353CC}">
                    <c16:uniqueId val="{00000001-A582-417D-A5F8-2A0075530F50}"/>
                  </c:ext>
                </c:extLst>
              </c15:ser>
            </c15:filteredBarSeries>
            <c15:filteredBarSeries>
              <c15:ser>
                <c:idx val="2"/>
                <c:order val="2"/>
                <c:tx>
                  <c:strRef>
                    <c:extLst xmlns:c15="http://schemas.microsoft.com/office/drawing/2012/chart">
                      <c:ext xmlns:c15="http://schemas.microsoft.com/office/drawing/2012/chart" uri="{02D57815-91ED-43cb-92C2-25804820EDAC}">
                        <c15:formulaRef>
                          <c15:sqref>Sheet1!$D$1</c15:sqref>
                        </c15:formulaRef>
                      </c:ext>
                    </c:extLst>
                    <c:strCache>
                      <c:ptCount val="1"/>
                      <c:pt idx="0">
                        <c:v>Sector 2</c:v>
                      </c:pt>
                    </c:strCache>
                  </c:strRef>
                </c:tx>
                <c:spPr>
                  <a:solidFill>
                    <a:schemeClr val="dk1">
                      <a:tint val="75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D$2:$D$36</c15:sqref>
                        </c15:formulaRef>
                      </c:ext>
                    </c:extLst>
                    <c:numCache>
                      <c:formatCode>General</c:formatCode>
                      <c:ptCount val="35"/>
                      <c:pt idx="0">
                        <c:v>19.557812999999999</c:v>
                      </c:pt>
                      <c:pt idx="1">
                        <c:v>23.784803</c:v>
                      </c:pt>
                      <c:pt idx="2">
                        <c:v>21.799987000000002</c:v>
                      </c:pt>
                      <c:pt idx="3">
                        <c:v>25.857672000000001</c:v>
                      </c:pt>
                      <c:pt idx="4">
                        <c:v>24.992432999999998</c:v>
                      </c:pt>
                      <c:pt idx="5">
                        <c:v>26.955321999999999</c:v>
                      </c:pt>
                      <c:pt idx="6">
                        <c:v>32.419100999999998</c:v>
                      </c:pt>
                      <c:pt idx="7">
                        <c:v>29.344944999999999</c:v>
                      </c:pt>
                      <c:pt idx="8">
                        <c:v>27.493164</c:v>
                      </c:pt>
                      <c:pt idx="9">
                        <c:v>23.275084</c:v>
                      </c:pt>
                      <c:pt idx="10">
                        <c:v>24.237242999999999</c:v>
                      </c:pt>
                      <c:pt idx="11">
                        <c:v>23.067723999999998</c:v>
                      </c:pt>
                      <c:pt idx="12">
                        <c:v>23.036899999999999</c:v>
                      </c:pt>
                      <c:pt idx="13">
                        <c:v>25.516981000000001</c:v>
                      </c:pt>
                      <c:pt idx="14">
                        <c:v>22.874832000000001</c:v>
                      </c:pt>
                      <c:pt idx="15">
                        <c:v>26.349399999999999</c:v>
                      </c:pt>
                      <c:pt idx="16">
                        <c:v>29.881401</c:v>
                      </c:pt>
                      <c:pt idx="17">
                        <c:v>31.686630000000001</c:v>
                      </c:pt>
                      <c:pt idx="18">
                        <c:v>34.259588000000001</c:v>
                      </c:pt>
                      <c:pt idx="19">
                        <c:v>31.563769000000001</c:v>
                      </c:pt>
                      <c:pt idx="20">
                        <c:v>27.452038999999999</c:v>
                      </c:pt>
                      <c:pt idx="21">
                        <c:v>24.840769999999999</c:v>
                      </c:pt>
                      <c:pt idx="22">
                        <c:v>26.102284999999998</c:v>
                      </c:pt>
                      <c:pt idx="23">
                        <c:v>23.897715000000002</c:v>
                      </c:pt>
                      <c:pt idx="24">
                        <c:v>25.006601</c:v>
                      </c:pt>
                      <c:pt idx="25">
                        <c:v>27.601903</c:v>
                      </c:pt>
                      <c:pt idx="26">
                        <c:v>22.956002999999999</c:v>
                      </c:pt>
                      <c:pt idx="27">
                        <c:v>26.913005999999999</c:v>
                      </c:pt>
                      <c:pt idx="28">
                        <c:v>31.412331999999999</c:v>
                      </c:pt>
                      <c:pt idx="29">
                        <c:v>32.630974000000002</c:v>
                      </c:pt>
                      <c:pt idx="30">
                        <c:v>31.591038000000001</c:v>
                      </c:pt>
                      <c:pt idx="31">
                        <c:v>31.863667</c:v>
                      </c:pt>
                      <c:pt idx="32">
                        <c:v>31.422338</c:v>
                      </c:pt>
                      <c:pt idx="33">
                        <c:v>28.426777000000001</c:v>
                      </c:pt>
                      <c:pt idx="34">
                        <c:v>26.165305</c:v>
                      </c:pt>
                    </c:numCache>
                  </c:numRef>
                </c:val>
                <c:extLst xmlns:c15="http://schemas.microsoft.com/office/drawing/2012/chart">
                  <c:ext xmlns:c16="http://schemas.microsoft.com/office/drawing/2014/chart" uri="{C3380CC4-5D6E-409C-BE32-E72D297353CC}">
                    <c16:uniqueId val="{00000000-2D16-4906-BB22-77AF188F6975}"/>
                  </c:ext>
                </c:extLst>
              </c15:ser>
            </c15:filteredBarSeries>
            <c15:filteredBarSeries>
              <c15:ser>
                <c:idx val="3"/>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Sector 3</c:v>
                      </c:pt>
                    </c:strCache>
                  </c:strRef>
                </c:tx>
                <c:spPr>
                  <a:solidFill>
                    <a:schemeClr val="dk1">
                      <a:tint val="985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E$2:$E$36</c15:sqref>
                        </c15:formulaRef>
                      </c:ext>
                    </c:extLst>
                    <c:numCache>
                      <c:formatCode>General</c:formatCode>
                      <c:ptCount val="35"/>
                      <c:pt idx="0">
                        <c:v>27.462826</c:v>
                      </c:pt>
                      <c:pt idx="1">
                        <c:v>39.404572000000002</c:v>
                      </c:pt>
                      <c:pt idx="2">
                        <c:v>34.570886000000002</c:v>
                      </c:pt>
                      <c:pt idx="3">
                        <c:v>47.424028999999997</c:v>
                      </c:pt>
                      <c:pt idx="4">
                        <c:v>42.725195999999997</c:v>
                      </c:pt>
                      <c:pt idx="5">
                        <c:v>49.893875999999999</c:v>
                      </c:pt>
                      <c:pt idx="6">
                        <c:v>45.230561999999999</c:v>
                      </c:pt>
                      <c:pt idx="7">
                        <c:v>36.896878999999998</c:v>
                      </c:pt>
                      <c:pt idx="8">
                        <c:v>33.942658000000002</c:v>
                      </c:pt>
                      <c:pt idx="9">
                        <c:v>31.043399000000001</c:v>
                      </c:pt>
                      <c:pt idx="10">
                        <c:v>28.703312</c:v>
                      </c:pt>
                      <c:pt idx="11">
                        <c:v>32.247686999999999</c:v>
                      </c:pt>
                      <c:pt idx="12">
                        <c:v>39.267698000000003</c:v>
                      </c:pt>
                      <c:pt idx="13">
                        <c:v>36.104199999999999</c:v>
                      </c:pt>
                      <c:pt idx="14">
                        <c:v>35.473145000000002</c:v>
                      </c:pt>
                      <c:pt idx="15">
                        <c:v>53.202506999999997</c:v>
                      </c:pt>
                      <c:pt idx="16">
                        <c:v>50.982067999999998</c:v>
                      </c:pt>
                      <c:pt idx="17">
                        <c:v>60.592055999999999</c:v>
                      </c:pt>
                      <c:pt idx="18">
                        <c:v>55.653505000000003</c:v>
                      </c:pt>
                      <c:pt idx="19">
                        <c:v>45.804431000000001</c:v>
                      </c:pt>
                      <c:pt idx="20">
                        <c:v>42.097817999999997</c:v>
                      </c:pt>
                      <c:pt idx="21">
                        <c:v>38.569479999999999</c:v>
                      </c:pt>
                      <c:pt idx="22">
                        <c:v>32.493749000000001</c:v>
                      </c:pt>
                      <c:pt idx="23">
                        <c:v>31.329796000000002</c:v>
                      </c:pt>
                      <c:pt idx="24">
                        <c:v>33.130343000000003</c:v>
                      </c:pt>
                      <c:pt idx="25">
                        <c:v>40.916313000000002</c:v>
                      </c:pt>
                      <c:pt idx="26">
                        <c:v>34.557360000000003</c:v>
                      </c:pt>
                      <c:pt idx="27">
                        <c:v>46.799098000000001</c:v>
                      </c:pt>
                      <c:pt idx="28">
                        <c:v>46.752299000000001</c:v>
                      </c:pt>
                      <c:pt idx="29">
                        <c:v>54.888565999999997</c:v>
                      </c:pt>
                      <c:pt idx="30">
                        <c:v>56.439608999999997</c:v>
                      </c:pt>
                      <c:pt idx="31">
                        <c:v>44.964128000000002</c:v>
                      </c:pt>
                      <c:pt idx="32">
                        <c:v>45.321382999999997</c:v>
                      </c:pt>
                      <c:pt idx="33">
                        <c:v>37.671095999999999</c:v>
                      </c:pt>
                      <c:pt idx="34">
                        <c:v>31.554338999999999</c:v>
                      </c:pt>
                    </c:numCache>
                  </c:numRef>
                </c:val>
                <c:extLst xmlns:c15="http://schemas.microsoft.com/office/drawing/2012/chart">
                  <c:ext xmlns:c16="http://schemas.microsoft.com/office/drawing/2014/chart" uri="{C3380CC4-5D6E-409C-BE32-E72D297353CC}">
                    <c16:uniqueId val="{00000001-2D16-4906-BB22-77AF188F6975}"/>
                  </c:ext>
                </c:extLst>
              </c15:ser>
            </c15:filteredBarSeries>
            <c15:filteredBarSeries>
              <c15:ser>
                <c:idx val="4"/>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Sector 4</c:v>
                      </c:pt>
                    </c:strCache>
                  </c:strRef>
                </c:tx>
                <c:spPr>
                  <a:solidFill>
                    <a:schemeClr val="dk1">
                      <a:tint val="30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F$2:$F$36</c15:sqref>
                        </c15:formulaRef>
                      </c:ext>
                    </c:extLst>
                    <c:numCache>
                      <c:formatCode>General</c:formatCode>
                      <c:ptCount val="35"/>
                      <c:pt idx="0">
                        <c:v>28.541810999999999</c:v>
                      </c:pt>
                      <c:pt idx="1">
                        <c:v>29.052481</c:v>
                      </c:pt>
                      <c:pt idx="2">
                        <c:v>33.367750000000001</c:v>
                      </c:pt>
                      <c:pt idx="3">
                        <c:v>35.968623999999998</c:v>
                      </c:pt>
                      <c:pt idx="4">
                        <c:v>33.207349000000001</c:v>
                      </c:pt>
                      <c:pt idx="5">
                        <c:v>35.057527</c:v>
                      </c:pt>
                      <c:pt idx="6">
                        <c:v>38.900894999999998</c:v>
                      </c:pt>
                      <c:pt idx="7">
                        <c:v>43.694178999999998</c:v>
                      </c:pt>
                      <c:pt idx="8">
                        <c:v>62.841144999999997</c:v>
                      </c:pt>
                      <c:pt idx="9">
                        <c:v>54.763354999999997</c:v>
                      </c:pt>
                      <c:pt idx="10">
                        <c:v>89.252371999999994</c:v>
                      </c:pt>
                      <c:pt idx="11">
                        <c:v>25.975645</c:v>
                      </c:pt>
                      <c:pt idx="12">
                        <c:v>30.148197</c:v>
                      </c:pt>
                      <c:pt idx="13">
                        <c:v>36.475974999999998</c:v>
                      </c:pt>
                      <c:pt idx="14">
                        <c:v>29.658926000000001</c:v>
                      </c:pt>
                      <c:pt idx="15">
                        <c:v>35.421528000000002</c:v>
                      </c:pt>
                      <c:pt idx="16">
                        <c:v>32.439849000000002</c:v>
                      </c:pt>
                      <c:pt idx="17">
                        <c:v>35.716830000000002</c:v>
                      </c:pt>
                      <c:pt idx="18">
                        <c:v>41.225175999999998</c:v>
                      </c:pt>
                      <c:pt idx="19">
                        <c:v>43.331505999999997</c:v>
                      </c:pt>
                      <c:pt idx="20">
                        <c:v>67.705122000000003</c:v>
                      </c:pt>
                      <c:pt idx="21">
                        <c:v>56.56662</c:v>
                      </c:pt>
                      <c:pt idx="22">
                        <c:v>91.018388000000002</c:v>
                      </c:pt>
                      <c:pt idx="23">
                        <c:v>26.250737000000001</c:v>
                      </c:pt>
                      <c:pt idx="24">
                        <c:v>30.771353000000001</c:v>
                      </c:pt>
                      <c:pt idx="25">
                        <c:v>32.781751</c:v>
                      </c:pt>
                      <c:pt idx="26">
                        <c:v>40.871063999999997</c:v>
                      </c:pt>
                      <c:pt idx="27">
                        <c:v>36.555362000000002</c:v>
                      </c:pt>
                      <c:pt idx="28">
                        <c:v>33.561486000000002</c:v>
                      </c:pt>
                      <c:pt idx="29">
                        <c:v>37.536104000000002</c:v>
                      </c:pt>
                      <c:pt idx="30">
                        <c:v>45.721882000000001</c:v>
                      </c:pt>
                      <c:pt idx="31">
                        <c:v>44.358134999999997</c:v>
                      </c:pt>
                      <c:pt idx="32">
                        <c:v>73.994276999999997</c:v>
                      </c:pt>
                      <c:pt idx="33">
                        <c:v>62.661236000000002</c:v>
                      </c:pt>
                      <c:pt idx="34">
                        <c:v>91.533505000000005</c:v>
                      </c:pt>
                    </c:numCache>
                  </c:numRef>
                </c:val>
                <c:extLst xmlns:c15="http://schemas.microsoft.com/office/drawing/2012/chart">
                  <c:ext xmlns:c16="http://schemas.microsoft.com/office/drawing/2014/chart" uri="{C3380CC4-5D6E-409C-BE32-E72D297353CC}">
                    <c16:uniqueId val="{00000002-2D16-4906-BB22-77AF188F6975}"/>
                  </c:ext>
                </c:extLst>
              </c15:ser>
            </c15:filteredBarSeries>
            <c15:filteredBarSeries>
              <c15:ser>
                <c:idx val="5"/>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Sector 5</c:v>
                      </c:pt>
                    </c:strCache>
                  </c:strRef>
                </c:tx>
                <c:spPr>
                  <a:solidFill>
                    <a:schemeClr val="dk1">
                      <a:tint val="60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G$2:$G$36</c15:sqref>
                        </c15:formulaRef>
                      </c:ext>
                    </c:extLst>
                    <c:numCache>
                      <c:formatCode>General</c:formatCode>
                      <c:ptCount val="35"/>
                      <c:pt idx="0">
                        <c:v>12.194502</c:v>
                      </c:pt>
                      <c:pt idx="1">
                        <c:v>7.156504</c:v>
                      </c:pt>
                      <c:pt idx="2">
                        <c:v>12.852249</c:v>
                      </c:pt>
                      <c:pt idx="3">
                        <c:v>17.913703000000002</c:v>
                      </c:pt>
                      <c:pt idx="4">
                        <c:v>9.8828340000000008</c:v>
                      </c:pt>
                      <c:pt idx="5">
                        <c:v>9.6037440000000007</c:v>
                      </c:pt>
                      <c:pt idx="6">
                        <c:v>11.410088999999999</c:v>
                      </c:pt>
                      <c:pt idx="7">
                        <c:v>11.869301</c:v>
                      </c:pt>
                      <c:pt idx="8">
                        <c:v>10.943581</c:v>
                      </c:pt>
                      <c:pt idx="9">
                        <c:v>24.200908999999999</c:v>
                      </c:pt>
                      <c:pt idx="10">
                        <c:v>59.814160000000001</c:v>
                      </c:pt>
                      <c:pt idx="11">
                        <c:v>7.4327399999999999</c:v>
                      </c:pt>
                      <c:pt idx="12">
                        <c:v>12.873098000000001</c:v>
                      </c:pt>
                      <c:pt idx="13">
                        <c:v>17.347481999999999</c:v>
                      </c:pt>
                      <c:pt idx="14">
                        <c:v>14.342812</c:v>
                      </c:pt>
                      <c:pt idx="15">
                        <c:v>16.454574000000001</c:v>
                      </c:pt>
                      <c:pt idx="16">
                        <c:v>8.7173169999999995</c:v>
                      </c:pt>
                      <c:pt idx="17">
                        <c:v>8.7356230000000004</c:v>
                      </c:pt>
                      <c:pt idx="18">
                        <c:v>11.042906</c:v>
                      </c:pt>
                      <c:pt idx="19">
                        <c:v>11.438431</c:v>
                      </c:pt>
                      <c:pt idx="20">
                        <c:v>12.034544</c:v>
                      </c:pt>
                      <c:pt idx="21">
                        <c:v>28.273</c:v>
                      </c:pt>
                      <c:pt idx="22">
                        <c:v>61.781478999999997</c:v>
                      </c:pt>
                      <c:pt idx="23">
                        <c:v>8.5091110000000008</c:v>
                      </c:pt>
                      <c:pt idx="24">
                        <c:v>14.055974000000001</c:v>
                      </c:pt>
                      <c:pt idx="25">
                        <c:v>10.074814999999999</c:v>
                      </c:pt>
                      <c:pt idx="26">
                        <c:v>26.582386</c:v>
                      </c:pt>
                      <c:pt idx="27">
                        <c:v>16.377361000000001</c:v>
                      </c:pt>
                      <c:pt idx="28">
                        <c:v>10.356033</c:v>
                      </c:pt>
                      <c:pt idx="29">
                        <c:v>11.832685</c:v>
                      </c:pt>
                      <c:pt idx="30">
                        <c:v>14.576200999999999</c:v>
                      </c:pt>
                      <c:pt idx="31">
                        <c:v>14.285002</c:v>
                      </c:pt>
                      <c:pt idx="32">
                        <c:v>16.927510000000002</c:v>
                      </c:pt>
                      <c:pt idx="33">
                        <c:v>34.868727999999997</c:v>
                      </c:pt>
                      <c:pt idx="34">
                        <c:v>70.545312999999993</c:v>
                      </c:pt>
                    </c:numCache>
                  </c:numRef>
                </c:val>
                <c:extLst xmlns:c15="http://schemas.microsoft.com/office/drawing/2012/chart">
                  <c:ext xmlns:c16="http://schemas.microsoft.com/office/drawing/2014/chart" uri="{C3380CC4-5D6E-409C-BE32-E72D297353CC}">
                    <c16:uniqueId val="{00000003-2D16-4906-BB22-77AF188F6975}"/>
                  </c:ext>
                </c:extLst>
              </c15:ser>
            </c15:filteredBarSeries>
            <c15:filteredBarSeries>
              <c15:ser>
                <c:idx val="6"/>
                <c:order val="6"/>
                <c:tx>
                  <c:strRef>
                    <c:extLst xmlns:c15="http://schemas.microsoft.com/office/drawing/2012/chart">
                      <c:ext xmlns:c15="http://schemas.microsoft.com/office/drawing/2012/chart" uri="{02D57815-91ED-43cb-92C2-25804820EDAC}">
                        <c15:formulaRef>
                          <c15:sqref>Sheet1!$H$1</c15:sqref>
                        </c15:formulaRef>
                      </c:ext>
                    </c:extLst>
                    <c:strCache>
                      <c:ptCount val="1"/>
                      <c:pt idx="0">
                        <c:v>Sector 6</c:v>
                      </c:pt>
                    </c:strCache>
                  </c:strRef>
                </c:tx>
                <c:spPr>
                  <a:solidFill>
                    <a:schemeClr val="dk1">
                      <a:tint val="80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H$2:$H$36</c15:sqref>
                        </c15:formulaRef>
                      </c:ext>
                    </c:extLst>
                    <c:numCache>
                      <c:formatCode>General</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numRef>
                </c:val>
                <c:extLst xmlns:c15="http://schemas.microsoft.com/office/drawing/2012/chart">
                  <c:ext xmlns:c16="http://schemas.microsoft.com/office/drawing/2014/chart" uri="{C3380CC4-5D6E-409C-BE32-E72D297353CC}">
                    <c16:uniqueId val="{00000003-CB01-4B89-A725-1CA2D0FD4A84}"/>
                  </c:ext>
                </c:extLst>
              </c15:ser>
            </c15:filteredBarSeries>
          </c:ext>
        </c:extLst>
      </c:barChart>
      <c:lineChart>
        <c:grouping val="stacked"/>
        <c:varyColors val="0"/>
        <c:ser>
          <c:idx val="0"/>
          <c:order val="0"/>
          <c:tx>
            <c:strRef>
              <c:f>Sheet1!$D$1</c:f>
              <c:strCache>
                <c:ptCount val="1"/>
                <c:pt idx="0">
                  <c:v>Total</c:v>
                </c:pt>
              </c:strCache>
            </c:strRef>
          </c:tx>
          <c:spPr>
            <a:solidFill>
              <a:srgbClr val="A6A6A6"/>
            </a:solidFill>
            <a:ln w="19050" cap="rnd" cmpd="sng" algn="ctr">
              <a:solidFill>
                <a:schemeClr val="accent1"/>
              </a:solidFill>
              <a:prstDash val="solid"/>
              <a:round/>
            </a:ln>
            <a:effectLst/>
          </c:spPr>
          <c:marker>
            <c:symbol val="circle"/>
            <c:size val="10"/>
            <c:spPr>
              <a:solidFill>
                <a:schemeClr val="accent1"/>
              </a:solidFill>
              <a:ln w="6350" cap="flat" cmpd="sng" algn="ctr">
                <a:solidFill>
                  <a:schemeClr val="accent1"/>
                </a:solidFill>
                <a:prstDash val="solid"/>
                <a:round/>
              </a:ln>
              <a:effectLst/>
            </c:spPr>
          </c:marker>
          <c:dPt>
            <c:idx val="0"/>
            <c:bubble3D val="0"/>
            <c:spPr>
              <a:ln w="19050" cap="rnd" cmpd="sng" algn="ctr">
                <a:solidFill>
                  <a:schemeClr val="accent1"/>
                </a:solidFill>
                <a:prstDash val="solid"/>
                <a:round/>
              </a:ln>
              <a:effectLst/>
            </c:spPr>
            <c:extLst>
              <c:ext xmlns:c16="http://schemas.microsoft.com/office/drawing/2014/chart" uri="{C3380CC4-5D6E-409C-BE32-E72D297353CC}">
                <c16:uniqueId val="{00000005-2D16-4906-BB22-77AF188F6975}"/>
              </c:ext>
            </c:extLst>
          </c:dPt>
          <c:cat>
            <c:strRef>
              <c:f>Sheet1!$A$2:$A$36</c:f>
              <c:strCache>
                <c:ptCount val="35"/>
                <c:pt idx="0">
                  <c:v>Oct-21</c:v>
                </c:pt>
                <c:pt idx="1">
                  <c:v>Nov-21</c:v>
                </c:pt>
                <c:pt idx="2">
                  <c:v>Dec-21</c:v>
                </c:pt>
                <c:pt idx="3">
                  <c:v>Jan-22</c:v>
                </c:pt>
                <c:pt idx="4">
                  <c:v>Feb-22</c:v>
                </c:pt>
                <c:pt idx="5">
                  <c:v>Mar-22</c:v>
                </c:pt>
                <c:pt idx="6">
                  <c:v>Apr-22</c:v>
                </c:pt>
                <c:pt idx="7">
                  <c:v>May-22</c:v>
                </c:pt>
                <c:pt idx="8">
                  <c:v>Jun-22</c:v>
                </c:pt>
                <c:pt idx="9">
                  <c:v>Jul-22</c:v>
                </c:pt>
                <c:pt idx="10">
                  <c:v>Aug-22</c:v>
                </c:pt>
                <c:pt idx="11">
                  <c:v>Sep-22</c:v>
                </c:pt>
                <c:pt idx="12">
                  <c:v>Oct-22</c:v>
                </c:pt>
                <c:pt idx="13">
                  <c:v>Nov-22</c:v>
                </c:pt>
                <c:pt idx="14">
                  <c:v>Dec-22</c:v>
                </c:pt>
                <c:pt idx="15">
                  <c:v>Jan-23</c:v>
                </c:pt>
                <c:pt idx="16">
                  <c:v>Feb-23</c:v>
                </c:pt>
                <c:pt idx="17">
                  <c:v>Mar-23</c:v>
                </c:pt>
                <c:pt idx="18">
                  <c:v>Apr-23</c:v>
                </c:pt>
                <c:pt idx="19">
                  <c:v>May-23</c:v>
                </c:pt>
                <c:pt idx="20">
                  <c:v>Jun-23</c:v>
                </c:pt>
                <c:pt idx="21">
                  <c:v>Jul-23</c:v>
                </c:pt>
                <c:pt idx="22">
                  <c:v>Aug-23</c:v>
                </c:pt>
                <c:pt idx="23">
                  <c:v>Sep-23</c:v>
                </c:pt>
                <c:pt idx="24">
                  <c:v>Oct-23</c:v>
                </c:pt>
                <c:pt idx="25">
                  <c:v>Nov-23</c:v>
                </c:pt>
                <c:pt idx="26">
                  <c:v>Dec-23</c:v>
                </c:pt>
                <c:pt idx="27">
                  <c:v>Jan-24</c:v>
                </c:pt>
                <c:pt idx="28">
                  <c:v>Feb-24</c:v>
                </c:pt>
                <c:pt idx="29">
                  <c:v>Mar-24</c:v>
                </c:pt>
                <c:pt idx="30">
                  <c:v>Apr-24</c:v>
                </c:pt>
                <c:pt idx="31">
                  <c:v>May-24</c:v>
                </c:pt>
                <c:pt idx="32">
                  <c:v>Jun-24</c:v>
                </c:pt>
                <c:pt idx="33">
                  <c:v>Jul-24</c:v>
                </c:pt>
                <c:pt idx="34">
                  <c:v>Aug-24</c:v>
                </c:pt>
              </c:strCache>
            </c:strRef>
          </c:cat>
          <c:val>
            <c:numRef>
              <c:f>Sheet1!$D$2:$D$36</c:f>
              <c:numCache>
                <c:formatCode>General</c:formatCode>
                <c:ptCount val="35"/>
                <c:pt idx="0">
                  <c:v>4.764362</c:v>
                </c:pt>
                <c:pt idx="1">
                  <c:v>4.65097</c:v>
                </c:pt>
                <c:pt idx="2">
                  <c:v>4.95142</c:v>
                </c:pt>
                <c:pt idx="3">
                  <c:v>5.283409</c:v>
                </c:pt>
                <c:pt idx="4">
                  <c:v>4.678228</c:v>
                </c:pt>
                <c:pt idx="5">
                  <c:v>5.172887</c:v>
                </c:pt>
                <c:pt idx="6">
                  <c:v>5.337001</c:v>
                </c:pt>
                <c:pt idx="7">
                  <c:v>6.060948</c:v>
                </c:pt>
                <c:pt idx="8">
                  <c:v>6.048469</c:v>
                </c:pt>
                <c:pt idx="9">
                  <c:v>7.650924</c:v>
                </c:pt>
                <c:pt idx="10">
                  <c:v>6.273136</c:v>
                </c:pt>
                <c:pt idx="11">
                  <c:v>5.858978</c:v>
                </c:pt>
                <c:pt idx="12">
                  <c:v>6.076797</c:v>
                </c:pt>
                <c:pt idx="13">
                  <c:v>5.671158</c:v>
                </c:pt>
                <c:pt idx="14">
                  <c:v>6.076375</c:v>
                </c:pt>
                <c:pt idx="15">
                  <c:v>6.284296</c:v>
                </c:pt>
                <c:pt idx="16">
                  <c:v>6.105338</c:v>
                </c:pt>
                <c:pt idx="17">
                  <c:v>6.341406</c:v>
                </c:pt>
                <c:pt idx="18">
                  <c:v>6.290806</c:v>
                </c:pt>
                <c:pt idx="19">
                  <c:v>6.886812</c:v>
                </c:pt>
                <c:pt idx="20">
                  <c:v>7.163638</c:v>
                </c:pt>
                <c:pt idx="21">
                  <c:v>8.611632</c:v>
                </c:pt>
                <c:pt idx="22">
                  <c:v>7.021984</c:v>
                </c:pt>
                <c:pt idx="23">
                  <c:v>6.451062</c:v>
                </c:pt>
                <c:pt idx="24">
                  <c:v>6.666228</c:v>
                </c:pt>
                <c:pt idx="25">
                  <c:v>6.41572</c:v>
                </c:pt>
                <c:pt idx="26">
                  <c:v>6.24432</c:v>
                </c:pt>
                <c:pt idx="27">
                  <c:v>6.364009</c:v>
                </c:pt>
                <c:pt idx="28">
                  <c:v>6.340183</c:v>
                </c:pt>
                <c:pt idx="29">
                  <c:v>7.434128</c:v>
                </c:pt>
                <c:pt idx="30">
                  <c:v>7.632142</c:v>
                </c:pt>
                <c:pt idx="31">
                  <c:v>8.217664</c:v>
                </c:pt>
                <c:pt idx="32">
                  <c:v>8.589457</c:v>
                </c:pt>
                <c:pt idx="33">
                  <c:v>10.569101</c:v>
                </c:pt>
                <c:pt idx="34">
                  <c:v>8.971076</c:v>
                </c:pt>
              </c:numCache>
            </c:numRef>
          </c:val>
          <c:smooth val="0"/>
          <c:extLst>
            <c:ext xmlns:c16="http://schemas.microsoft.com/office/drawing/2014/chart" uri="{C3380CC4-5D6E-409C-BE32-E72D297353CC}">
              <c16:uniqueId val="{00000000-A582-417D-A5F8-2A0075530F50}"/>
            </c:ext>
          </c:extLst>
        </c:ser>
        <c:dLbls>
          <c:showLegendKey val="0"/>
          <c:showVal val="0"/>
          <c:showCatName val="0"/>
          <c:showSerName val="0"/>
          <c:showPercent val="0"/>
          <c:showBubbleSize val="0"/>
        </c:dLbls>
        <c:marker val="1"/>
        <c:smooth val="0"/>
        <c:axId val="1624167016"/>
        <c:axId val="1624169640"/>
      </c:lineChart>
      <c:catAx>
        <c:axId val="1624167016"/>
        <c:scaling>
          <c:orientation val="minMax"/>
        </c:scaling>
        <c:delete val="0"/>
        <c:axPos val="b"/>
        <c:numFmt formatCode="General" sourceLinked="1"/>
        <c:majorTickMark val="none"/>
        <c:minorTickMark val="none"/>
        <c:tickLblPos val="nextTo"/>
        <c:spPr>
          <a:noFill/>
          <a:ln w="9525" cap="flat" cmpd="sng" algn="ctr">
            <a:noFill/>
            <a:prstDash val="solid"/>
            <a:round/>
          </a:ln>
          <a:effectLst/>
        </c:spPr>
        <c:txPr>
          <a:bodyPr rot="0" spcFirstLastPara="1" vertOverflow="ellipsis" wrap="square" anchor="ctr" anchorCtr="1"/>
          <a:lstStyle/>
          <a:p>
            <a:pPr algn="ctr">
              <a:defRPr lang="en-US" sz="800" b="0" i="0" u="none" strike="noStrike" kern="1200" baseline="0">
                <a:solidFill>
                  <a:schemeClr val="tx1"/>
                </a:solidFill>
                <a:latin typeface="+mj-lt"/>
                <a:ea typeface="+mn-ea"/>
                <a:cs typeface="+mn-cs"/>
              </a:defRPr>
            </a:pPr>
            <a:endParaRPr lang="en-US"/>
          </a:p>
        </c:txPr>
        <c:crossAx val="1624169640"/>
        <c:crosses val="autoZero"/>
        <c:auto val="1"/>
        <c:lblAlgn val="ctr"/>
        <c:lblOffset val="100"/>
        <c:tickLblSkip val="3"/>
        <c:noMultiLvlLbl val="1"/>
      </c:catAx>
      <c:valAx>
        <c:axId val="1624169640"/>
        <c:scaling>
          <c:orientation val="minMax"/>
        </c:scaling>
        <c:delete val="0"/>
        <c:axPos val="l"/>
        <c:numFmt formatCode="#,##0" sourceLinked="0"/>
        <c:majorTickMark val="none"/>
        <c:minorTickMark val="none"/>
        <c:tickLblPos val="nextTo"/>
        <c:spPr>
          <a:noFill/>
          <a:ln w="6350" cap="flat" cmpd="sng" algn="ctr">
            <a:noFill/>
            <a:prstDash val="solid"/>
            <a:round/>
          </a:ln>
          <a:effectLst/>
        </c:spPr>
        <c:txPr>
          <a:bodyPr rot="-60000000" spcFirstLastPara="1" vertOverflow="ellipsis" vert="horz" wrap="square" anchor="ctr" anchorCtr="1"/>
          <a:lstStyle/>
          <a:p>
            <a:pP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a:p>
        </c:txPr>
        <c:crossAx val="1624167016"/>
        <c:crosses val="autoZero"/>
        <c:crossBetween val="between"/>
      </c:valAx>
      <c:spPr>
        <a:noFill/>
        <a:ln>
          <a:noFill/>
        </a:ln>
        <a:effectLst/>
      </c:spPr>
    </c:plotArea>
    <c:legend>
      <c:legendPos val="b"/>
      <c:layout>
        <c:manualLayout>
          <c:xMode val="edge"/>
          <c:yMode val="edge"/>
          <c:x val="7.3660685603241294E-2"/>
          <c:y val="0.81729018208272031"/>
          <c:w val="0.90289148980965561"/>
          <c:h val="0.13936961130964612"/>
        </c:manualLayout>
      </c:layout>
      <c:overlay val="0"/>
      <c:spPr>
        <a:noFill/>
        <a:ln>
          <a:noFill/>
        </a:ln>
        <a:effectLst/>
      </c:spPr>
      <c:txPr>
        <a:bodyPr rot="0" spcFirstLastPara="1" vertOverflow="ellipsis" vert="horz" wrap="square" anchor="ctr" anchorCtr="0"/>
        <a:lstStyle/>
        <a:p>
          <a:pPr algn="ctr">
            <a:defRPr lang="en-US"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6350" cap="flat" cmpd="sng" algn="ctr">
      <a:noFill/>
      <a:prstDash val="solid"/>
      <a:miter lim="800000"/>
    </a:ln>
    <a:effectLst/>
  </c:spPr>
  <c:txPr>
    <a:bodyPr/>
    <a:lstStyle/>
    <a:p>
      <a:pPr algn="ctr">
        <a:defRPr lang="en-US" sz="900" b="0" i="0" u="none" strike="noStrike" kern="120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manualLayout>
          <c:layoutTarget val="inner"/>
          <c:xMode val="edge"/>
          <c:yMode val="edge"/>
          <c:x val="4.5205042438763526E-2"/>
          <c:y val="9.9397151645846074E-2"/>
          <c:w val="0.93468942653552012"/>
          <c:h val="0.61239220651000625"/>
        </c:manualLayout>
      </c:layout>
      <c:barChart>
        <c:barDir val="col"/>
        <c:grouping val="stacked"/>
        <c:varyColors val="0"/>
        <c:ser>
          <c:idx val="13"/>
          <c:order val="13"/>
          <c:tx>
            <c:strRef>
              <c:f>Sheet1!$B$1</c:f>
              <c:strCache>
                <c:ptCount val="1"/>
                <c:pt idx="0">
                  <c:v>Dermaplane</c:v>
                </c:pt>
              </c:strCache>
            </c:strRef>
          </c:tx>
          <c:spPr>
            <a:solidFill>
              <a:srgbClr val="00A097"/>
            </a:solidFill>
            <a:ln>
              <a:noFill/>
            </a:ln>
            <a:effectLst/>
          </c:spPr>
          <c:invertIfNegative val="0"/>
          <c:cat>
            <c:strRef>
              <c:f>Sheet1!$A$2:$A$36</c:f>
              <c:strCache>
                <c:ptCount val="35"/>
                <c:pt idx="0">
                  <c:v>Oct-21</c:v>
                </c:pt>
                <c:pt idx="1">
                  <c:v>Nov-21</c:v>
                </c:pt>
                <c:pt idx="2">
                  <c:v>Dec-21</c:v>
                </c:pt>
                <c:pt idx="3">
                  <c:v>Jan-22</c:v>
                </c:pt>
                <c:pt idx="4">
                  <c:v>Feb-22</c:v>
                </c:pt>
                <c:pt idx="5">
                  <c:v>Mar-22</c:v>
                </c:pt>
                <c:pt idx="6">
                  <c:v>Apr-22</c:v>
                </c:pt>
                <c:pt idx="7">
                  <c:v>May-22</c:v>
                </c:pt>
                <c:pt idx="8">
                  <c:v>Jun-22</c:v>
                </c:pt>
                <c:pt idx="9">
                  <c:v>Jul-22</c:v>
                </c:pt>
                <c:pt idx="10">
                  <c:v>Aug-22</c:v>
                </c:pt>
                <c:pt idx="11">
                  <c:v>Sep-22</c:v>
                </c:pt>
                <c:pt idx="12">
                  <c:v>Oct-22</c:v>
                </c:pt>
                <c:pt idx="13">
                  <c:v>Nov-22</c:v>
                </c:pt>
                <c:pt idx="14">
                  <c:v>Dec-22</c:v>
                </c:pt>
                <c:pt idx="15">
                  <c:v>Jan-23</c:v>
                </c:pt>
                <c:pt idx="16">
                  <c:v>Feb-23</c:v>
                </c:pt>
                <c:pt idx="17">
                  <c:v>Mar-23</c:v>
                </c:pt>
                <c:pt idx="18">
                  <c:v>Apr-23</c:v>
                </c:pt>
                <c:pt idx="19">
                  <c:v>May-23</c:v>
                </c:pt>
                <c:pt idx="20">
                  <c:v>Jun-23</c:v>
                </c:pt>
                <c:pt idx="21">
                  <c:v>Jul-23</c:v>
                </c:pt>
                <c:pt idx="22">
                  <c:v>Aug-23</c:v>
                </c:pt>
                <c:pt idx="23">
                  <c:v>Sep-23</c:v>
                </c:pt>
                <c:pt idx="24">
                  <c:v>Oct-23</c:v>
                </c:pt>
                <c:pt idx="25">
                  <c:v>Nov-23</c:v>
                </c:pt>
                <c:pt idx="26">
                  <c:v>Dec-23</c:v>
                </c:pt>
                <c:pt idx="27">
                  <c:v>Jan-24</c:v>
                </c:pt>
                <c:pt idx="28">
                  <c:v>Feb-24</c:v>
                </c:pt>
                <c:pt idx="29">
                  <c:v>Mar-24</c:v>
                </c:pt>
                <c:pt idx="30">
                  <c:v>Apr-24</c:v>
                </c:pt>
                <c:pt idx="31">
                  <c:v>May-24</c:v>
                </c:pt>
                <c:pt idx="32">
                  <c:v>Jun-24</c:v>
                </c:pt>
                <c:pt idx="33">
                  <c:v>Jul-24</c:v>
                </c:pt>
                <c:pt idx="34">
                  <c:v>Aug-24</c:v>
                </c:pt>
              </c:strCache>
            </c:strRef>
          </c:cat>
          <c:val>
            <c:numRef>
              <c:f>Sheet1!$B$2:$B$36</c:f>
              <c:numCache>
                <c:formatCode>General</c:formatCode>
                <c:ptCount val="35"/>
                <c:pt idx="0">
                  <c:v>0.43576</c:v>
                </c:pt>
                <c:pt idx="1">
                  <c:v>0.407004</c:v>
                </c:pt>
                <c:pt idx="2">
                  <c:v>0.474008</c:v>
                </c:pt>
                <c:pt idx="3">
                  <c:v>0.383375</c:v>
                </c:pt>
                <c:pt idx="4">
                  <c:v>0.377838</c:v>
                </c:pt>
                <c:pt idx="5">
                  <c:v>0.547128</c:v>
                </c:pt>
                <c:pt idx="6">
                  <c:v>0.502242</c:v>
                </c:pt>
                <c:pt idx="7">
                  <c:v>0.616005</c:v>
                </c:pt>
                <c:pt idx="8">
                  <c:v>0.528027</c:v>
                </c:pt>
                <c:pt idx="9">
                  <c:v>0.493915</c:v>
                </c:pt>
                <c:pt idx="10">
                  <c:v>0.503563</c:v>
                </c:pt>
                <c:pt idx="11">
                  <c:v>0.483616</c:v>
                </c:pt>
                <c:pt idx="12">
                  <c:v>0.479453</c:v>
                </c:pt>
                <c:pt idx="13">
                  <c:v>0.441226</c:v>
                </c:pt>
                <c:pt idx="14">
                  <c:v>0.56996</c:v>
                </c:pt>
                <c:pt idx="15">
                  <c:v>0.50407</c:v>
                </c:pt>
                <c:pt idx="16">
                  <c:v>0.442229</c:v>
                </c:pt>
                <c:pt idx="17">
                  <c:v>0.544377</c:v>
                </c:pt>
                <c:pt idx="18">
                  <c:v>0.463737</c:v>
                </c:pt>
                <c:pt idx="19">
                  <c:v>0.412118</c:v>
                </c:pt>
                <c:pt idx="20">
                  <c:v>0.441688</c:v>
                </c:pt>
                <c:pt idx="21">
                  <c:v>0.477047</c:v>
                </c:pt>
                <c:pt idx="22">
                  <c:v>0.428909</c:v>
                </c:pt>
                <c:pt idx="23">
                  <c:v>0.435519</c:v>
                </c:pt>
                <c:pt idx="24">
                  <c:v>0.437287</c:v>
                </c:pt>
                <c:pt idx="25">
                  <c:v>0.365822</c:v>
                </c:pt>
                <c:pt idx="26">
                  <c:v>0.412027</c:v>
                </c:pt>
                <c:pt idx="27">
                  <c:v>0.375545</c:v>
                </c:pt>
                <c:pt idx="28">
                  <c:v>0.411722</c:v>
                </c:pt>
                <c:pt idx="29">
                  <c:v>0.46989</c:v>
                </c:pt>
                <c:pt idx="30">
                  <c:v>0.480731</c:v>
                </c:pt>
                <c:pt idx="31">
                  <c:v>0.482534</c:v>
                </c:pt>
                <c:pt idx="32">
                  <c:v>0.504813</c:v>
                </c:pt>
                <c:pt idx="33">
                  <c:v>0.55449</c:v>
                </c:pt>
                <c:pt idx="34">
                  <c:v>0.549926</c:v>
                </c:pt>
              </c:numCache>
            </c:numRef>
          </c:val>
          <c:extLst>
            <c:ext xmlns:c16="http://schemas.microsoft.com/office/drawing/2014/chart" uri="{C3380CC4-5D6E-409C-BE32-E72D297353CC}">
              <c16:uniqueId val="{0000000A-CB01-4B89-A725-1CA2D0FD4A84}"/>
            </c:ext>
          </c:extLst>
        </c:ser>
        <c:ser>
          <c:idx val="14"/>
          <c:order val="14"/>
          <c:tx>
            <c:strRef>
              <c:f>Sheet1!$C$1</c:f>
              <c:strCache>
                <c:ptCount val="1"/>
                <c:pt idx="0">
                  <c:v>Disposable</c:v>
                </c:pt>
              </c:strCache>
            </c:strRef>
          </c:tx>
          <c:spPr>
            <a:solidFill>
              <a:srgbClr val="7ECAC4"/>
            </a:solidFill>
            <a:ln>
              <a:noFill/>
            </a:ln>
            <a:effectLst/>
          </c:spPr>
          <c:invertIfNegative val="0"/>
          <c:cat>
            <c:strRef>
              <c:f>Sheet1!$A$2:$A$36</c:f>
              <c:strCache>
                <c:ptCount val="35"/>
                <c:pt idx="0">
                  <c:v>Oct-21</c:v>
                </c:pt>
                <c:pt idx="1">
                  <c:v>Nov-21</c:v>
                </c:pt>
                <c:pt idx="2">
                  <c:v>Dec-21</c:v>
                </c:pt>
                <c:pt idx="3">
                  <c:v>Jan-22</c:v>
                </c:pt>
                <c:pt idx="4">
                  <c:v>Feb-22</c:v>
                </c:pt>
                <c:pt idx="5">
                  <c:v>Mar-22</c:v>
                </c:pt>
                <c:pt idx="6">
                  <c:v>Apr-22</c:v>
                </c:pt>
                <c:pt idx="7">
                  <c:v>May-22</c:v>
                </c:pt>
                <c:pt idx="8">
                  <c:v>Jun-22</c:v>
                </c:pt>
                <c:pt idx="9">
                  <c:v>Jul-22</c:v>
                </c:pt>
                <c:pt idx="10">
                  <c:v>Aug-22</c:v>
                </c:pt>
                <c:pt idx="11">
                  <c:v>Sep-22</c:v>
                </c:pt>
                <c:pt idx="12">
                  <c:v>Oct-22</c:v>
                </c:pt>
                <c:pt idx="13">
                  <c:v>Nov-22</c:v>
                </c:pt>
                <c:pt idx="14">
                  <c:v>Dec-22</c:v>
                </c:pt>
                <c:pt idx="15">
                  <c:v>Jan-23</c:v>
                </c:pt>
                <c:pt idx="16">
                  <c:v>Feb-23</c:v>
                </c:pt>
                <c:pt idx="17">
                  <c:v>Mar-23</c:v>
                </c:pt>
                <c:pt idx="18">
                  <c:v>Apr-23</c:v>
                </c:pt>
                <c:pt idx="19">
                  <c:v>May-23</c:v>
                </c:pt>
                <c:pt idx="20">
                  <c:v>Jun-23</c:v>
                </c:pt>
                <c:pt idx="21">
                  <c:v>Jul-23</c:v>
                </c:pt>
                <c:pt idx="22">
                  <c:v>Aug-23</c:v>
                </c:pt>
                <c:pt idx="23">
                  <c:v>Sep-23</c:v>
                </c:pt>
                <c:pt idx="24">
                  <c:v>Oct-23</c:v>
                </c:pt>
                <c:pt idx="25">
                  <c:v>Nov-23</c:v>
                </c:pt>
                <c:pt idx="26">
                  <c:v>Dec-23</c:v>
                </c:pt>
                <c:pt idx="27">
                  <c:v>Jan-24</c:v>
                </c:pt>
                <c:pt idx="28">
                  <c:v>Feb-24</c:v>
                </c:pt>
                <c:pt idx="29">
                  <c:v>Mar-24</c:v>
                </c:pt>
                <c:pt idx="30">
                  <c:v>Apr-24</c:v>
                </c:pt>
                <c:pt idx="31">
                  <c:v>May-24</c:v>
                </c:pt>
                <c:pt idx="32">
                  <c:v>Jun-24</c:v>
                </c:pt>
                <c:pt idx="33">
                  <c:v>Jul-24</c:v>
                </c:pt>
                <c:pt idx="34">
                  <c:v>Aug-24</c:v>
                </c:pt>
              </c:strCache>
            </c:strRef>
          </c:cat>
          <c:val>
            <c:numRef>
              <c:f>Sheet1!$C$2:$C$36</c:f>
              <c:numCache>
                <c:formatCode>General</c:formatCode>
                <c:ptCount val="35"/>
                <c:pt idx="0">
                  <c:v>2.338148</c:v>
                </c:pt>
                <c:pt idx="1">
                  <c:v>2.148581</c:v>
                </c:pt>
                <c:pt idx="2">
                  <c:v>1.875217</c:v>
                </c:pt>
                <c:pt idx="3">
                  <c:v>1.403246</c:v>
                </c:pt>
                <c:pt idx="4">
                  <c:v>1.669852</c:v>
                </c:pt>
                <c:pt idx="5">
                  <c:v>2.519015</c:v>
                </c:pt>
                <c:pt idx="6">
                  <c:v>2.212057</c:v>
                </c:pt>
                <c:pt idx="7">
                  <c:v>3.051144</c:v>
                </c:pt>
                <c:pt idx="8">
                  <c:v>2.339325</c:v>
                </c:pt>
                <c:pt idx="9">
                  <c:v>2.195462</c:v>
                </c:pt>
                <c:pt idx="10">
                  <c:v>1.991469</c:v>
                </c:pt>
                <c:pt idx="11">
                  <c:v>1.720918</c:v>
                </c:pt>
                <c:pt idx="12">
                  <c:v>1.829407</c:v>
                </c:pt>
                <c:pt idx="13">
                  <c:v>1.499606</c:v>
                </c:pt>
                <c:pt idx="14">
                  <c:v>1.609986</c:v>
                </c:pt>
                <c:pt idx="15">
                  <c:v>1.383221</c:v>
                </c:pt>
                <c:pt idx="16">
                  <c:v>1.746405</c:v>
                </c:pt>
                <c:pt idx="17">
                  <c:v>2.195652</c:v>
                </c:pt>
                <c:pt idx="18">
                  <c:v>2.046927</c:v>
                </c:pt>
                <c:pt idx="19">
                  <c:v>2.306423</c:v>
                </c:pt>
                <c:pt idx="20">
                  <c:v>2.61147</c:v>
                </c:pt>
                <c:pt idx="21">
                  <c:v>2.363585</c:v>
                </c:pt>
                <c:pt idx="22">
                  <c:v>1.949574</c:v>
                </c:pt>
                <c:pt idx="23">
                  <c:v>1.62064</c:v>
                </c:pt>
                <c:pt idx="24">
                  <c:v>1.876289</c:v>
                </c:pt>
                <c:pt idx="25">
                  <c:v>1.63647</c:v>
                </c:pt>
                <c:pt idx="26">
                  <c:v>1.812223</c:v>
                </c:pt>
                <c:pt idx="27">
                  <c:v>1.379378</c:v>
                </c:pt>
                <c:pt idx="28">
                  <c:v>1.4792</c:v>
                </c:pt>
                <c:pt idx="29">
                  <c:v>1.713958</c:v>
                </c:pt>
                <c:pt idx="30">
                  <c:v>2.218025</c:v>
                </c:pt>
                <c:pt idx="31">
                  <c:v>2.24344</c:v>
                </c:pt>
                <c:pt idx="32">
                  <c:v>2.389241</c:v>
                </c:pt>
                <c:pt idx="33">
                  <c:v>2.606508</c:v>
                </c:pt>
                <c:pt idx="34">
                  <c:v>3.367428</c:v>
                </c:pt>
              </c:numCache>
            </c:numRef>
          </c:val>
          <c:extLst>
            <c:ext xmlns:c16="http://schemas.microsoft.com/office/drawing/2014/chart" uri="{C3380CC4-5D6E-409C-BE32-E72D297353CC}">
              <c16:uniqueId val="{0000000B-CB01-4B89-A725-1CA2D0FD4A84}"/>
            </c:ext>
          </c:extLst>
        </c:ser>
        <c:ser>
          <c:idx val="15"/>
          <c:order val="15"/>
          <c:tx>
            <c:strRef>
              <c:f>Sheet1!$D$1</c:f>
              <c:strCache>
                <c:ptCount val="1"/>
                <c:pt idx="0">
                  <c:v>System</c:v>
                </c:pt>
              </c:strCache>
            </c:strRef>
          </c:tx>
          <c:spPr>
            <a:solidFill>
              <a:srgbClr val="B2DFDC"/>
            </a:solidFill>
            <a:ln>
              <a:noFill/>
            </a:ln>
            <a:effectLst/>
          </c:spPr>
          <c:invertIfNegative val="0"/>
          <c:cat>
            <c:strRef>
              <c:f>Sheet1!$A$2:$A$36</c:f>
              <c:strCache>
                <c:ptCount val="35"/>
                <c:pt idx="0">
                  <c:v>Oct-21</c:v>
                </c:pt>
                <c:pt idx="1">
                  <c:v>Nov-21</c:v>
                </c:pt>
                <c:pt idx="2">
                  <c:v>Dec-21</c:v>
                </c:pt>
                <c:pt idx="3">
                  <c:v>Jan-22</c:v>
                </c:pt>
                <c:pt idx="4">
                  <c:v>Feb-22</c:v>
                </c:pt>
                <c:pt idx="5">
                  <c:v>Mar-22</c:v>
                </c:pt>
                <c:pt idx="6">
                  <c:v>Apr-22</c:v>
                </c:pt>
                <c:pt idx="7">
                  <c:v>May-22</c:v>
                </c:pt>
                <c:pt idx="8">
                  <c:v>Jun-22</c:v>
                </c:pt>
                <c:pt idx="9">
                  <c:v>Jul-22</c:v>
                </c:pt>
                <c:pt idx="10">
                  <c:v>Aug-22</c:v>
                </c:pt>
                <c:pt idx="11">
                  <c:v>Sep-22</c:v>
                </c:pt>
                <c:pt idx="12">
                  <c:v>Oct-22</c:v>
                </c:pt>
                <c:pt idx="13">
                  <c:v>Nov-22</c:v>
                </c:pt>
                <c:pt idx="14">
                  <c:v>Dec-22</c:v>
                </c:pt>
                <c:pt idx="15">
                  <c:v>Jan-23</c:v>
                </c:pt>
                <c:pt idx="16">
                  <c:v>Feb-23</c:v>
                </c:pt>
                <c:pt idx="17">
                  <c:v>Mar-23</c:v>
                </c:pt>
                <c:pt idx="18">
                  <c:v>Apr-23</c:v>
                </c:pt>
                <c:pt idx="19">
                  <c:v>May-23</c:v>
                </c:pt>
                <c:pt idx="20">
                  <c:v>Jun-23</c:v>
                </c:pt>
                <c:pt idx="21">
                  <c:v>Jul-23</c:v>
                </c:pt>
                <c:pt idx="22">
                  <c:v>Aug-23</c:v>
                </c:pt>
                <c:pt idx="23">
                  <c:v>Sep-23</c:v>
                </c:pt>
                <c:pt idx="24">
                  <c:v>Oct-23</c:v>
                </c:pt>
                <c:pt idx="25">
                  <c:v>Nov-23</c:v>
                </c:pt>
                <c:pt idx="26">
                  <c:v>Dec-23</c:v>
                </c:pt>
                <c:pt idx="27">
                  <c:v>Jan-24</c:v>
                </c:pt>
                <c:pt idx="28">
                  <c:v>Feb-24</c:v>
                </c:pt>
                <c:pt idx="29">
                  <c:v>Mar-24</c:v>
                </c:pt>
                <c:pt idx="30">
                  <c:v>Apr-24</c:v>
                </c:pt>
                <c:pt idx="31">
                  <c:v>May-24</c:v>
                </c:pt>
                <c:pt idx="32">
                  <c:v>Jun-24</c:v>
                </c:pt>
                <c:pt idx="33">
                  <c:v>Jul-24</c:v>
                </c:pt>
                <c:pt idx="34">
                  <c:v>Aug-24</c:v>
                </c:pt>
              </c:strCache>
            </c:strRef>
          </c:cat>
          <c:val>
            <c:numRef>
              <c:f>Sheet1!$D$2:$D$36</c:f>
              <c:numCache>
                <c:formatCode>General</c:formatCode>
                <c:ptCount val="35"/>
                <c:pt idx="0">
                  <c:v>4.303019</c:v>
                </c:pt>
                <c:pt idx="1">
                  <c:v>3.866837</c:v>
                </c:pt>
                <c:pt idx="2">
                  <c:v>4.335678</c:v>
                </c:pt>
                <c:pt idx="3">
                  <c:v>3.883155</c:v>
                </c:pt>
                <c:pt idx="4">
                  <c:v>3.541757</c:v>
                </c:pt>
                <c:pt idx="5">
                  <c:v>6.155126</c:v>
                </c:pt>
                <c:pt idx="6">
                  <c:v>5.329176</c:v>
                </c:pt>
                <c:pt idx="7">
                  <c:v>5.611608</c:v>
                </c:pt>
                <c:pt idx="8">
                  <c:v>5.248507</c:v>
                </c:pt>
                <c:pt idx="9">
                  <c:v>5.081728</c:v>
                </c:pt>
                <c:pt idx="10">
                  <c:v>4.874403</c:v>
                </c:pt>
                <c:pt idx="11">
                  <c:v>4.061632</c:v>
                </c:pt>
                <c:pt idx="12">
                  <c:v>3.879358</c:v>
                </c:pt>
                <c:pt idx="13">
                  <c:v>3.511292</c:v>
                </c:pt>
                <c:pt idx="14">
                  <c:v>4.214885</c:v>
                </c:pt>
                <c:pt idx="15">
                  <c:v>3.744206</c:v>
                </c:pt>
                <c:pt idx="16">
                  <c:v>3.759512</c:v>
                </c:pt>
                <c:pt idx="17">
                  <c:v>5.253636</c:v>
                </c:pt>
                <c:pt idx="18">
                  <c:v>4.689123</c:v>
                </c:pt>
                <c:pt idx="19">
                  <c:v>5.734254</c:v>
                </c:pt>
                <c:pt idx="20">
                  <c:v>5.651768</c:v>
                </c:pt>
                <c:pt idx="21">
                  <c:v>5.474492</c:v>
                </c:pt>
                <c:pt idx="22">
                  <c:v>5.066269</c:v>
                </c:pt>
                <c:pt idx="23">
                  <c:v>4.404649</c:v>
                </c:pt>
                <c:pt idx="24">
                  <c:v>3.916131</c:v>
                </c:pt>
                <c:pt idx="25">
                  <c:v>3.577715</c:v>
                </c:pt>
                <c:pt idx="26">
                  <c:v>4.191728</c:v>
                </c:pt>
                <c:pt idx="27">
                  <c:v>3.535059</c:v>
                </c:pt>
                <c:pt idx="28">
                  <c:v>3.536179</c:v>
                </c:pt>
                <c:pt idx="29">
                  <c:v>4.090033</c:v>
                </c:pt>
                <c:pt idx="30">
                  <c:v>4.204209</c:v>
                </c:pt>
                <c:pt idx="31">
                  <c:v>4.654757</c:v>
                </c:pt>
                <c:pt idx="32">
                  <c:v>5.100493</c:v>
                </c:pt>
                <c:pt idx="33">
                  <c:v>5.300795</c:v>
                </c:pt>
                <c:pt idx="34">
                  <c:v>5.072208</c:v>
                </c:pt>
              </c:numCache>
            </c:numRef>
          </c:val>
          <c:extLst>
            <c:ext xmlns:c16="http://schemas.microsoft.com/office/drawing/2014/chart" uri="{C3380CC4-5D6E-409C-BE32-E72D297353CC}">
              <c16:uniqueId val="{0000000C-CB01-4B89-A725-1CA2D0FD4A84}"/>
            </c:ext>
          </c:extLst>
        </c:ser>
        <c:dLbls>
          <c:showLegendKey val="0"/>
          <c:showVal val="0"/>
          <c:showCatName val="0"/>
          <c:showSerName val="0"/>
          <c:showPercent val="0"/>
          <c:showBubbleSize val="0"/>
        </c:dLbls>
        <c:gapWidth val="150"/>
        <c:overlap val="100"/>
        <c:axId val="1624167016"/>
        <c:axId val="1624169640"/>
        <c:extLst>
          <c:ext xmlns:c15="http://schemas.microsoft.com/office/drawing/2012/chart" uri="{02D57815-91ED-43cb-92C2-25804820EDAC}">
            <c15:filteredBarSeries>
              <c15:ser>
                <c:idx val="1"/>
                <c:order val="1"/>
                <c:tx>
                  <c:strRef>
                    <c:extLst>
                      <c:ext uri="{02D57815-91ED-43cb-92C2-25804820EDAC}">
                        <c15:formulaRef>
                          <c15:sqref>Sheet1!$C$1</c15:sqref>
                        </c15:formulaRef>
                      </c:ext>
                    </c:extLst>
                    <c:strCache>
                      <c:ptCount val="1"/>
                      <c:pt idx="0">
                        <c:v>Sector 1</c:v>
                      </c:pt>
                    </c:strCache>
                  </c:strRef>
                </c:tx>
                <c:spPr>
                  <a:solidFill>
                    <a:schemeClr val="dk1">
                      <a:tint val="55000"/>
                    </a:schemeClr>
                  </a:solidFill>
                  <a:ln>
                    <a:noFill/>
                  </a:ln>
                  <a:effectLst/>
                </c:spPr>
                <c:invertIfNegative val="0"/>
                <c:cat>
                  <c:strRef>
                    <c:extLst>
                      <c:ex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c:ext uri="{02D57815-91ED-43cb-92C2-25804820EDAC}">
                        <c15:formulaRef>
                          <c15:sqref>Sheet1!$C$2:$C$36</c15:sqref>
                        </c15:formulaRef>
                      </c:ext>
                    </c:extLst>
                    <c:numCache>
                      <c:formatCode>General</c:formatCode>
                      <c:ptCount val="35"/>
                      <c:pt idx="0">
                        <c:v>40.809865000000002</c:v>
                      </c:pt>
                      <c:pt idx="1">
                        <c:v>41.860694000000002</c:v>
                      </c:pt>
                      <c:pt idx="2">
                        <c:v>34.509422000000001</c:v>
                      </c:pt>
                      <c:pt idx="3">
                        <c:v>49.657702</c:v>
                      </c:pt>
                      <c:pt idx="4">
                        <c:v>50.616717999999999</c:v>
                      </c:pt>
                      <c:pt idx="5">
                        <c:v>51.539561999999997</c:v>
                      </c:pt>
                      <c:pt idx="6">
                        <c:v>53.959558000000001</c:v>
                      </c:pt>
                      <c:pt idx="7">
                        <c:v>48.84498</c:v>
                      </c:pt>
                      <c:pt idx="8">
                        <c:v>43.617640999999999</c:v>
                      </c:pt>
                      <c:pt idx="9">
                        <c:v>44.545436000000002</c:v>
                      </c:pt>
                      <c:pt idx="10">
                        <c:v>41.403309999999998</c:v>
                      </c:pt>
                      <c:pt idx="11">
                        <c:v>42.115876</c:v>
                      </c:pt>
                      <c:pt idx="12">
                        <c:v>39.743237000000001</c:v>
                      </c:pt>
                      <c:pt idx="13">
                        <c:v>42.646582000000002</c:v>
                      </c:pt>
                      <c:pt idx="14">
                        <c:v>40.323042999999998</c:v>
                      </c:pt>
                      <c:pt idx="15">
                        <c:v>52.877302</c:v>
                      </c:pt>
                      <c:pt idx="16">
                        <c:v>52.359431000000001</c:v>
                      </c:pt>
                      <c:pt idx="17">
                        <c:v>50.322519999999997</c:v>
                      </c:pt>
                      <c:pt idx="18">
                        <c:v>52.78004</c:v>
                      </c:pt>
                      <c:pt idx="19">
                        <c:v>49.372244999999999</c:v>
                      </c:pt>
                      <c:pt idx="20">
                        <c:v>50.002222000000003</c:v>
                      </c:pt>
                      <c:pt idx="21">
                        <c:v>46.193210000000001</c:v>
                      </c:pt>
                      <c:pt idx="22">
                        <c:v>41.510463999999999</c:v>
                      </c:pt>
                      <c:pt idx="23">
                        <c:v>40.221505000000001</c:v>
                      </c:pt>
                      <c:pt idx="24">
                        <c:v>42.523161999999999</c:v>
                      </c:pt>
                      <c:pt idx="25">
                        <c:v>45.628883999999999</c:v>
                      </c:pt>
                      <c:pt idx="26">
                        <c:v>40.031787999999999</c:v>
                      </c:pt>
                      <c:pt idx="27">
                        <c:v>51.652650000000001</c:v>
                      </c:pt>
                      <c:pt idx="28">
                        <c:v>50.177590000000002</c:v>
                      </c:pt>
                      <c:pt idx="29">
                        <c:v>54.531019999999998</c:v>
                      </c:pt>
                      <c:pt idx="30">
                        <c:v>56.857843000000003</c:v>
                      </c:pt>
                      <c:pt idx="31">
                        <c:v>50.233561999999999</c:v>
                      </c:pt>
                      <c:pt idx="32">
                        <c:v>48.179372000000001</c:v>
                      </c:pt>
                      <c:pt idx="33">
                        <c:v>47.120365</c:v>
                      </c:pt>
                      <c:pt idx="34">
                        <c:v>35.507016999999998</c:v>
                      </c:pt>
                    </c:numCache>
                  </c:numRef>
                </c:val>
                <c:extLst>
                  <c:ext xmlns:c16="http://schemas.microsoft.com/office/drawing/2014/chart" uri="{C3380CC4-5D6E-409C-BE32-E72D297353CC}">
                    <c16:uniqueId val="{00000001-A582-417D-A5F8-2A0075530F50}"/>
                  </c:ext>
                </c:extLst>
              </c15:ser>
            </c15:filteredBarSeries>
            <c15:filteredBarSeries>
              <c15:ser>
                <c:idx val="2"/>
                <c:order val="2"/>
                <c:tx>
                  <c:strRef>
                    <c:extLst xmlns:c15="http://schemas.microsoft.com/office/drawing/2012/chart">
                      <c:ext xmlns:c15="http://schemas.microsoft.com/office/drawing/2012/chart" uri="{02D57815-91ED-43cb-92C2-25804820EDAC}">
                        <c15:formulaRef>
                          <c15:sqref>Sheet1!$D$1</c15:sqref>
                        </c15:formulaRef>
                      </c:ext>
                    </c:extLst>
                    <c:strCache>
                      <c:ptCount val="1"/>
                      <c:pt idx="0">
                        <c:v>Sector 2</c:v>
                      </c:pt>
                    </c:strCache>
                  </c:strRef>
                </c:tx>
                <c:spPr>
                  <a:solidFill>
                    <a:schemeClr val="dk1">
                      <a:tint val="75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D$2:$D$36</c15:sqref>
                        </c15:formulaRef>
                      </c:ext>
                    </c:extLst>
                    <c:numCache>
                      <c:formatCode>General</c:formatCode>
                      <c:ptCount val="35"/>
                      <c:pt idx="0">
                        <c:v>19.557812999999999</c:v>
                      </c:pt>
                      <c:pt idx="1">
                        <c:v>23.784803</c:v>
                      </c:pt>
                      <c:pt idx="2">
                        <c:v>21.799987000000002</c:v>
                      </c:pt>
                      <c:pt idx="3">
                        <c:v>25.857672000000001</c:v>
                      </c:pt>
                      <c:pt idx="4">
                        <c:v>24.992432999999998</c:v>
                      </c:pt>
                      <c:pt idx="5">
                        <c:v>26.955321999999999</c:v>
                      </c:pt>
                      <c:pt idx="6">
                        <c:v>32.419100999999998</c:v>
                      </c:pt>
                      <c:pt idx="7">
                        <c:v>29.344944999999999</c:v>
                      </c:pt>
                      <c:pt idx="8">
                        <c:v>27.493164</c:v>
                      </c:pt>
                      <c:pt idx="9">
                        <c:v>23.275084</c:v>
                      </c:pt>
                      <c:pt idx="10">
                        <c:v>24.237242999999999</c:v>
                      </c:pt>
                      <c:pt idx="11">
                        <c:v>23.067723999999998</c:v>
                      </c:pt>
                      <c:pt idx="12">
                        <c:v>23.036899999999999</c:v>
                      </c:pt>
                      <c:pt idx="13">
                        <c:v>25.516981000000001</c:v>
                      </c:pt>
                      <c:pt idx="14">
                        <c:v>22.874832000000001</c:v>
                      </c:pt>
                      <c:pt idx="15">
                        <c:v>26.349399999999999</c:v>
                      </c:pt>
                      <c:pt idx="16">
                        <c:v>29.881401</c:v>
                      </c:pt>
                      <c:pt idx="17">
                        <c:v>31.686630000000001</c:v>
                      </c:pt>
                      <c:pt idx="18">
                        <c:v>34.259588000000001</c:v>
                      </c:pt>
                      <c:pt idx="19">
                        <c:v>31.563769000000001</c:v>
                      </c:pt>
                      <c:pt idx="20">
                        <c:v>27.452038999999999</c:v>
                      </c:pt>
                      <c:pt idx="21">
                        <c:v>24.840769999999999</c:v>
                      </c:pt>
                      <c:pt idx="22">
                        <c:v>26.102284999999998</c:v>
                      </c:pt>
                      <c:pt idx="23">
                        <c:v>23.897715000000002</c:v>
                      </c:pt>
                      <c:pt idx="24">
                        <c:v>25.006601</c:v>
                      </c:pt>
                      <c:pt idx="25">
                        <c:v>27.601903</c:v>
                      </c:pt>
                      <c:pt idx="26">
                        <c:v>22.956002999999999</c:v>
                      </c:pt>
                      <c:pt idx="27">
                        <c:v>26.913005999999999</c:v>
                      </c:pt>
                      <c:pt idx="28">
                        <c:v>31.412331999999999</c:v>
                      </c:pt>
                      <c:pt idx="29">
                        <c:v>32.630974000000002</c:v>
                      </c:pt>
                      <c:pt idx="30">
                        <c:v>31.591038000000001</c:v>
                      </c:pt>
                      <c:pt idx="31">
                        <c:v>31.863667</c:v>
                      </c:pt>
                      <c:pt idx="32">
                        <c:v>31.422338</c:v>
                      </c:pt>
                      <c:pt idx="33">
                        <c:v>28.426777000000001</c:v>
                      </c:pt>
                      <c:pt idx="34">
                        <c:v>26.165305</c:v>
                      </c:pt>
                    </c:numCache>
                  </c:numRef>
                </c:val>
                <c:extLst xmlns:c15="http://schemas.microsoft.com/office/drawing/2012/chart">
                  <c:ext xmlns:c16="http://schemas.microsoft.com/office/drawing/2014/chart" uri="{C3380CC4-5D6E-409C-BE32-E72D297353CC}">
                    <c16:uniqueId val="{00000000-2D16-4906-BB22-77AF188F6975}"/>
                  </c:ext>
                </c:extLst>
              </c15:ser>
            </c15:filteredBarSeries>
            <c15:filteredBarSeries>
              <c15:ser>
                <c:idx val="3"/>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Sector 3</c:v>
                      </c:pt>
                    </c:strCache>
                  </c:strRef>
                </c:tx>
                <c:spPr>
                  <a:solidFill>
                    <a:schemeClr val="dk1">
                      <a:tint val="985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E$2:$E$36</c15:sqref>
                        </c15:formulaRef>
                      </c:ext>
                    </c:extLst>
                    <c:numCache>
                      <c:formatCode>General</c:formatCode>
                      <c:ptCount val="35"/>
                      <c:pt idx="0">
                        <c:v>27.462826</c:v>
                      </c:pt>
                      <c:pt idx="1">
                        <c:v>39.404572000000002</c:v>
                      </c:pt>
                      <c:pt idx="2">
                        <c:v>34.570886000000002</c:v>
                      </c:pt>
                      <c:pt idx="3">
                        <c:v>47.424028999999997</c:v>
                      </c:pt>
                      <c:pt idx="4">
                        <c:v>42.725195999999997</c:v>
                      </c:pt>
                      <c:pt idx="5">
                        <c:v>49.893875999999999</c:v>
                      </c:pt>
                      <c:pt idx="6">
                        <c:v>45.230561999999999</c:v>
                      </c:pt>
                      <c:pt idx="7">
                        <c:v>36.896878999999998</c:v>
                      </c:pt>
                      <c:pt idx="8">
                        <c:v>33.942658000000002</c:v>
                      </c:pt>
                      <c:pt idx="9">
                        <c:v>31.043399000000001</c:v>
                      </c:pt>
                      <c:pt idx="10">
                        <c:v>28.703312</c:v>
                      </c:pt>
                      <c:pt idx="11">
                        <c:v>32.247686999999999</c:v>
                      </c:pt>
                      <c:pt idx="12">
                        <c:v>39.267698000000003</c:v>
                      </c:pt>
                      <c:pt idx="13">
                        <c:v>36.104199999999999</c:v>
                      </c:pt>
                      <c:pt idx="14">
                        <c:v>35.473145000000002</c:v>
                      </c:pt>
                      <c:pt idx="15">
                        <c:v>53.202506999999997</c:v>
                      </c:pt>
                      <c:pt idx="16">
                        <c:v>50.982067999999998</c:v>
                      </c:pt>
                      <c:pt idx="17">
                        <c:v>60.592055999999999</c:v>
                      </c:pt>
                      <c:pt idx="18">
                        <c:v>55.653505000000003</c:v>
                      </c:pt>
                      <c:pt idx="19">
                        <c:v>45.804431000000001</c:v>
                      </c:pt>
                      <c:pt idx="20">
                        <c:v>42.097817999999997</c:v>
                      </c:pt>
                      <c:pt idx="21">
                        <c:v>38.569479999999999</c:v>
                      </c:pt>
                      <c:pt idx="22">
                        <c:v>32.493749000000001</c:v>
                      </c:pt>
                      <c:pt idx="23">
                        <c:v>31.329796000000002</c:v>
                      </c:pt>
                      <c:pt idx="24">
                        <c:v>33.130343000000003</c:v>
                      </c:pt>
                      <c:pt idx="25">
                        <c:v>40.916313000000002</c:v>
                      </c:pt>
                      <c:pt idx="26">
                        <c:v>34.557360000000003</c:v>
                      </c:pt>
                      <c:pt idx="27">
                        <c:v>46.799098000000001</c:v>
                      </c:pt>
                      <c:pt idx="28">
                        <c:v>46.752299000000001</c:v>
                      </c:pt>
                      <c:pt idx="29">
                        <c:v>54.888565999999997</c:v>
                      </c:pt>
                      <c:pt idx="30">
                        <c:v>56.439608999999997</c:v>
                      </c:pt>
                      <c:pt idx="31">
                        <c:v>44.964128000000002</c:v>
                      </c:pt>
                      <c:pt idx="32">
                        <c:v>45.321382999999997</c:v>
                      </c:pt>
                      <c:pt idx="33">
                        <c:v>37.671095999999999</c:v>
                      </c:pt>
                      <c:pt idx="34">
                        <c:v>31.554338999999999</c:v>
                      </c:pt>
                    </c:numCache>
                  </c:numRef>
                </c:val>
                <c:extLst xmlns:c15="http://schemas.microsoft.com/office/drawing/2012/chart">
                  <c:ext xmlns:c16="http://schemas.microsoft.com/office/drawing/2014/chart" uri="{C3380CC4-5D6E-409C-BE32-E72D297353CC}">
                    <c16:uniqueId val="{00000001-2D16-4906-BB22-77AF188F6975}"/>
                  </c:ext>
                </c:extLst>
              </c15:ser>
            </c15:filteredBarSeries>
            <c15:filteredBarSeries>
              <c15:ser>
                <c:idx val="4"/>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Sector 4</c:v>
                      </c:pt>
                    </c:strCache>
                  </c:strRef>
                </c:tx>
                <c:spPr>
                  <a:solidFill>
                    <a:schemeClr val="dk1">
                      <a:tint val="30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F$2:$F$36</c15:sqref>
                        </c15:formulaRef>
                      </c:ext>
                    </c:extLst>
                    <c:numCache>
                      <c:formatCode>General</c:formatCode>
                      <c:ptCount val="35"/>
                      <c:pt idx="0">
                        <c:v>28.541810999999999</c:v>
                      </c:pt>
                      <c:pt idx="1">
                        <c:v>29.052481</c:v>
                      </c:pt>
                      <c:pt idx="2">
                        <c:v>33.367750000000001</c:v>
                      </c:pt>
                      <c:pt idx="3">
                        <c:v>35.968623999999998</c:v>
                      </c:pt>
                      <c:pt idx="4">
                        <c:v>33.207349000000001</c:v>
                      </c:pt>
                      <c:pt idx="5">
                        <c:v>35.057527</c:v>
                      </c:pt>
                      <c:pt idx="6">
                        <c:v>38.900894999999998</c:v>
                      </c:pt>
                      <c:pt idx="7">
                        <c:v>43.694178999999998</c:v>
                      </c:pt>
                      <c:pt idx="8">
                        <c:v>62.841144999999997</c:v>
                      </c:pt>
                      <c:pt idx="9">
                        <c:v>54.763354999999997</c:v>
                      </c:pt>
                      <c:pt idx="10">
                        <c:v>89.252371999999994</c:v>
                      </c:pt>
                      <c:pt idx="11">
                        <c:v>25.975645</c:v>
                      </c:pt>
                      <c:pt idx="12">
                        <c:v>30.148197</c:v>
                      </c:pt>
                      <c:pt idx="13">
                        <c:v>36.475974999999998</c:v>
                      </c:pt>
                      <c:pt idx="14">
                        <c:v>29.658926000000001</c:v>
                      </c:pt>
                      <c:pt idx="15">
                        <c:v>35.421528000000002</c:v>
                      </c:pt>
                      <c:pt idx="16">
                        <c:v>32.439849000000002</c:v>
                      </c:pt>
                      <c:pt idx="17">
                        <c:v>35.716830000000002</c:v>
                      </c:pt>
                      <c:pt idx="18">
                        <c:v>41.225175999999998</c:v>
                      </c:pt>
                      <c:pt idx="19">
                        <c:v>43.331505999999997</c:v>
                      </c:pt>
                      <c:pt idx="20">
                        <c:v>67.705122000000003</c:v>
                      </c:pt>
                      <c:pt idx="21">
                        <c:v>56.56662</c:v>
                      </c:pt>
                      <c:pt idx="22">
                        <c:v>91.018388000000002</c:v>
                      </c:pt>
                      <c:pt idx="23">
                        <c:v>26.250737000000001</c:v>
                      </c:pt>
                      <c:pt idx="24">
                        <c:v>30.771353000000001</c:v>
                      </c:pt>
                      <c:pt idx="25">
                        <c:v>32.781751</c:v>
                      </c:pt>
                      <c:pt idx="26">
                        <c:v>40.871063999999997</c:v>
                      </c:pt>
                      <c:pt idx="27">
                        <c:v>36.555362000000002</c:v>
                      </c:pt>
                      <c:pt idx="28">
                        <c:v>33.561486000000002</c:v>
                      </c:pt>
                      <c:pt idx="29">
                        <c:v>37.536104000000002</c:v>
                      </c:pt>
                      <c:pt idx="30">
                        <c:v>45.721882000000001</c:v>
                      </c:pt>
                      <c:pt idx="31">
                        <c:v>44.358134999999997</c:v>
                      </c:pt>
                      <c:pt idx="32">
                        <c:v>73.994276999999997</c:v>
                      </c:pt>
                      <c:pt idx="33">
                        <c:v>62.661236000000002</c:v>
                      </c:pt>
                      <c:pt idx="34">
                        <c:v>91.533505000000005</c:v>
                      </c:pt>
                    </c:numCache>
                  </c:numRef>
                </c:val>
                <c:extLst xmlns:c15="http://schemas.microsoft.com/office/drawing/2012/chart">
                  <c:ext xmlns:c16="http://schemas.microsoft.com/office/drawing/2014/chart" uri="{C3380CC4-5D6E-409C-BE32-E72D297353CC}">
                    <c16:uniqueId val="{00000002-2D16-4906-BB22-77AF188F6975}"/>
                  </c:ext>
                </c:extLst>
              </c15:ser>
            </c15:filteredBarSeries>
            <c15:filteredBarSeries>
              <c15:ser>
                <c:idx val="5"/>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Sector 5</c:v>
                      </c:pt>
                    </c:strCache>
                  </c:strRef>
                </c:tx>
                <c:spPr>
                  <a:solidFill>
                    <a:schemeClr val="dk1">
                      <a:tint val="60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G$2:$G$36</c15:sqref>
                        </c15:formulaRef>
                      </c:ext>
                    </c:extLst>
                    <c:numCache>
                      <c:formatCode>General</c:formatCode>
                      <c:ptCount val="35"/>
                      <c:pt idx="0">
                        <c:v>12.194502</c:v>
                      </c:pt>
                      <c:pt idx="1">
                        <c:v>7.156504</c:v>
                      </c:pt>
                      <c:pt idx="2">
                        <c:v>12.852249</c:v>
                      </c:pt>
                      <c:pt idx="3">
                        <c:v>17.913703000000002</c:v>
                      </c:pt>
                      <c:pt idx="4">
                        <c:v>9.8828340000000008</c:v>
                      </c:pt>
                      <c:pt idx="5">
                        <c:v>9.6037440000000007</c:v>
                      </c:pt>
                      <c:pt idx="6">
                        <c:v>11.410088999999999</c:v>
                      </c:pt>
                      <c:pt idx="7">
                        <c:v>11.869301</c:v>
                      </c:pt>
                      <c:pt idx="8">
                        <c:v>10.943581</c:v>
                      </c:pt>
                      <c:pt idx="9">
                        <c:v>24.200908999999999</c:v>
                      </c:pt>
                      <c:pt idx="10">
                        <c:v>59.814160000000001</c:v>
                      </c:pt>
                      <c:pt idx="11">
                        <c:v>7.4327399999999999</c:v>
                      </c:pt>
                      <c:pt idx="12">
                        <c:v>12.873098000000001</c:v>
                      </c:pt>
                      <c:pt idx="13">
                        <c:v>17.347481999999999</c:v>
                      </c:pt>
                      <c:pt idx="14">
                        <c:v>14.342812</c:v>
                      </c:pt>
                      <c:pt idx="15">
                        <c:v>16.454574000000001</c:v>
                      </c:pt>
                      <c:pt idx="16">
                        <c:v>8.7173169999999995</c:v>
                      </c:pt>
                      <c:pt idx="17">
                        <c:v>8.7356230000000004</c:v>
                      </c:pt>
                      <c:pt idx="18">
                        <c:v>11.042906</c:v>
                      </c:pt>
                      <c:pt idx="19">
                        <c:v>11.438431</c:v>
                      </c:pt>
                      <c:pt idx="20">
                        <c:v>12.034544</c:v>
                      </c:pt>
                      <c:pt idx="21">
                        <c:v>28.273</c:v>
                      </c:pt>
                      <c:pt idx="22">
                        <c:v>61.781478999999997</c:v>
                      </c:pt>
                      <c:pt idx="23">
                        <c:v>8.5091110000000008</c:v>
                      </c:pt>
                      <c:pt idx="24">
                        <c:v>14.055974000000001</c:v>
                      </c:pt>
                      <c:pt idx="25">
                        <c:v>10.074814999999999</c:v>
                      </c:pt>
                      <c:pt idx="26">
                        <c:v>26.582386</c:v>
                      </c:pt>
                      <c:pt idx="27">
                        <c:v>16.377361000000001</c:v>
                      </c:pt>
                      <c:pt idx="28">
                        <c:v>10.356033</c:v>
                      </c:pt>
                      <c:pt idx="29">
                        <c:v>11.832685</c:v>
                      </c:pt>
                      <c:pt idx="30">
                        <c:v>14.576200999999999</c:v>
                      </c:pt>
                      <c:pt idx="31">
                        <c:v>14.285002</c:v>
                      </c:pt>
                      <c:pt idx="32">
                        <c:v>16.927510000000002</c:v>
                      </c:pt>
                      <c:pt idx="33">
                        <c:v>34.868727999999997</c:v>
                      </c:pt>
                      <c:pt idx="34">
                        <c:v>70.545312999999993</c:v>
                      </c:pt>
                    </c:numCache>
                  </c:numRef>
                </c:val>
                <c:extLst xmlns:c15="http://schemas.microsoft.com/office/drawing/2012/chart">
                  <c:ext xmlns:c16="http://schemas.microsoft.com/office/drawing/2014/chart" uri="{C3380CC4-5D6E-409C-BE32-E72D297353CC}">
                    <c16:uniqueId val="{00000003-2D16-4906-BB22-77AF188F6975}"/>
                  </c:ext>
                </c:extLst>
              </c15:ser>
            </c15:filteredBarSeries>
            <c15:filteredBarSeries>
              <c15:ser>
                <c:idx val="6"/>
                <c:order val="6"/>
                <c:tx>
                  <c:strRef>
                    <c:extLst xmlns:c15="http://schemas.microsoft.com/office/drawing/2012/chart">
                      <c:ext xmlns:c15="http://schemas.microsoft.com/office/drawing/2012/chart" uri="{02D57815-91ED-43cb-92C2-25804820EDAC}">
                        <c15:formulaRef>
                          <c15:sqref>Sheet1!$H$1</c15:sqref>
                        </c15:formulaRef>
                      </c:ext>
                    </c:extLst>
                    <c:strCache>
                      <c:ptCount val="1"/>
                      <c:pt idx="0">
                        <c:v>Sector 6</c:v>
                      </c:pt>
                    </c:strCache>
                  </c:strRef>
                </c:tx>
                <c:spPr>
                  <a:solidFill>
                    <a:schemeClr val="dk1">
                      <a:tint val="80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H$2:$H$36</c15:sqref>
                        </c15:formulaRef>
                      </c:ext>
                    </c:extLst>
                    <c:numCache>
                      <c:formatCode>General</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numRef>
                </c:val>
                <c:extLst xmlns:c15="http://schemas.microsoft.com/office/drawing/2012/chart">
                  <c:ext xmlns:c16="http://schemas.microsoft.com/office/drawing/2014/chart" uri="{C3380CC4-5D6E-409C-BE32-E72D297353CC}">
                    <c16:uniqueId val="{00000003-CB01-4B89-A725-1CA2D0FD4A84}"/>
                  </c:ext>
                </c:extLst>
              </c15:ser>
            </c15:filteredBarSeries>
          </c:ext>
        </c:extLst>
      </c:barChart>
      <c:lineChart>
        <c:grouping val="stacked"/>
        <c:varyColors val="0"/>
        <c:ser>
          <c:idx val="0"/>
          <c:order val="0"/>
          <c:tx>
            <c:strRef>
              <c:f>Sheet1!$E$1</c:f>
              <c:strCache>
                <c:ptCount val="1"/>
                <c:pt idx="0">
                  <c:v>Total</c:v>
                </c:pt>
              </c:strCache>
            </c:strRef>
          </c:tx>
          <c:spPr>
            <a:solidFill>
              <a:srgbClr val="9B9898"/>
            </a:solidFill>
            <a:ln w="19050" cap="rnd" cmpd="sng" algn="ctr">
              <a:solidFill>
                <a:schemeClr val="accent1"/>
              </a:solidFill>
              <a:prstDash val="solid"/>
              <a:round/>
            </a:ln>
            <a:effectLst/>
          </c:spPr>
          <c:marker>
            <c:symbol val="circle"/>
            <c:size val="10"/>
            <c:spPr>
              <a:solidFill>
                <a:schemeClr val="accent1"/>
              </a:solidFill>
              <a:ln w="6350" cap="flat" cmpd="sng" algn="ctr">
                <a:solidFill>
                  <a:schemeClr val="accent1"/>
                </a:solidFill>
                <a:prstDash val="solid"/>
                <a:round/>
              </a:ln>
              <a:effectLst/>
            </c:spPr>
          </c:marker>
          <c:dPt>
            <c:idx val="0"/>
            <c:bubble3D val="0"/>
            <c:spPr>
              <a:ln w="19050" cap="rnd" cmpd="sng" algn="ctr">
                <a:solidFill>
                  <a:schemeClr val="accent1"/>
                </a:solidFill>
                <a:prstDash val="solid"/>
                <a:round/>
              </a:ln>
              <a:effectLst/>
            </c:spPr>
            <c:extLst>
              <c:ext xmlns:c16="http://schemas.microsoft.com/office/drawing/2014/chart" uri="{C3380CC4-5D6E-409C-BE32-E72D297353CC}">
                <c16:uniqueId val="{00000005-2D16-4906-BB22-77AF188F6975}"/>
              </c:ext>
            </c:extLst>
          </c:dPt>
          <c:cat>
            <c:strRef>
              <c:f>Sheet1!$A$2:$A$36</c:f>
              <c:strCache>
                <c:ptCount val="35"/>
                <c:pt idx="0">
                  <c:v>Oct-21</c:v>
                </c:pt>
                <c:pt idx="1">
                  <c:v>Nov-21</c:v>
                </c:pt>
                <c:pt idx="2">
                  <c:v>Dec-21</c:v>
                </c:pt>
                <c:pt idx="3">
                  <c:v>Jan-22</c:v>
                </c:pt>
                <c:pt idx="4">
                  <c:v>Feb-22</c:v>
                </c:pt>
                <c:pt idx="5">
                  <c:v>Mar-22</c:v>
                </c:pt>
                <c:pt idx="6">
                  <c:v>Apr-22</c:v>
                </c:pt>
                <c:pt idx="7">
                  <c:v>May-22</c:v>
                </c:pt>
                <c:pt idx="8">
                  <c:v>Jun-22</c:v>
                </c:pt>
                <c:pt idx="9">
                  <c:v>Jul-22</c:v>
                </c:pt>
                <c:pt idx="10">
                  <c:v>Aug-22</c:v>
                </c:pt>
                <c:pt idx="11">
                  <c:v>Sep-22</c:v>
                </c:pt>
                <c:pt idx="12">
                  <c:v>Oct-22</c:v>
                </c:pt>
                <c:pt idx="13">
                  <c:v>Nov-22</c:v>
                </c:pt>
                <c:pt idx="14">
                  <c:v>Dec-22</c:v>
                </c:pt>
                <c:pt idx="15">
                  <c:v>Jan-23</c:v>
                </c:pt>
                <c:pt idx="16">
                  <c:v>Feb-23</c:v>
                </c:pt>
                <c:pt idx="17">
                  <c:v>Mar-23</c:v>
                </c:pt>
                <c:pt idx="18">
                  <c:v>Apr-23</c:v>
                </c:pt>
                <c:pt idx="19">
                  <c:v>May-23</c:v>
                </c:pt>
                <c:pt idx="20">
                  <c:v>Jun-23</c:v>
                </c:pt>
                <c:pt idx="21">
                  <c:v>Jul-23</c:v>
                </c:pt>
                <c:pt idx="22">
                  <c:v>Aug-23</c:v>
                </c:pt>
                <c:pt idx="23">
                  <c:v>Sep-23</c:v>
                </c:pt>
                <c:pt idx="24">
                  <c:v>Oct-23</c:v>
                </c:pt>
                <c:pt idx="25">
                  <c:v>Nov-23</c:v>
                </c:pt>
                <c:pt idx="26">
                  <c:v>Dec-23</c:v>
                </c:pt>
                <c:pt idx="27">
                  <c:v>Jan-24</c:v>
                </c:pt>
                <c:pt idx="28">
                  <c:v>Feb-24</c:v>
                </c:pt>
                <c:pt idx="29">
                  <c:v>Mar-24</c:v>
                </c:pt>
                <c:pt idx="30">
                  <c:v>Apr-24</c:v>
                </c:pt>
                <c:pt idx="31">
                  <c:v>May-24</c:v>
                </c:pt>
                <c:pt idx="32">
                  <c:v>Jun-24</c:v>
                </c:pt>
                <c:pt idx="33">
                  <c:v>Jul-24</c:v>
                </c:pt>
                <c:pt idx="34">
                  <c:v>Aug-24</c:v>
                </c:pt>
              </c:strCache>
            </c:strRef>
          </c:cat>
          <c:val>
            <c:numRef>
              <c:f>Sheet1!$E$2:$E$36</c:f>
              <c:numCache>
                <c:formatCode>General</c:formatCode>
                <c:ptCount val="35"/>
                <c:pt idx="0">
                  <c:v>7.076927</c:v>
                </c:pt>
                <c:pt idx="1">
                  <c:v>6.422422</c:v>
                </c:pt>
                <c:pt idx="2">
                  <c:v>6.684903</c:v>
                </c:pt>
                <c:pt idx="3">
                  <c:v>5.669776</c:v>
                </c:pt>
                <c:pt idx="4">
                  <c:v>5.589447</c:v>
                </c:pt>
                <c:pt idx="5">
                  <c:v>9.221269</c:v>
                </c:pt>
                <c:pt idx="6">
                  <c:v>8.043475</c:v>
                </c:pt>
                <c:pt idx="7">
                  <c:v>9.278757</c:v>
                </c:pt>
                <c:pt idx="8">
                  <c:v>8.115859</c:v>
                </c:pt>
                <c:pt idx="9">
                  <c:v>7.771105</c:v>
                </c:pt>
                <c:pt idx="10">
                  <c:v>7.369435</c:v>
                </c:pt>
                <c:pt idx="11">
                  <c:v>6.266166</c:v>
                </c:pt>
                <c:pt idx="12">
                  <c:v>6.188218</c:v>
                </c:pt>
                <c:pt idx="13">
                  <c:v>5.452124</c:v>
                </c:pt>
                <c:pt idx="14">
                  <c:v>6.394831</c:v>
                </c:pt>
                <c:pt idx="15">
                  <c:v>5.631497</c:v>
                </c:pt>
                <c:pt idx="16">
                  <c:v>5.948146</c:v>
                </c:pt>
                <c:pt idx="17">
                  <c:v>7.993665</c:v>
                </c:pt>
                <c:pt idx="18">
                  <c:v>7.199787</c:v>
                </c:pt>
                <c:pt idx="19">
                  <c:v>8.452795</c:v>
                </c:pt>
                <c:pt idx="20">
                  <c:v>8.704926</c:v>
                </c:pt>
                <c:pt idx="21">
                  <c:v>8.315124</c:v>
                </c:pt>
                <c:pt idx="22">
                  <c:v>7.444752</c:v>
                </c:pt>
                <c:pt idx="23">
                  <c:v>6.460808</c:v>
                </c:pt>
                <c:pt idx="24">
                  <c:v>6.229707</c:v>
                </c:pt>
                <c:pt idx="25">
                  <c:v>5.580007</c:v>
                </c:pt>
                <c:pt idx="26">
                  <c:v>6.415978</c:v>
                </c:pt>
                <c:pt idx="27">
                  <c:v>5.289982</c:v>
                </c:pt>
                <c:pt idx="28">
                  <c:v>5.427101</c:v>
                </c:pt>
                <c:pt idx="29">
                  <c:v>6.273881</c:v>
                </c:pt>
                <c:pt idx="30">
                  <c:v>6.902965</c:v>
                </c:pt>
                <c:pt idx="31">
                  <c:v>7.380731</c:v>
                </c:pt>
                <c:pt idx="32">
                  <c:v>7.994547</c:v>
                </c:pt>
                <c:pt idx="33">
                  <c:v>8.461793</c:v>
                </c:pt>
                <c:pt idx="34">
                  <c:v>8.989562</c:v>
                </c:pt>
              </c:numCache>
            </c:numRef>
          </c:val>
          <c:smooth val="0"/>
          <c:extLst>
            <c:ext xmlns:c16="http://schemas.microsoft.com/office/drawing/2014/chart" uri="{C3380CC4-5D6E-409C-BE32-E72D297353CC}">
              <c16:uniqueId val="{00000000-A582-417D-A5F8-2A0075530F50}"/>
            </c:ext>
          </c:extLst>
        </c:ser>
        <c:dLbls>
          <c:showLegendKey val="0"/>
          <c:showVal val="0"/>
          <c:showCatName val="0"/>
          <c:showSerName val="0"/>
          <c:showPercent val="0"/>
          <c:showBubbleSize val="0"/>
        </c:dLbls>
        <c:marker val="1"/>
        <c:smooth val="0"/>
        <c:axId val="1624167016"/>
        <c:axId val="1624169640"/>
      </c:lineChart>
      <c:catAx>
        <c:axId val="1624167016"/>
        <c:scaling>
          <c:orientation val="minMax"/>
        </c:scaling>
        <c:delete val="0"/>
        <c:axPos val="b"/>
        <c:numFmt formatCode="General" sourceLinked="1"/>
        <c:majorTickMark val="none"/>
        <c:minorTickMark val="none"/>
        <c:tickLblPos val="nextTo"/>
        <c:spPr>
          <a:noFill/>
          <a:ln w="9525" cap="flat" cmpd="sng" algn="ctr">
            <a:noFill/>
            <a:prstDash val="solid"/>
            <a:round/>
          </a:ln>
          <a:effectLst/>
        </c:spPr>
        <c:txPr>
          <a:bodyPr rot="0" spcFirstLastPara="1" vertOverflow="ellipsis" wrap="square" anchor="ctr" anchorCtr="1"/>
          <a:lstStyle/>
          <a:p>
            <a:pPr algn="ctr">
              <a:defRPr lang="en-US" sz="800" b="0" i="0" u="none" strike="noStrike" kern="1200" baseline="0">
                <a:solidFill>
                  <a:schemeClr val="tx1"/>
                </a:solidFill>
                <a:latin typeface="+mj-lt"/>
                <a:ea typeface="+mn-ea"/>
                <a:cs typeface="+mn-cs"/>
              </a:defRPr>
            </a:pPr>
            <a:endParaRPr lang="en-US"/>
          </a:p>
        </c:txPr>
        <c:crossAx val="1624169640"/>
        <c:crosses val="autoZero"/>
        <c:auto val="1"/>
        <c:lblAlgn val="ctr"/>
        <c:lblOffset val="100"/>
        <c:tickLblSkip val="3"/>
        <c:noMultiLvlLbl val="1"/>
      </c:catAx>
      <c:valAx>
        <c:axId val="1624169640"/>
        <c:scaling>
          <c:orientation val="minMax"/>
        </c:scaling>
        <c:delete val="0"/>
        <c:axPos val="l"/>
        <c:numFmt formatCode="#,##0" sourceLinked="0"/>
        <c:majorTickMark val="none"/>
        <c:minorTickMark val="none"/>
        <c:tickLblPos val="nextTo"/>
        <c:spPr>
          <a:noFill/>
          <a:ln w="6350" cap="flat" cmpd="sng" algn="ctr">
            <a:noFill/>
            <a:prstDash val="solid"/>
            <a:round/>
          </a:ln>
          <a:effectLst/>
        </c:spPr>
        <c:txPr>
          <a:bodyPr rot="-60000000" spcFirstLastPara="1" vertOverflow="ellipsis" vert="horz" wrap="square" anchor="ctr" anchorCtr="1"/>
          <a:lstStyle/>
          <a:p>
            <a:pP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a:p>
        </c:txPr>
        <c:crossAx val="1624167016"/>
        <c:crosses val="autoZero"/>
        <c:crossBetween val="between"/>
      </c:valAx>
      <c:spPr>
        <a:noFill/>
        <a:ln>
          <a:noFill/>
        </a:ln>
        <a:effectLst/>
      </c:spPr>
    </c:plotArea>
    <c:legend>
      <c:legendPos val="b"/>
      <c:layout>
        <c:manualLayout>
          <c:xMode val="edge"/>
          <c:yMode val="edge"/>
          <c:x val="7.3660685603241294E-2"/>
          <c:y val="0.81729018208272031"/>
          <c:w val="0.90289148980965561"/>
          <c:h val="0.13936961130964612"/>
        </c:manualLayout>
      </c:layout>
      <c:overlay val="0"/>
      <c:spPr>
        <a:noFill/>
        <a:ln>
          <a:noFill/>
        </a:ln>
        <a:effectLst/>
      </c:spPr>
      <c:txPr>
        <a:bodyPr rot="0" spcFirstLastPara="1" vertOverflow="ellipsis" vert="horz" wrap="square" anchor="ctr" anchorCtr="0"/>
        <a:lstStyle/>
        <a:p>
          <a:pPr algn="ctr">
            <a:defRPr lang="en-US"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6350" cap="flat" cmpd="sng" algn="ctr">
      <a:noFill/>
      <a:prstDash val="solid"/>
      <a:miter lim="800000"/>
    </a:ln>
    <a:effectLst/>
  </c:spPr>
  <c:txPr>
    <a:bodyPr/>
    <a:lstStyle/>
    <a:p>
      <a:pPr algn="ctr">
        <a:defRPr lang="en-US" sz="900" b="0" i="0" u="none" strike="noStrike" kern="120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manualLayout>
          <c:layoutTarget val="inner"/>
          <c:xMode val="edge"/>
          <c:yMode val="edge"/>
          <c:x val="4.5205042438763526E-2"/>
          <c:y val="9.9397151645846074E-2"/>
          <c:w val="0.93468942653552012"/>
          <c:h val="0.61239220651000625"/>
        </c:manualLayout>
      </c:layout>
      <c:barChart>
        <c:barDir val="col"/>
        <c:grouping val="stacked"/>
        <c:varyColors val="0"/>
        <c:ser>
          <c:idx val="13"/>
          <c:order val="13"/>
          <c:tx>
            <c:strRef>
              <c:f>Sheet1!$B$1</c:f>
              <c:strCache>
                <c:ptCount val="1"/>
                <c:pt idx="0">
                  <c:v>Dermaplane</c:v>
                </c:pt>
              </c:strCache>
            </c:strRef>
          </c:tx>
          <c:spPr>
            <a:solidFill>
              <a:srgbClr val="00A097"/>
            </a:solidFill>
            <a:ln>
              <a:noFill/>
            </a:ln>
            <a:effectLst/>
          </c:spPr>
          <c:invertIfNegative val="0"/>
          <c:cat>
            <c:strRef>
              <c:f>Sheet1!$A$2:$A$36</c:f>
              <c:strCache>
                <c:ptCount val="35"/>
                <c:pt idx="0">
                  <c:v>Oct-21</c:v>
                </c:pt>
                <c:pt idx="1">
                  <c:v>Nov-21</c:v>
                </c:pt>
                <c:pt idx="2">
                  <c:v>Dec-21</c:v>
                </c:pt>
                <c:pt idx="3">
                  <c:v>Jan-22</c:v>
                </c:pt>
                <c:pt idx="4">
                  <c:v>Feb-22</c:v>
                </c:pt>
                <c:pt idx="5">
                  <c:v>Mar-22</c:v>
                </c:pt>
                <c:pt idx="6">
                  <c:v>Apr-22</c:v>
                </c:pt>
                <c:pt idx="7">
                  <c:v>May-22</c:v>
                </c:pt>
                <c:pt idx="8">
                  <c:v>Jun-22</c:v>
                </c:pt>
                <c:pt idx="9">
                  <c:v>Jul-22</c:v>
                </c:pt>
                <c:pt idx="10">
                  <c:v>Aug-22</c:v>
                </c:pt>
                <c:pt idx="11">
                  <c:v>Sep-22</c:v>
                </c:pt>
                <c:pt idx="12">
                  <c:v>Oct-22</c:v>
                </c:pt>
                <c:pt idx="13">
                  <c:v>Nov-22</c:v>
                </c:pt>
                <c:pt idx="14">
                  <c:v>Dec-22</c:v>
                </c:pt>
                <c:pt idx="15">
                  <c:v>Jan-23</c:v>
                </c:pt>
                <c:pt idx="16">
                  <c:v>Feb-23</c:v>
                </c:pt>
                <c:pt idx="17">
                  <c:v>Mar-23</c:v>
                </c:pt>
                <c:pt idx="18">
                  <c:v>Apr-23</c:v>
                </c:pt>
                <c:pt idx="19">
                  <c:v>May-23</c:v>
                </c:pt>
                <c:pt idx="20">
                  <c:v>Jun-23</c:v>
                </c:pt>
                <c:pt idx="21">
                  <c:v>Jul-23</c:v>
                </c:pt>
                <c:pt idx="22">
                  <c:v>Aug-23</c:v>
                </c:pt>
                <c:pt idx="23">
                  <c:v>Sep-23</c:v>
                </c:pt>
                <c:pt idx="24">
                  <c:v>Oct-23</c:v>
                </c:pt>
                <c:pt idx="25">
                  <c:v>Nov-23</c:v>
                </c:pt>
                <c:pt idx="26">
                  <c:v>Dec-23</c:v>
                </c:pt>
                <c:pt idx="27">
                  <c:v>Jan-24</c:v>
                </c:pt>
                <c:pt idx="28">
                  <c:v>Feb-24</c:v>
                </c:pt>
                <c:pt idx="29">
                  <c:v>Mar-24</c:v>
                </c:pt>
                <c:pt idx="30">
                  <c:v>Apr-24</c:v>
                </c:pt>
                <c:pt idx="31">
                  <c:v>May-24</c:v>
                </c:pt>
                <c:pt idx="32">
                  <c:v>Jun-24</c:v>
                </c:pt>
                <c:pt idx="33">
                  <c:v>Jul-24</c:v>
                </c:pt>
                <c:pt idx="34">
                  <c:v>Aug-24</c:v>
                </c:pt>
              </c:strCache>
            </c:strRef>
          </c:cat>
          <c:val>
            <c:numRef>
              <c:f>Sheet1!$B$2:$B$36</c:f>
              <c:numCache>
                <c:formatCode>General</c:formatCode>
                <c:ptCount val="35"/>
                <c:pt idx="0">
                  <c:v>0.250909</c:v>
                </c:pt>
                <c:pt idx="1">
                  <c:v>0.219568</c:v>
                </c:pt>
                <c:pt idx="2">
                  <c:v>0.235775</c:v>
                </c:pt>
                <c:pt idx="3">
                  <c:v>0.196225</c:v>
                </c:pt>
                <c:pt idx="4">
                  <c:v>0.232528</c:v>
                </c:pt>
                <c:pt idx="5">
                  <c:v>0.29483</c:v>
                </c:pt>
                <c:pt idx="6">
                  <c:v>0.284243</c:v>
                </c:pt>
                <c:pt idx="7">
                  <c:v>0.280078</c:v>
                </c:pt>
                <c:pt idx="8">
                  <c:v>0.262388</c:v>
                </c:pt>
                <c:pt idx="9">
                  <c:v>0.268018</c:v>
                </c:pt>
                <c:pt idx="10">
                  <c:v>0.304849</c:v>
                </c:pt>
                <c:pt idx="11">
                  <c:v>0.263731</c:v>
                </c:pt>
                <c:pt idx="12">
                  <c:v>0.259921</c:v>
                </c:pt>
                <c:pt idx="13">
                  <c:v>0.261831</c:v>
                </c:pt>
                <c:pt idx="14">
                  <c:v>0.320738</c:v>
                </c:pt>
                <c:pt idx="15">
                  <c:v>0.274227</c:v>
                </c:pt>
                <c:pt idx="16">
                  <c:v>0.258633</c:v>
                </c:pt>
                <c:pt idx="17">
                  <c:v>0.312597</c:v>
                </c:pt>
                <c:pt idx="18">
                  <c:v>0.299619</c:v>
                </c:pt>
                <c:pt idx="19">
                  <c:v>0.289852</c:v>
                </c:pt>
                <c:pt idx="20">
                  <c:v>0.294369</c:v>
                </c:pt>
                <c:pt idx="21">
                  <c:v>0.314433</c:v>
                </c:pt>
                <c:pt idx="22">
                  <c:v>0.335032</c:v>
                </c:pt>
                <c:pt idx="23">
                  <c:v>0.302186</c:v>
                </c:pt>
                <c:pt idx="24">
                  <c:v>0.311273</c:v>
                </c:pt>
                <c:pt idx="25">
                  <c:v>0.288822</c:v>
                </c:pt>
                <c:pt idx="26">
                  <c:v>0.325445</c:v>
                </c:pt>
                <c:pt idx="27">
                  <c:v>0.285805</c:v>
                </c:pt>
                <c:pt idx="28">
                  <c:v>0.275569</c:v>
                </c:pt>
                <c:pt idx="29">
                  <c:v>0.291639</c:v>
                </c:pt>
                <c:pt idx="30">
                  <c:v>0.278573</c:v>
                </c:pt>
                <c:pt idx="31">
                  <c:v>0.295122</c:v>
                </c:pt>
                <c:pt idx="32">
                  <c:v>0.293219</c:v>
                </c:pt>
                <c:pt idx="33">
                  <c:v>0.305647</c:v>
                </c:pt>
                <c:pt idx="34">
                  <c:v>0.308458</c:v>
                </c:pt>
              </c:numCache>
            </c:numRef>
          </c:val>
          <c:extLst>
            <c:ext xmlns:c16="http://schemas.microsoft.com/office/drawing/2014/chart" uri="{C3380CC4-5D6E-409C-BE32-E72D297353CC}">
              <c16:uniqueId val="{0000000A-CB01-4B89-A725-1CA2D0FD4A84}"/>
            </c:ext>
          </c:extLst>
        </c:ser>
        <c:ser>
          <c:idx val="14"/>
          <c:order val="14"/>
          <c:tx>
            <c:strRef>
              <c:f>Sheet1!$C$1</c:f>
              <c:strCache>
                <c:ptCount val="1"/>
                <c:pt idx="0">
                  <c:v>Disposable</c:v>
                </c:pt>
              </c:strCache>
            </c:strRef>
          </c:tx>
          <c:spPr>
            <a:solidFill>
              <a:srgbClr val="7ECAC4"/>
            </a:solidFill>
            <a:ln>
              <a:noFill/>
            </a:ln>
            <a:effectLst/>
          </c:spPr>
          <c:invertIfNegative val="0"/>
          <c:cat>
            <c:strRef>
              <c:f>Sheet1!$A$2:$A$36</c:f>
              <c:strCache>
                <c:ptCount val="35"/>
                <c:pt idx="0">
                  <c:v>Oct-21</c:v>
                </c:pt>
                <c:pt idx="1">
                  <c:v>Nov-21</c:v>
                </c:pt>
                <c:pt idx="2">
                  <c:v>Dec-21</c:v>
                </c:pt>
                <c:pt idx="3">
                  <c:v>Jan-22</c:v>
                </c:pt>
                <c:pt idx="4">
                  <c:v>Feb-22</c:v>
                </c:pt>
                <c:pt idx="5">
                  <c:v>Mar-22</c:v>
                </c:pt>
                <c:pt idx="6">
                  <c:v>Apr-22</c:v>
                </c:pt>
                <c:pt idx="7">
                  <c:v>May-22</c:v>
                </c:pt>
                <c:pt idx="8">
                  <c:v>Jun-22</c:v>
                </c:pt>
                <c:pt idx="9">
                  <c:v>Jul-22</c:v>
                </c:pt>
                <c:pt idx="10">
                  <c:v>Aug-22</c:v>
                </c:pt>
                <c:pt idx="11">
                  <c:v>Sep-22</c:v>
                </c:pt>
                <c:pt idx="12">
                  <c:v>Oct-22</c:v>
                </c:pt>
                <c:pt idx="13">
                  <c:v>Nov-22</c:v>
                </c:pt>
                <c:pt idx="14">
                  <c:v>Dec-22</c:v>
                </c:pt>
                <c:pt idx="15">
                  <c:v>Jan-23</c:v>
                </c:pt>
                <c:pt idx="16">
                  <c:v>Feb-23</c:v>
                </c:pt>
                <c:pt idx="17">
                  <c:v>Mar-23</c:v>
                </c:pt>
                <c:pt idx="18">
                  <c:v>Apr-23</c:v>
                </c:pt>
                <c:pt idx="19">
                  <c:v>May-23</c:v>
                </c:pt>
                <c:pt idx="20">
                  <c:v>Jun-23</c:v>
                </c:pt>
                <c:pt idx="21">
                  <c:v>Jul-23</c:v>
                </c:pt>
                <c:pt idx="22">
                  <c:v>Aug-23</c:v>
                </c:pt>
                <c:pt idx="23">
                  <c:v>Sep-23</c:v>
                </c:pt>
                <c:pt idx="24">
                  <c:v>Oct-23</c:v>
                </c:pt>
                <c:pt idx="25">
                  <c:v>Nov-23</c:v>
                </c:pt>
                <c:pt idx="26">
                  <c:v>Dec-23</c:v>
                </c:pt>
                <c:pt idx="27">
                  <c:v>Jan-24</c:v>
                </c:pt>
                <c:pt idx="28">
                  <c:v>Feb-24</c:v>
                </c:pt>
                <c:pt idx="29">
                  <c:v>Mar-24</c:v>
                </c:pt>
                <c:pt idx="30">
                  <c:v>Apr-24</c:v>
                </c:pt>
                <c:pt idx="31">
                  <c:v>May-24</c:v>
                </c:pt>
                <c:pt idx="32">
                  <c:v>Jun-24</c:v>
                </c:pt>
                <c:pt idx="33">
                  <c:v>Jul-24</c:v>
                </c:pt>
                <c:pt idx="34">
                  <c:v>Aug-24</c:v>
                </c:pt>
              </c:strCache>
            </c:strRef>
          </c:cat>
          <c:val>
            <c:numRef>
              <c:f>Sheet1!$C$2:$C$36</c:f>
              <c:numCache>
                <c:formatCode>General</c:formatCode>
                <c:ptCount val="35"/>
                <c:pt idx="0">
                  <c:v>1.979238</c:v>
                </c:pt>
                <c:pt idx="1">
                  <c:v>1.964219</c:v>
                </c:pt>
                <c:pt idx="2">
                  <c:v>2.167931</c:v>
                </c:pt>
                <c:pt idx="3">
                  <c:v>1.699455</c:v>
                </c:pt>
                <c:pt idx="4">
                  <c:v>1.714295</c:v>
                </c:pt>
                <c:pt idx="5">
                  <c:v>2.103759</c:v>
                </c:pt>
                <c:pt idx="6">
                  <c:v>2.068058</c:v>
                </c:pt>
                <c:pt idx="7">
                  <c:v>2.188763</c:v>
                </c:pt>
                <c:pt idx="8">
                  <c:v>2.3035</c:v>
                </c:pt>
                <c:pt idx="9">
                  <c:v>2.4571</c:v>
                </c:pt>
                <c:pt idx="10">
                  <c:v>2.464452</c:v>
                </c:pt>
                <c:pt idx="11">
                  <c:v>2.034657</c:v>
                </c:pt>
                <c:pt idx="12">
                  <c:v>2.019091</c:v>
                </c:pt>
                <c:pt idx="13">
                  <c:v>1.887306</c:v>
                </c:pt>
                <c:pt idx="14">
                  <c:v>2.176884</c:v>
                </c:pt>
                <c:pt idx="15">
                  <c:v>1.724515</c:v>
                </c:pt>
                <c:pt idx="16">
                  <c:v>1.657015</c:v>
                </c:pt>
                <c:pt idx="17">
                  <c:v>1.901187</c:v>
                </c:pt>
                <c:pt idx="18">
                  <c:v>1.987223</c:v>
                </c:pt>
                <c:pt idx="19">
                  <c:v>2.192659</c:v>
                </c:pt>
                <c:pt idx="20">
                  <c:v>2.363229</c:v>
                </c:pt>
                <c:pt idx="21">
                  <c:v>2.490268</c:v>
                </c:pt>
                <c:pt idx="22">
                  <c:v>2.36135</c:v>
                </c:pt>
                <c:pt idx="23">
                  <c:v>1.933838</c:v>
                </c:pt>
                <c:pt idx="24">
                  <c:v>1.927327</c:v>
                </c:pt>
                <c:pt idx="25">
                  <c:v>1.831248</c:v>
                </c:pt>
                <c:pt idx="26">
                  <c:v>2.258496</c:v>
                </c:pt>
                <c:pt idx="27">
                  <c:v>1.691112</c:v>
                </c:pt>
                <c:pt idx="28">
                  <c:v>1.694037</c:v>
                </c:pt>
                <c:pt idx="29">
                  <c:v>1.930984</c:v>
                </c:pt>
                <c:pt idx="30">
                  <c:v>1.899089</c:v>
                </c:pt>
                <c:pt idx="31">
                  <c:v>2.099074</c:v>
                </c:pt>
                <c:pt idx="32">
                  <c:v>2.369251</c:v>
                </c:pt>
                <c:pt idx="33">
                  <c:v>2.411175</c:v>
                </c:pt>
                <c:pt idx="34">
                  <c:v>2.276846</c:v>
                </c:pt>
              </c:numCache>
            </c:numRef>
          </c:val>
          <c:extLst>
            <c:ext xmlns:c16="http://schemas.microsoft.com/office/drawing/2014/chart" uri="{C3380CC4-5D6E-409C-BE32-E72D297353CC}">
              <c16:uniqueId val="{0000000B-CB01-4B89-A725-1CA2D0FD4A84}"/>
            </c:ext>
          </c:extLst>
        </c:ser>
        <c:ser>
          <c:idx val="15"/>
          <c:order val="15"/>
          <c:tx>
            <c:strRef>
              <c:f>Sheet1!$D$1</c:f>
              <c:strCache>
                <c:ptCount val="1"/>
                <c:pt idx="0">
                  <c:v>System</c:v>
                </c:pt>
              </c:strCache>
            </c:strRef>
          </c:tx>
          <c:spPr>
            <a:solidFill>
              <a:srgbClr val="B2DFDC"/>
            </a:solidFill>
            <a:ln>
              <a:noFill/>
            </a:ln>
            <a:effectLst/>
          </c:spPr>
          <c:invertIfNegative val="0"/>
          <c:cat>
            <c:strRef>
              <c:f>Sheet1!$A$2:$A$36</c:f>
              <c:strCache>
                <c:ptCount val="35"/>
                <c:pt idx="0">
                  <c:v>Oct-21</c:v>
                </c:pt>
                <c:pt idx="1">
                  <c:v>Nov-21</c:v>
                </c:pt>
                <c:pt idx="2">
                  <c:v>Dec-21</c:v>
                </c:pt>
                <c:pt idx="3">
                  <c:v>Jan-22</c:v>
                </c:pt>
                <c:pt idx="4">
                  <c:v>Feb-22</c:v>
                </c:pt>
                <c:pt idx="5">
                  <c:v>Mar-22</c:v>
                </c:pt>
                <c:pt idx="6">
                  <c:v>Apr-22</c:v>
                </c:pt>
                <c:pt idx="7">
                  <c:v>May-22</c:v>
                </c:pt>
                <c:pt idx="8">
                  <c:v>Jun-22</c:v>
                </c:pt>
                <c:pt idx="9">
                  <c:v>Jul-22</c:v>
                </c:pt>
                <c:pt idx="10">
                  <c:v>Aug-22</c:v>
                </c:pt>
                <c:pt idx="11">
                  <c:v>Sep-22</c:v>
                </c:pt>
                <c:pt idx="12">
                  <c:v>Oct-22</c:v>
                </c:pt>
                <c:pt idx="13">
                  <c:v>Nov-22</c:v>
                </c:pt>
                <c:pt idx="14">
                  <c:v>Dec-22</c:v>
                </c:pt>
                <c:pt idx="15">
                  <c:v>Jan-23</c:v>
                </c:pt>
                <c:pt idx="16">
                  <c:v>Feb-23</c:v>
                </c:pt>
                <c:pt idx="17">
                  <c:v>Mar-23</c:v>
                </c:pt>
                <c:pt idx="18">
                  <c:v>Apr-23</c:v>
                </c:pt>
                <c:pt idx="19">
                  <c:v>May-23</c:v>
                </c:pt>
                <c:pt idx="20">
                  <c:v>Jun-23</c:v>
                </c:pt>
                <c:pt idx="21">
                  <c:v>Jul-23</c:v>
                </c:pt>
                <c:pt idx="22">
                  <c:v>Aug-23</c:v>
                </c:pt>
                <c:pt idx="23">
                  <c:v>Sep-23</c:v>
                </c:pt>
                <c:pt idx="24">
                  <c:v>Oct-23</c:v>
                </c:pt>
                <c:pt idx="25">
                  <c:v>Nov-23</c:v>
                </c:pt>
                <c:pt idx="26">
                  <c:v>Dec-23</c:v>
                </c:pt>
                <c:pt idx="27">
                  <c:v>Jan-24</c:v>
                </c:pt>
                <c:pt idx="28">
                  <c:v>Feb-24</c:v>
                </c:pt>
                <c:pt idx="29">
                  <c:v>Mar-24</c:v>
                </c:pt>
                <c:pt idx="30">
                  <c:v>Apr-24</c:v>
                </c:pt>
                <c:pt idx="31">
                  <c:v>May-24</c:v>
                </c:pt>
                <c:pt idx="32">
                  <c:v>Jun-24</c:v>
                </c:pt>
                <c:pt idx="33">
                  <c:v>Jul-24</c:v>
                </c:pt>
                <c:pt idx="34">
                  <c:v>Aug-24</c:v>
                </c:pt>
              </c:strCache>
            </c:strRef>
          </c:cat>
          <c:val>
            <c:numRef>
              <c:f>Sheet1!$D$2:$D$36</c:f>
              <c:numCache>
                <c:formatCode>General</c:formatCode>
                <c:ptCount val="35"/>
                <c:pt idx="0">
                  <c:v>1.581344</c:v>
                </c:pt>
                <c:pt idx="1">
                  <c:v>1.690149</c:v>
                </c:pt>
                <c:pt idx="2">
                  <c:v>1.940022</c:v>
                </c:pt>
                <c:pt idx="3">
                  <c:v>1.333551</c:v>
                </c:pt>
                <c:pt idx="4">
                  <c:v>1.511786</c:v>
                </c:pt>
                <c:pt idx="5">
                  <c:v>1.870361</c:v>
                </c:pt>
                <c:pt idx="6">
                  <c:v>1.782301</c:v>
                </c:pt>
                <c:pt idx="7">
                  <c:v>1.896325</c:v>
                </c:pt>
                <c:pt idx="8">
                  <c:v>1.990626</c:v>
                </c:pt>
                <c:pt idx="9">
                  <c:v>2.109932</c:v>
                </c:pt>
                <c:pt idx="10">
                  <c:v>2.096125</c:v>
                </c:pt>
                <c:pt idx="11">
                  <c:v>1.620755</c:v>
                </c:pt>
                <c:pt idx="12">
                  <c:v>1.667864</c:v>
                </c:pt>
                <c:pt idx="13">
                  <c:v>1.61551</c:v>
                </c:pt>
                <c:pt idx="14">
                  <c:v>2.003087</c:v>
                </c:pt>
                <c:pt idx="15">
                  <c:v>1.444511</c:v>
                </c:pt>
                <c:pt idx="16">
                  <c:v>1.37231</c:v>
                </c:pt>
                <c:pt idx="17">
                  <c:v>1.583866</c:v>
                </c:pt>
                <c:pt idx="18">
                  <c:v>1.639758</c:v>
                </c:pt>
                <c:pt idx="19">
                  <c:v>1.753464</c:v>
                </c:pt>
                <c:pt idx="20">
                  <c:v>1.844583</c:v>
                </c:pt>
                <c:pt idx="21">
                  <c:v>2.047417</c:v>
                </c:pt>
                <c:pt idx="22">
                  <c:v>1.98719</c:v>
                </c:pt>
                <c:pt idx="23">
                  <c:v>1.569107</c:v>
                </c:pt>
                <c:pt idx="24">
                  <c:v>1.554031</c:v>
                </c:pt>
                <c:pt idx="25">
                  <c:v>1.499498</c:v>
                </c:pt>
                <c:pt idx="26">
                  <c:v>1.962357</c:v>
                </c:pt>
                <c:pt idx="27">
                  <c:v>1.342437</c:v>
                </c:pt>
                <c:pt idx="28">
                  <c:v>1.392476</c:v>
                </c:pt>
                <c:pt idx="29">
                  <c:v>1.593834</c:v>
                </c:pt>
                <c:pt idx="30">
                  <c:v>1.511475</c:v>
                </c:pt>
                <c:pt idx="31">
                  <c:v>1.633178</c:v>
                </c:pt>
                <c:pt idx="32">
                  <c:v>1.842685</c:v>
                </c:pt>
                <c:pt idx="33">
                  <c:v>1.913041</c:v>
                </c:pt>
                <c:pt idx="34">
                  <c:v>1.82175</c:v>
                </c:pt>
              </c:numCache>
            </c:numRef>
          </c:val>
          <c:extLst>
            <c:ext xmlns:c16="http://schemas.microsoft.com/office/drawing/2014/chart" uri="{C3380CC4-5D6E-409C-BE32-E72D297353CC}">
              <c16:uniqueId val="{0000000C-CB01-4B89-A725-1CA2D0FD4A84}"/>
            </c:ext>
          </c:extLst>
        </c:ser>
        <c:dLbls>
          <c:showLegendKey val="0"/>
          <c:showVal val="0"/>
          <c:showCatName val="0"/>
          <c:showSerName val="0"/>
          <c:showPercent val="0"/>
          <c:showBubbleSize val="0"/>
        </c:dLbls>
        <c:gapWidth val="150"/>
        <c:overlap val="100"/>
        <c:axId val="1624167016"/>
        <c:axId val="1624169640"/>
        <c:extLst>
          <c:ext xmlns:c15="http://schemas.microsoft.com/office/drawing/2012/chart" uri="{02D57815-91ED-43cb-92C2-25804820EDAC}">
            <c15:filteredBarSeries>
              <c15:ser>
                <c:idx val="1"/>
                <c:order val="1"/>
                <c:tx>
                  <c:strRef>
                    <c:extLst>
                      <c:ext uri="{02D57815-91ED-43cb-92C2-25804820EDAC}">
                        <c15:formulaRef>
                          <c15:sqref>Sheet1!$C$1</c15:sqref>
                        </c15:formulaRef>
                      </c:ext>
                    </c:extLst>
                    <c:strCache>
                      <c:ptCount val="1"/>
                      <c:pt idx="0">
                        <c:v>Sector 1</c:v>
                      </c:pt>
                    </c:strCache>
                  </c:strRef>
                </c:tx>
                <c:spPr>
                  <a:solidFill>
                    <a:schemeClr val="dk1">
                      <a:tint val="55000"/>
                    </a:schemeClr>
                  </a:solidFill>
                  <a:ln>
                    <a:noFill/>
                  </a:ln>
                  <a:effectLst/>
                </c:spPr>
                <c:invertIfNegative val="0"/>
                <c:cat>
                  <c:strRef>
                    <c:extLst>
                      <c:ex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c:ext uri="{02D57815-91ED-43cb-92C2-25804820EDAC}">
                        <c15:formulaRef>
                          <c15:sqref>Sheet1!$C$2:$C$36</c15:sqref>
                        </c15:formulaRef>
                      </c:ext>
                    </c:extLst>
                    <c:numCache>
                      <c:formatCode>General</c:formatCode>
                      <c:ptCount val="35"/>
                      <c:pt idx="0">
                        <c:v>40.809865000000002</c:v>
                      </c:pt>
                      <c:pt idx="1">
                        <c:v>41.860694000000002</c:v>
                      </c:pt>
                      <c:pt idx="2">
                        <c:v>34.509422000000001</c:v>
                      </c:pt>
                      <c:pt idx="3">
                        <c:v>49.657702</c:v>
                      </c:pt>
                      <c:pt idx="4">
                        <c:v>50.616717999999999</c:v>
                      </c:pt>
                      <c:pt idx="5">
                        <c:v>51.539561999999997</c:v>
                      </c:pt>
                      <c:pt idx="6">
                        <c:v>53.959558000000001</c:v>
                      </c:pt>
                      <c:pt idx="7">
                        <c:v>48.84498</c:v>
                      </c:pt>
                      <c:pt idx="8">
                        <c:v>43.617640999999999</c:v>
                      </c:pt>
                      <c:pt idx="9">
                        <c:v>44.545436000000002</c:v>
                      </c:pt>
                      <c:pt idx="10">
                        <c:v>41.403309999999998</c:v>
                      </c:pt>
                      <c:pt idx="11">
                        <c:v>42.115876</c:v>
                      </c:pt>
                      <c:pt idx="12">
                        <c:v>39.743237000000001</c:v>
                      </c:pt>
                      <c:pt idx="13">
                        <c:v>42.646582000000002</c:v>
                      </c:pt>
                      <c:pt idx="14">
                        <c:v>40.323042999999998</c:v>
                      </c:pt>
                      <c:pt idx="15">
                        <c:v>52.877302</c:v>
                      </c:pt>
                      <c:pt idx="16">
                        <c:v>52.359431000000001</c:v>
                      </c:pt>
                      <c:pt idx="17">
                        <c:v>50.322519999999997</c:v>
                      </c:pt>
                      <c:pt idx="18">
                        <c:v>52.78004</c:v>
                      </c:pt>
                      <c:pt idx="19">
                        <c:v>49.372244999999999</c:v>
                      </c:pt>
                      <c:pt idx="20">
                        <c:v>50.002222000000003</c:v>
                      </c:pt>
                      <c:pt idx="21">
                        <c:v>46.193210000000001</c:v>
                      </c:pt>
                      <c:pt idx="22">
                        <c:v>41.510463999999999</c:v>
                      </c:pt>
                      <c:pt idx="23">
                        <c:v>40.221505000000001</c:v>
                      </c:pt>
                      <c:pt idx="24">
                        <c:v>42.523161999999999</c:v>
                      </c:pt>
                      <c:pt idx="25">
                        <c:v>45.628883999999999</c:v>
                      </c:pt>
                      <c:pt idx="26">
                        <c:v>40.031787999999999</c:v>
                      </c:pt>
                      <c:pt idx="27">
                        <c:v>51.652650000000001</c:v>
                      </c:pt>
                      <c:pt idx="28">
                        <c:v>50.177590000000002</c:v>
                      </c:pt>
                      <c:pt idx="29">
                        <c:v>54.531019999999998</c:v>
                      </c:pt>
                      <c:pt idx="30">
                        <c:v>56.857843000000003</c:v>
                      </c:pt>
                      <c:pt idx="31">
                        <c:v>50.233561999999999</c:v>
                      </c:pt>
                      <c:pt idx="32">
                        <c:v>48.179372000000001</c:v>
                      </c:pt>
                      <c:pt idx="33">
                        <c:v>47.120365</c:v>
                      </c:pt>
                      <c:pt idx="34">
                        <c:v>35.507016999999998</c:v>
                      </c:pt>
                    </c:numCache>
                  </c:numRef>
                </c:val>
                <c:extLst>
                  <c:ext xmlns:c16="http://schemas.microsoft.com/office/drawing/2014/chart" uri="{C3380CC4-5D6E-409C-BE32-E72D297353CC}">
                    <c16:uniqueId val="{00000001-A582-417D-A5F8-2A0075530F50}"/>
                  </c:ext>
                </c:extLst>
              </c15:ser>
            </c15:filteredBarSeries>
            <c15:filteredBarSeries>
              <c15:ser>
                <c:idx val="2"/>
                <c:order val="2"/>
                <c:tx>
                  <c:strRef>
                    <c:extLst xmlns:c15="http://schemas.microsoft.com/office/drawing/2012/chart">
                      <c:ext xmlns:c15="http://schemas.microsoft.com/office/drawing/2012/chart" uri="{02D57815-91ED-43cb-92C2-25804820EDAC}">
                        <c15:formulaRef>
                          <c15:sqref>Sheet1!$D$1</c15:sqref>
                        </c15:formulaRef>
                      </c:ext>
                    </c:extLst>
                    <c:strCache>
                      <c:ptCount val="1"/>
                      <c:pt idx="0">
                        <c:v>Sector 2</c:v>
                      </c:pt>
                    </c:strCache>
                  </c:strRef>
                </c:tx>
                <c:spPr>
                  <a:solidFill>
                    <a:schemeClr val="dk1">
                      <a:tint val="75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D$2:$D$36</c15:sqref>
                        </c15:formulaRef>
                      </c:ext>
                    </c:extLst>
                    <c:numCache>
                      <c:formatCode>General</c:formatCode>
                      <c:ptCount val="35"/>
                      <c:pt idx="0">
                        <c:v>19.557812999999999</c:v>
                      </c:pt>
                      <c:pt idx="1">
                        <c:v>23.784803</c:v>
                      </c:pt>
                      <c:pt idx="2">
                        <c:v>21.799987000000002</c:v>
                      </c:pt>
                      <c:pt idx="3">
                        <c:v>25.857672000000001</c:v>
                      </c:pt>
                      <c:pt idx="4">
                        <c:v>24.992432999999998</c:v>
                      </c:pt>
                      <c:pt idx="5">
                        <c:v>26.955321999999999</c:v>
                      </c:pt>
                      <c:pt idx="6">
                        <c:v>32.419100999999998</c:v>
                      </c:pt>
                      <c:pt idx="7">
                        <c:v>29.344944999999999</c:v>
                      </c:pt>
                      <c:pt idx="8">
                        <c:v>27.493164</c:v>
                      </c:pt>
                      <c:pt idx="9">
                        <c:v>23.275084</c:v>
                      </c:pt>
                      <c:pt idx="10">
                        <c:v>24.237242999999999</c:v>
                      </c:pt>
                      <c:pt idx="11">
                        <c:v>23.067723999999998</c:v>
                      </c:pt>
                      <c:pt idx="12">
                        <c:v>23.036899999999999</c:v>
                      </c:pt>
                      <c:pt idx="13">
                        <c:v>25.516981000000001</c:v>
                      </c:pt>
                      <c:pt idx="14">
                        <c:v>22.874832000000001</c:v>
                      </c:pt>
                      <c:pt idx="15">
                        <c:v>26.349399999999999</c:v>
                      </c:pt>
                      <c:pt idx="16">
                        <c:v>29.881401</c:v>
                      </c:pt>
                      <c:pt idx="17">
                        <c:v>31.686630000000001</c:v>
                      </c:pt>
                      <c:pt idx="18">
                        <c:v>34.259588000000001</c:v>
                      </c:pt>
                      <c:pt idx="19">
                        <c:v>31.563769000000001</c:v>
                      </c:pt>
                      <c:pt idx="20">
                        <c:v>27.452038999999999</c:v>
                      </c:pt>
                      <c:pt idx="21">
                        <c:v>24.840769999999999</c:v>
                      </c:pt>
                      <c:pt idx="22">
                        <c:v>26.102284999999998</c:v>
                      </c:pt>
                      <c:pt idx="23">
                        <c:v>23.897715000000002</c:v>
                      </c:pt>
                      <c:pt idx="24">
                        <c:v>25.006601</c:v>
                      </c:pt>
                      <c:pt idx="25">
                        <c:v>27.601903</c:v>
                      </c:pt>
                      <c:pt idx="26">
                        <c:v>22.956002999999999</c:v>
                      </c:pt>
                      <c:pt idx="27">
                        <c:v>26.913005999999999</c:v>
                      </c:pt>
                      <c:pt idx="28">
                        <c:v>31.412331999999999</c:v>
                      </c:pt>
                      <c:pt idx="29">
                        <c:v>32.630974000000002</c:v>
                      </c:pt>
                      <c:pt idx="30">
                        <c:v>31.591038000000001</c:v>
                      </c:pt>
                      <c:pt idx="31">
                        <c:v>31.863667</c:v>
                      </c:pt>
                      <c:pt idx="32">
                        <c:v>31.422338</c:v>
                      </c:pt>
                      <c:pt idx="33">
                        <c:v>28.426777000000001</c:v>
                      </c:pt>
                      <c:pt idx="34">
                        <c:v>26.165305</c:v>
                      </c:pt>
                    </c:numCache>
                  </c:numRef>
                </c:val>
                <c:extLst xmlns:c15="http://schemas.microsoft.com/office/drawing/2012/chart">
                  <c:ext xmlns:c16="http://schemas.microsoft.com/office/drawing/2014/chart" uri="{C3380CC4-5D6E-409C-BE32-E72D297353CC}">
                    <c16:uniqueId val="{00000000-2D16-4906-BB22-77AF188F6975}"/>
                  </c:ext>
                </c:extLst>
              </c15:ser>
            </c15:filteredBarSeries>
            <c15:filteredBarSeries>
              <c15:ser>
                <c:idx val="3"/>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Sector 3</c:v>
                      </c:pt>
                    </c:strCache>
                  </c:strRef>
                </c:tx>
                <c:spPr>
                  <a:solidFill>
                    <a:schemeClr val="dk1">
                      <a:tint val="985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E$2:$E$36</c15:sqref>
                        </c15:formulaRef>
                      </c:ext>
                    </c:extLst>
                    <c:numCache>
                      <c:formatCode>General</c:formatCode>
                      <c:ptCount val="35"/>
                      <c:pt idx="0">
                        <c:v>27.462826</c:v>
                      </c:pt>
                      <c:pt idx="1">
                        <c:v>39.404572000000002</c:v>
                      </c:pt>
                      <c:pt idx="2">
                        <c:v>34.570886000000002</c:v>
                      </c:pt>
                      <c:pt idx="3">
                        <c:v>47.424028999999997</c:v>
                      </c:pt>
                      <c:pt idx="4">
                        <c:v>42.725195999999997</c:v>
                      </c:pt>
                      <c:pt idx="5">
                        <c:v>49.893875999999999</c:v>
                      </c:pt>
                      <c:pt idx="6">
                        <c:v>45.230561999999999</c:v>
                      </c:pt>
                      <c:pt idx="7">
                        <c:v>36.896878999999998</c:v>
                      </c:pt>
                      <c:pt idx="8">
                        <c:v>33.942658000000002</c:v>
                      </c:pt>
                      <c:pt idx="9">
                        <c:v>31.043399000000001</c:v>
                      </c:pt>
                      <c:pt idx="10">
                        <c:v>28.703312</c:v>
                      </c:pt>
                      <c:pt idx="11">
                        <c:v>32.247686999999999</c:v>
                      </c:pt>
                      <c:pt idx="12">
                        <c:v>39.267698000000003</c:v>
                      </c:pt>
                      <c:pt idx="13">
                        <c:v>36.104199999999999</c:v>
                      </c:pt>
                      <c:pt idx="14">
                        <c:v>35.473145000000002</c:v>
                      </c:pt>
                      <c:pt idx="15">
                        <c:v>53.202506999999997</c:v>
                      </c:pt>
                      <c:pt idx="16">
                        <c:v>50.982067999999998</c:v>
                      </c:pt>
                      <c:pt idx="17">
                        <c:v>60.592055999999999</c:v>
                      </c:pt>
                      <c:pt idx="18">
                        <c:v>55.653505000000003</c:v>
                      </c:pt>
                      <c:pt idx="19">
                        <c:v>45.804431000000001</c:v>
                      </c:pt>
                      <c:pt idx="20">
                        <c:v>42.097817999999997</c:v>
                      </c:pt>
                      <c:pt idx="21">
                        <c:v>38.569479999999999</c:v>
                      </c:pt>
                      <c:pt idx="22">
                        <c:v>32.493749000000001</c:v>
                      </c:pt>
                      <c:pt idx="23">
                        <c:v>31.329796000000002</c:v>
                      </c:pt>
                      <c:pt idx="24">
                        <c:v>33.130343000000003</c:v>
                      </c:pt>
                      <c:pt idx="25">
                        <c:v>40.916313000000002</c:v>
                      </c:pt>
                      <c:pt idx="26">
                        <c:v>34.557360000000003</c:v>
                      </c:pt>
                      <c:pt idx="27">
                        <c:v>46.799098000000001</c:v>
                      </c:pt>
                      <c:pt idx="28">
                        <c:v>46.752299000000001</c:v>
                      </c:pt>
                      <c:pt idx="29">
                        <c:v>54.888565999999997</c:v>
                      </c:pt>
                      <c:pt idx="30">
                        <c:v>56.439608999999997</c:v>
                      </c:pt>
                      <c:pt idx="31">
                        <c:v>44.964128000000002</c:v>
                      </c:pt>
                      <c:pt idx="32">
                        <c:v>45.321382999999997</c:v>
                      </c:pt>
                      <c:pt idx="33">
                        <c:v>37.671095999999999</c:v>
                      </c:pt>
                      <c:pt idx="34">
                        <c:v>31.554338999999999</c:v>
                      </c:pt>
                    </c:numCache>
                  </c:numRef>
                </c:val>
                <c:extLst xmlns:c15="http://schemas.microsoft.com/office/drawing/2012/chart">
                  <c:ext xmlns:c16="http://schemas.microsoft.com/office/drawing/2014/chart" uri="{C3380CC4-5D6E-409C-BE32-E72D297353CC}">
                    <c16:uniqueId val="{00000001-2D16-4906-BB22-77AF188F6975}"/>
                  </c:ext>
                </c:extLst>
              </c15:ser>
            </c15:filteredBarSeries>
            <c15:filteredBarSeries>
              <c15:ser>
                <c:idx val="4"/>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Sector 4</c:v>
                      </c:pt>
                    </c:strCache>
                  </c:strRef>
                </c:tx>
                <c:spPr>
                  <a:solidFill>
                    <a:schemeClr val="dk1">
                      <a:tint val="30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F$2:$F$36</c15:sqref>
                        </c15:formulaRef>
                      </c:ext>
                    </c:extLst>
                    <c:numCache>
                      <c:formatCode>General</c:formatCode>
                      <c:ptCount val="35"/>
                      <c:pt idx="0">
                        <c:v>28.541810999999999</c:v>
                      </c:pt>
                      <c:pt idx="1">
                        <c:v>29.052481</c:v>
                      </c:pt>
                      <c:pt idx="2">
                        <c:v>33.367750000000001</c:v>
                      </c:pt>
                      <c:pt idx="3">
                        <c:v>35.968623999999998</c:v>
                      </c:pt>
                      <c:pt idx="4">
                        <c:v>33.207349000000001</c:v>
                      </c:pt>
                      <c:pt idx="5">
                        <c:v>35.057527</c:v>
                      </c:pt>
                      <c:pt idx="6">
                        <c:v>38.900894999999998</c:v>
                      </c:pt>
                      <c:pt idx="7">
                        <c:v>43.694178999999998</c:v>
                      </c:pt>
                      <c:pt idx="8">
                        <c:v>62.841144999999997</c:v>
                      </c:pt>
                      <c:pt idx="9">
                        <c:v>54.763354999999997</c:v>
                      </c:pt>
                      <c:pt idx="10">
                        <c:v>89.252371999999994</c:v>
                      </c:pt>
                      <c:pt idx="11">
                        <c:v>25.975645</c:v>
                      </c:pt>
                      <c:pt idx="12">
                        <c:v>30.148197</c:v>
                      </c:pt>
                      <c:pt idx="13">
                        <c:v>36.475974999999998</c:v>
                      </c:pt>
                      <c:pt idx="14">
                        <c:v>29.658926000000001</c:v>
                      </c:pt>
                      <c:pt idx="15">
                        <c:v>35.421528000000002</c:v>
                      </c:pt>
                      <c:pt idx="16">
                        <c:v>32.439849000000002</c:v>
                      </c:pt>
                      <c:pt idx="17">
                        <c:v>35.716830000000002</c:v>
                      </c:pt>
                      <c:pt idx="18">
                        <c:v>41.225175999999998</c:v>
                      </c:pt>
                      <c:pt idx="19">
                        <c:v>43.331505999999997</c:v>
                      </c:pt>
                      <c:pt idx="20">
                        <c:v>67.705122000000003</c:v>
                      </c:pt>
                      <c:pt idx="21">
                        <c:v>56.56662</c:v>
                      </c:pt>
                      <c:pt idx="22">
                        <c:v>91.018388000000002</c:v>
                      </c:pt>
                      <c:pt idx="23">
                        <c:v>26.250737000000001</c:v>
                      </c:pt>
                      <c:pt idx="24">
                        <c:v>30.771353000000001</c:v>
                      </c:pt>
                      <c:pt idx="25">
                        <c:v>32.781751</c:v>
                      </c:pt>
                      <c:pt idx="26">
                        <c:v>40.871063999999997</c:v>
                      </c:pt>
                      <c:pt idx="27">
                        <c:v>36.555362000000002</c:v>
                      </c:pt>
                      <c:pt idx="28">
                        <c:v>33.561486000000002</c:v>
                      </c:pt>
                      <c:pt idx="29">
                        <c:v>37.536104000000002</c:v>
                      </c:pt>
                      <c:pt idx="30">
                        <c:v>45.721882000000001</c:v>
                      </c:pt>
                      <c:pt idx="31">
                        <c:v>44.358134999999997</c:v>
                      </c:pt>
                      <c:pt idx="32">
                        <c:v>73.994276999999997</c:v>
                      </c:pt>
                      <c:pt idx="33">
                        <c:v>62.661236000000002</c:v>
                      </c:pt>
                      <c:pt idx="34">
                        <c:v>91.533505000000005</c:v>
                      </c:pt>
                    </c:numCache>
                  </c:numRef>
                </c:val>
                <c:extLst xmlns:c15="http://schemas.microsoft.com/office/drawing/2012/chart">
                  <c:ext xmlns:c16="http://schemas.microsoft.com/office/drawing/2014/chart" uri="{C3380CC4-5D6E-409C-BE32-E72D297353CC}">
                    <c16:uniqueId val="{00000002-2D16-4906-BB22-77AF188F6975}"/>
                  </c:ext>
                </c:extLst>
              </c15:ser>
            </c15:filteredBarSeries>
            <c15:filteredBarSeries>
              <c15:ser>
                <c:idx val="5"/>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Sector 5</c:v>
                      </c:pt>
                    </c:strCache>
                  </c:strRef>
                </c:tx>
                <c:spPr>
                  <a:solidFill>
                    <a:schemeClr val="dk1">
                      <a:tint val="60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G$2:$G$36</c15:sqref>
                        </c15:formulaRef>
                      </c:ext>
                    </c:extLst>
                    <c:numCache>
                      <c:formatCode>General</c:formatCode>
                      <c:ptCount val="35"/>
                      <c:pt idx="0">
                        <c:v>12.194502</c:v>
                      </c:pt>
                      <c:pt idx="1">
                        <c:v>7.156504</c:v>
                      </c:pt>
                      <c:pt idx="2">
                        <c:v>12.852249</c:v>
                      </c:pt>
                      <c:pt idx="3">
                        <c:v>17.913703000000002</c:v>
                      </c:pt>
                      <c:pt idx="4">
                        <c:v>9.8828340000000008</c:v>
                      </c:pt>
                      <c:pt idx="5">
                        <c:v>9.6037440000000007</c:v>
                      </c:pt>
                      <c:pt idx="6">
                        <c:v>11.410088999999999</c:v>
                      </c:pt>
                      <c:pt idx="7">
                        <c:v>11.869301</c:v>
                      </c:pt>
                      <c:pt idx="8">
                        <c:v>10.943581</c:v>
                      </c:pt>
                      <c:pt idx="9">
                        <c:v>24.200908999999999</c:v>
                      </c:pt>
                      <c:pt idx="10">
                        <c:v>59.814160000000001</c:v>
                      </c:pt>
                      <c:pt idx="11">
                        <c:v>7.4327399999999999</c:v>
                      </c:pt>
                      <c:pt idx="12">
                        <c:v>12.873098000000001</c:v>
                      </c:pt>
                      <c:pt idx="13">
                        <c:v>17.347481999999999</c:v>
                      </c:pt>
                      <c:pt idx="14">
                        <c:v>14.342812</c:v>
                      </c:pt>
                      <c:pt idx="15">
                        <c:v>16.454574000000001</c:v>
                      </c:pt>
                      <c:pt idx="16">
                        <c:v>8.7173169999999995</c:v>
                      </c:pt>
                      <c:pt idx="17">
                        <c:v>8.7356230000000004</c:v>
                      </c:pt>
                      <c:pt idx="18">
                        <c:v>11.042906</c:v>
                      </c:pt>
                      <c:pt idx="19">
                        <c:v>11.438431</c:v>
                      </c:pt>
                      <c:pt idx="20">
                        <c:v>12.034544</c:v>
                      </c:pt>
                      <c:pt idx="21">
                        <c:v>28.273</c:v>
                      </c:pt>
                      <c:pt idx="22">
                        <c:v>61.781478999999997</c:v>
                      </c:pt>
                      <c:pt idx="23">
                        <c:v>8.5091110000000008</c:v>
                      </c:pt>
                      <c:pt idx="24">
                        <c:v>14.055974000000001</c:v>
                      </c:pt>
                      <c:pt idx="25">
                        <c:v>10.074814999999999</c:v>
                      </c:pt>
                      <c:pt idx="26">
                        <c:v>26.582386</c:v>
                      </c:pt>
                      <c:pt idx="27">
                        <c:v>16.377361000000001</c:v>
                      </c:pt>
                      <c:pt idx="28">
                        <c:v>10.356033</c:v>
                      </c:pt>
                      <c:pt idx="29">
                        <c:v>11.832685</c:v>
                      </c:pt>
                      <c:pt idx="30">
                        <c:v>14.576200999999999</c:v>
                      </c:pt>
                      <c:pt idx="31">
                        <c:v>14.285002</c:v>
                      </c:pt>
                      <c:pt idx="32">
                        <c:v>16.927510000000002</c:v>
                      </c:pt>
                      <c:pt idx="33">
                        <c:v>34.868727999999997</c:v>
                      </c:pt>
                      <c:pt idx="34">
                        <c:v>70.545312999999993</c:v>
                      </c:pt>
                    </c:numCache>
                  </c:numRef>
                </c:val>
                <c:extLst xmlns:c15="http://schemas.microsoft.com/office/drawing/2012/chart">
                  <c:ext xmlns:c16="http://schemas.microsoft.com/office/drawing/2014/chart" uri="{C3380CC4-5D6E-409C-BE32-E72D297353CC}">
                    <c16:uniqueId val="{00000003-2D16-4906-BB22-77AF188F6975}"/>
                  </c:ext>
                </c:extLst>
              </c15:ser>
            </c15:filteredBarSeries>
            <c15:filteredBarSeries>
              <c15:ser>
                <c:idx val="6"/>
                <c:order val="6"/>
                <c:tx>
                  <c:strRef>
                    <c:extLst xmlns:c15="http://schemas.microsoft.com/office/drawing/2012/chart">
                      <c:ext xmlns:c15="http://schemas.microsoft.com/office/drawing/2012/chart" uri="{02D57815-91ED-43cb-92C2-25804820EDAC}">
                        <c15:formulaRef>
                          <c15:sqref>Sheet1!$H$1</c15:sqref>
                        </c15:formulaRef>
                      </c:ext>
                    </c:extLst>
                    <c:strCache>
                      <c:ptCount val="1"/>
                      <c:pt idx="0">
                        <c:v>Sector 6</c:v>
                      </c:pt>
                    </c:strCache>
                  </c:strRef>
                </c:tx>
                <c:spPr>
                  <a:solidFill>
                    <a:schemeClr val="dk1">
                      <a:tint val="80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H$2:$H$36</c15:sqref>
                        </c15:formulaRef>
                      </c:ext>
                    </c:extLst>
                    <c:numCache>
                      <c:formatCode>General</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numRef>
                </c:val>
                <c:extLst xmlns:c15="http://schemas.microsoft.com/office/drawing/2012/chart">
                  <c:ext xmlns:c16="http://schemas.microsoft.com/office/drawing/2014/chart" uri="{C3380CC4-5D6E-409C-BE32-E72D297353CC}">
                    <c16:uniqueId val="{00000003-CB01-4B89-A725-1CA2D0FD4A84}"/>
                  </c:ext>
                </c:extLst>
              </c15:ser>
            </c15:filteredBarSeries>
          </c:ext>
        </c:extLst>
      </c:barChart>
      <c:lineChart>
        <c:grouping val="stacked"/>
        <c:varyColors val="0"/>
        <c:ser>
          <c:idx val="0"/>
          <c:order val="0"/>
          <c:tx>
            <c:strRef>
              <c:f>Sheet1!$E$1</c:f>
              <c:strCache>
                <c:ptCount val="1"/>
                <c:pt idx="0">
                  <c:v>Total</c:v>
                </c:pt>
              </c:strCache>
            </c:strRef>
          </c:tx>
          <c:spPr>
            <a:solidFill>
              <a:srgbClr val="9B9898"/>
            </a:solidFill>
            <a:ln w="19050" cap="rnd" cmpd="sng" algn="ctr">
              <a:solidFill>
                <a:schemeClr val="accent1"/>
              </a:solidFill>
              <a:prstDash val="solid"/>
              <a:round/>
            </a:ln>
            <a:effectLst/>
          </c:spPr>
          <c:marker>
            <c:symbol val="circle"/>
            <c:size val="10"/>
            <c:spPr>
              <a:solidFill>
                <a:schemeClr val="accent1"/>
              </a:solidFill>
              <a:ln w="6350" cap="flat" cmpd="sng" algn="ctr">
                <a:solidFill>
                  <a:schemeClr val="accent1"/>
                </a:solidFill>
                <a:prstDash val="solid"/>
                <a:round/>
              </a:ln>
              <a:effectLst/>
            </c:spPr>
          </c:marker>
          <c:dPt>
            <c:idx val="0"/>
            <c:bubble3D val="0"/>
            <c:spPr>
              <a:ln w="19050" cap="rnd" cmpd="sng" algn="ctr">
                <a:solidFill>
                  <a:schemeClr val="accent1"/>
                </a:solidFill>
                <a:prstDash val="solid"/>
                <a:round/>
              </a:ln>
              <a:effectLst/>
            </c:spPr>
            <c:extLst>
              <c:ext xmlns:c16="http://schemas.microsoft.com/office/drawing/2014/chart" uri="{C3380CC4-5D6E-409C-BE32-E72D297353CC}">
                <c16:uniqueId val="{00000005-2D16-4906-BB22-77AF188F6975}"/>
              </c:ext>
            </c:extLst>
          </c:dPt>
          <c:cat>
            <c:strRef>
              <c:f>Sheet1!$A$2:$A$36</c:f>
              <c:strCache>
                <c:ptCount val="35"/>
                <c:pt idx="0">
                  <c:v>Oct-21</c:v>
                </c:pt>
                <c:pt idx="1">
                  <c:v>Nov-21</c:v>
                </c:pt>
                <c:pt idx="2">
                  <c:v>Dec-21</c:v>
                </c:pt>
                <c:pt idx="3">
                  <c:v>Jan-22</c:v>
                </c:pt>
                <c:pt idx="4">
                  <c:v>Feb-22</c:v>
                </c:pt>
                <c:pt idx="5">
                  <c:v>Mar-22</c:v>
                </c:pt>
                <c:pt idx="6">
                  <c:v>Apr-22</c:v>
                </c:pt>
                <c:pt idx="7">
                  <c:v>May-22</c:v>
                </c:pt>
                <c:pt idx="8">
                  <c:v>Jun-22</c:v>
                </c:pt>
                <c:pt idx="9">
                  <c:v>Jul-22</c:v>
                </c:pt>
                <c:pt idx="10">
                  <c:v>Aug-22</c:v>
                </c:pt>
                <c:pt idx="11">
                  <c:v>Sep-22</c:v>
                </c:pt>
                <c:pt idx="12">
                  <c:v>Oct-22</c:v>
                </c:pt>
                <c:pt idx="13">
                  <c:v>Nov-22</c:v>
                </c:pt>
                <c:pt idx="14">
                  <c:v>Dec-22</c:v>
                </c:pt>
                <c:pt idx="15">
                  <c:v>Jan-23</c:v>
                </c:pt>
                <c:pt idx="16">
                  <c:v>Feb-23</c:v>
                </c:pt>
                <c:pt idx="17">
                  <c:v>Mar-23</c:v>
                </c:pt>
                <c:pt idx="18">
                  <c:v>Apr-23</c:v>
                </c:pt>
                <c:pt idx="19">
                  <c:v>May-23</c:v>
                </c:pt>
                <c:pt idx="20">
                  <c:v>Jun-23</c:v>
                </c:pt>
                <c:pt idx="21">
                  <c:v>Jul-23</c:v>
                </c:pt>
                <c:pt idx="22">
                  <c:v>Aug-23</c:v>
                </c:pt>
                <c:pt idx="23">
                  <c:v>Sep-23</c:v>
                </c:pt>
                <c:pt idx="24">
                  <c:v>Oct-23</c:v>
                </c:pt>
                <c:pt idx="25">
                  <c:v>Nov-23</c:v>
                </c:pt>
                <c:pt idx="26">
                  <c:v>Dec-23</c:v>
                </c:pt>
                <c:pt idx="27">
                  <c:v>Jan-24</c:v>
                </c:pt>
                <c:pt idx="28">
                  <c:v>Feb-24</c:v>
                </c:pt>
                <c:pt idx="29">
                  <c:v>Mar-24</c:v>
                </c:pt>
                <c:pt idx="30">
                  <c:v>Apr-24</c:v>
                </c:pt>
                <c:pt idx="31">
                  <c:v>May-24</c:v>
                </c:pt>
                <c:pt idx="32">
                  <c:v>Jun-24</c:v>
                </c:pt>
                <c:pt idx="33">
                  <c:v>Jul-24</c:v>
                </c:pt>
                <c:pt idx="34">
                  <c:v>Aug-24</c:v>
                </c:pt>
              </c:strCache>
            </c:strRef>
          </c:cat>
          <c:val>
            <c:numRef>
              <c:f>Sheet1!$E$2:$E$36</c:f>
              <c:numCache>
                <c:formatCode>General</c:formatCode>
                <c:ptCount val="35"/>
                <c:pt idx="0">
                  <c:v>3.811491</c:v>
                </c:pt>
                <c:pt idx="1">
                  <c:v>3.873936</c:v>
                </c:pt>
                <c:pt idx="2">
                  <c:v>4.343728</c:v>
                </c:pt>
                <c:pt idx="3">
                  <c:v>3.229231</c:v>
                </c:pt>
                <c:pt idx="4">
                  <c:v>3.458609</c:v>
                </c:pt>
                <c:pt idx="5">
                  <c:v>4.26895</c:v>
                </c:pt>
                <c:pt idx="6">
                  <c:v>4.134602</c:v>
                </c:pt>
                <c:pt idx="7">
                  <c:v>4.365166</c:v>
                </c:pt>
                <c:pt idx="8">
                  <c:v>4.556514</c:v>
                </c:pt>
                <c:pt idx="9">
                  <c:v>4.83505</c:v>
                </c:pt>
                <c:pt idx="10">
                  <c:v>4.865426</c:v>
                </c:pt>
                <c:pt idx="11">
                  <c:v>3.919143</c:v>
                </c:pt>
                <c:pt idx="12">
                  <c:v>3.946876</c:v>
                </c:pt>
                <c:pt idx="13">
                  <c:v>3.764647</c:v>
                </c:pt>
                <c:pt idx="14">
                  <c:v>4.500709</c:v>
                </c:pt>
                <c:pt idx="15">
                  <c:v>3.443253</c:v>
                </c:pt>
                <c:pt idx="16">
                  <c:v>3.287958</c:v>
                </c:pt>
                <c:pt idx="17">
                  <c:v>3.79765</c:v>
                </c:pt>
                <c:pt idx="18">
                  <c:v>3.9266</c:v>
                </c:pt>
                <c:pt idx="19">
                  <c:v>4.235975</c:v>
                </c:pt>
                <c:pt idx="20">
                  <c:v>4.502181</c:v>
                </c:pt>
                <c:pt idx="21">
                  <c:v>4.852118</c:v>
                </c:pt>
                <c:pt idx="22">
                  <c:v>4.683572</c:v>
                </c:pt>
                <c:pt idx="23">
                  <c:v>3.805131</c:v>
                </c:pt>
                <c:pt idx="24">
                  <c:v>3.792631</c:v>
                </c:pt>
                <c:pt idx="25">
                  <c:v>3.619568</c:v>
                </c:pt>
                <c:pt idx="26">
                  <c:v>4.546298</c:v>
                </c:pt>
                <c:pt idx="27">
                  <c:v>3.319354</c:v>
                </c:pt>
                <c:pt idx="28">
                  <c:v>3.362082</c:v>
                </c:pt>
                <c:pt idx="29">
                  <c:v>3.816457</c:v>
                </c:pt>
                <c:pt idx="30">
                  <c:v>3.689137</c:v>
                </c:pt>
                <c:pt idx="31">
                  <c:v>4.027374</c:v>
                </c:pt>
                <c:pt idx="32">
                  <c:v>4.505155</c:v>
                </c:pt>
                <c:pt idx="33">
                  <c:v>4.629863</c:v>
                </c:pt>
                <c:pt idx="34">
                  <c:v>4.407054</c:v>
                </c:pt>
              </c:numCache>
            </c:numRef>
          </c:val>
          <c:smooth val="0"/>
          <c:extLst>
            <c:ext xmlns:c16="http://schemas.microsoft.com/office/drawing/2014/chart" uri="{C3380CC4-5D6E-409C-BE32-E72D297353CC}">
              <c16:uniqueId val="{00000000-A582-417D-A5F8-2A0075530F50}"/>
            </c:ext>
          </c:extLst>
        </c:ser>
        <c:dLbls>
          <c:showLegendKey val="0"/>
          <c:showVal val="0"/>
          <c:showCatName val="0"/>
          <c:showSerName val="0"/>
          <c:showPercent val="0"/>
          <c:showBubbleSize val="0"/>
        </c:dLbls>
        <c:marker val="1"/>
        <c:smooth val="0"/>
        <c:axId val="1624167016"/>
        <c:axId val="1624169640"/>
      </c:lineChart>
      <c:catAx>
        <c:axId val="1624167016"/>
        <c:scaling>
          <c:orientation val="minMax"/>
        </c:scaling>
        <c:delete val="0"/>
        <c:axPos val="b"/>
        <c:numFmt formatCode="General" sourceLinked="1"/>
        <c:majorTickMark val="none"/>
        <c:minorTickMark val="none"/>
        <c:tickLblPos val="nextTo"/>
        <c:spPr>
          <a:noFill/>
          <a:ln w="9525" cap="flat" cmpd="sng" algn="ctr">
            <a:noFill/>
            <a:prstDash val="solid"/>
            <a:round/>
          </a:ln>
          <a:effectLst/>
        </c:spPr>
        <c:txPr>
          <a:bodyPr rot="0" spcFirstLastPara="1" vertOverflow="ellipsis" wrap="square" anchor="ctr" anchorCtr="1"/>
          <a:lstStyle/>
          <a:p>
            <a:pPr algn="ctr">
              <a:defRPr lang="en-US" sz="800" b="0" i="0" u="none" strike="noStrike" kern="1200" baseline="0">
                <a:solidFill>
                  <a:schemeClr val="tx1"/>
                </a:solidFill>
                <a:latin typeface="+mj-lt"/>
                <a:ea typeface="+mn-ea"/>
                <a:cs typeface="+mn-cs"/>
              </a:defRPr>
            </a:pPr>
            <a:endParaRPr lang="en-US"/>
          </a:p>
        </c:txPr>
        <c:crossAx val="1624169640"/>
        <c:crosses val="autoZero"/>
        <c:auto val="1"/>
        <c:lblAlgn val="ctr"/>
        <c:lblOffset val="100"/>
        <c:tickLblSkip val="3"/>
        <c:noMultiLvlLbl val="1"/>
      </c:catAx>
      <c:valAx>
        <c:axId val="1624169640"/>
        <c:scaling>
          <c:orientation val="minMax"/>
        </c:scaling>
        <c:delete val="0"/>
        <c:axPos val="l"/>
        <c:numFmt formatCode="#,##0" sourceLinked="0"/>
        <c:majorTickMark val="none"/>
        <c:minorTickMark val="none"/>
        <c:tickLblPos val="nextTo"/>
        <c:spPr>
          <a:noFill/>
          <a:ln w="6350" cap="flat" cmpd="sng" algn="ctr">
            <a:noFill/>
            <a:prstDash val="solid"/>
            <a:round/>
          </a:ln>
          <a:effectLst/>
        </c:spPr>
        <c:txPr>
          <a:bodyPr rot="-60000000" spcFirstLastPara="1" vertOverflow="ellipsis" vert="horz" wrap="square" anchor="ctr" anchorCtr="1"/>
          <a:lstStyle/>
          <a:p>
            <a:pP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a:p>
        </c:txPr>
        <c:crossAx val="1624167016"/>
        <c:crosses val="autoZero"/>
        <c:crossBetween val="between"/>
      </c:valAx>
      <c:spPr>
        <a:noFill/>
        <a:ln>
          <a:noFill/>
        </a:ln>
        <a:effectLst/>
      </c:spPr>
    </c:plotArea>
    <c:legend>
      <c:legendPos val="b"/>
      <c:layout>
        <c:manualLayout>
          <c:xMode val="edge"/>
          <c:yMode val="edge"/>
          <c:x val="7.3660685603241294E-2"/>
          <c:y val="0.81729018208272031"/>
          <c:w val="0.90289148980965561"/>
          <c:h val="0.13936961130964612"/>
        </c:manualLayout>
      </c:layout>
      <c:overlay val="0"/>
      <c:spPr>
        <a:noFill/>
        <a:ln>
          <a:noFill/>
        </a:ln>
        <a:effectLst/>
      </c:spPr>
      <c:txPr>
        <a:bodyPr rot="0" spcFirstLastPara="1" vertOverflow="ellipsis" vert="horz" wrap="square" anchor="ctr" anchorCtr="0"/>
        <a:lstStyle/>
        <a:p>
          <a:pPr algn="ctr">
            <a:defRPr lang="en-US"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6350" cap="flat" cmpd="sng" algn="ctr">
      <a:noFill/>
      <a:prstDash val="solid"/>
      <a:miter lim="800000"/>
    </a:ln>
    <a:effectLst/>
  </c:spPr>
  <c:txPr>
    <a:bodyPr/>
    <a:lstStyle/>
    <a:p>
      <a:pPr algn="ctr">
        <a:defRPr lang="en-US" sz="900" b="0" i="0" u="none" strike="noStrike" kern="120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manualLayout>
          <c:layoutTarget val="inner"/>
          <c:xMode val="edge"/>
          <c:yMode val="edge"/>
          <c:x val="4.5205042438763526E-2"/>
          <c:y val="9.9397151645846074E-2"/>
          <c:w val="0.93468942653552012"/>
          <c:h val="0.61239220651000625"/>
        </c:manualLayout>
      </c:layout>
      <c:barChart>
        <c:barDir val="col"/>
        <c:grouping val="stacked"/>
        <c:varyColors val="0"/>
        <c:ser>
          <c:idx val="13"/>
          <c:order val="13"/>
          <c:tx>
            <c:strRef>
              <c:f>Sheet1!$B$1</c:f>
              <c:strCache>
                <c:ptCount val="1"/>
                <c:pt idx="0">
                  <c:v>Dermaplane</c:v>
                </c:pt>
              </c:strCache>
            </c:strRef>
          </c:tx>
          <c:spPr>
            <a:solidFill>
              <a:srgbClr val="00A097"/>
            </a:solidFill>
            <a:ln>
              <a:noFill/>
            </a:ln>
            <a:effectLst/>
          </c:spPr>
          <c:invertIfNegative val="0"/>
          <c:cat>
            <c:strRef>
              <c:f>Sheet1!$A$2:$A$36</c:f>
              <c:strCache>
                <c:ptCount val="35"/>
                <c:pt idx="0">
                  <c:v>Oct-21</c:v>
                </c:pt>
                <c:pt idx="1">
                  <c:v>Nov-21</c:v>
                </c:pt>
                <c:pt idx="2">
                  <c:v>Dec-21</c:v>
                </c:pt>
                <c:pt idx="3">
                  <c:v>Jan-22</c:v>
                </c:pt>
                <c:pt idx="4">
                  <c:v>Feb-22</c:v>
                </c:pt>
                <c:pt idx="5">
                  <c:v>Mar-22</c:v>
                </c:pt>
                <c:pt idx="6">
                  <c:v>Apr-22</c:v>
                </c:pt>
                <c:pt idx="7">
                  <c:v>May-22</c:v>
                </c:pt>
                <c:pt idx="8">
                  <c:v>Jun-22</c:v>
                </c:pt>
                <c:pt idx="9">
                  <c:v>Jul-22</c:v>
                </c:pt>
                <c:pt idx="10">
                  <c:v>Aug-22</c:v>
                </c:pt>
                <c:pt idx="11">
                  <c:v>Sep-22</c:v>
                </c:pt>
                <c:pt idx="12">
                  <c:v>Oct-22</c:v>
                </c:pt>
                <c:pt idx="13">
                  <c:v>Nov-22</c:v>
                </c:pt>
                <c:pt idx="14">
                  <c:v>Dec-22</c:v>
                </c:pt>
                <c:pt idx="15">
                  <c:v>Jan-23</c:v>
                </c:pt>
                <c:pt idx="16">
                  <c:v>Feb-23</c:v>
                </c:pt>
                <c:pt idx="17">
                  <c:v>Mar-23</c:v>
                </c:pt>
                <c:pt idx="18">
                  <c:v>Apr-23</c:v>
                </c:pt>
                <c:pt idx="19">
                  <c:v>May-23</c:v>
                </c:pt>
                <c:pt idx="20">
                  <c:v>Jun-23</c:v>
                </c:pt>
                <c:pt idx="21">
                  <c:v>Jul-23</c:v>
                </c:pt>
                <c:pt idx="22">
                  <c:v>Aug-23</c:v>
                </c:pt>
                <c:pt idx="23">
                  <c:v>Sep-23</c:v>
                </c:pt>
                <c:pt idx="24">
                  <c:v>Oct-23</c:v>
                </c:pt>
                <c:pt idx="25">
                  <c:v>Nov-23</c:v>
                </c:pt>
                <c:pt idx="26">
                  <c:v>Dec-23</c:v>
                </c:pt>
                <c:pt idx="27">
                  <c:v>Jan-24</c:v>
                </c:pt>
                <c:pt idx="28">
                  <c:v>Feb-24</c:v>
                </c:pt>
                <c:pt idx="29">
                  <c:v>Mar-24</c:v>
                </c:pt>
                <c:pt idx="30">
                  <c:v>Apr-24</c:v>
                </c:pt>
                <c:pt idx="31">
                  <c:v>May-24</c:v>
                </c:pt>
                <c:pt idx="32">
                  <c:v>Jun-24</c:v>
                </c:pt>
                <c:pt idx="33">
                  <c:v>Jul-24</c:v>
                </c:pt>
                <c:pt idx="34">
                  <c:v>Aug-24</c:v>
                </c:pt>
              </c:strCache>
            </c:strRef>
          </c:cat>
          <c:val>
            <c:numRef>
              <c:f>Sheet1!$B$2:$B$36</c:f>
              <c:numCache>
                <c:formatCode>General</c:formatCode>
                <c:ptCount val="35"/>
                <c:pt idx="0">
                  <c:v>0.085353</c:v>
                </c:pt>
                <c:pt idx="1">
                  <c:v>0.069504</c:v>
                </c:pt>
                <c:pt idx="2">
                  <c:v>0.068387</c:v>
                </c:pt>
                <c:pt idx="3">
                  <c:v>0.0645</c:v>
                </c:pt>
                <c:pt idx="4">
                  <c:v>0.078257</c:v>
                </c:pt>
                <c:pt idx="5">
                  <c:v>0.096831</c:v>
                </c:pt>
                <c:pt idx="6">
                  <c:v>0.092645</c:v>
                </c:pt>
                <c:pt idx="7">
                  <c:v>0.092033</c:v>
                </c:pt>
                <c:pt idx="8">
                  <c:v>0.085384</c:v>
                </c:pt>
                <c:pt idx="9">
                  <c:v>0.087726</c:v>
                </c:pt>
                <c:pt idx="10">
                  <c:v>0.092423</c:v>
                </c:pt>
                <c:pt idx="11">
                  <c:v>0.088835</c:v>
                </c:pt>
                <c:pt idx="12">
                  <c:v>0.090431</c:v>
                </c:pt>
                <c:pt idx="13">
                  <c:v>0.087494</c:v>
                </c:pt>
                <c:pt idx="14">
                  <c:v>0.097151</c:v>
                </c:pt>
                <c:pt idx="15">
                  <c:v>0.099666</c:v>
                </c:pt>
                <c:pt idx="16">
                  <c:v>0.094479</c:v>
                </c:pt>
                <c:pt idx="17">
                  <c:v>0.113285</c:v>
                </c:pt>
                <c:pt idx="18">
                  <c:v>0.106434</c:v>
                </c:pt>
                <c:pt idx="19">
                  <c:v>0.10776</c:v>
                </c:pt>
                <c:pt idx="20">
                  <c:v>0.10282</c:v>
                </c:pt>
                <c:pt idx="21">
                  <c:v>0.109052</c:v>
                </c:pt>
                <c:pt idx="22">
                  <c:v>0.11351</c:v>
                </c:pt>
                <c:pt idx="23">
                  <c:v>0.107433</c:v>
                </c:pt>
                <c:pt idx="24">
                  <c:v>0.110893</c:v>
                </c:pt>
                <c:pt idx="25">
                  <c:v>0.103604</c:v>
                </c:pt>
                <c:pt idx="26">
                  <c:v>0.106751</c:v>
                </c:pt>
                <c:pt idx="27">
                  <c:v>0.109417</c:v>
                </c:pt>
                <c:pt idx="28">
                  <c:v>0.108437</c:v>
                </c:pt>
                <c:pt idx="29">
                  <c:v>0.12228</c:v>
                </c:pt>
                <c:pt idx="30">
                  <c:v>0.114972</c:v>
                </c:pt>
                <c:pt idx="31">
                  <c:v>0.117992</c:v>
                </c:pt>
                <c:pt idx="32">
                  <c:v>0.116259</c:v>
                </c:pt>
                <c:pt idx="33">
                  <c:v>0.115742</c:v>
                </c:pt>
                <c:pt idx="34">
                  <c:v>0.109092</c:v>
                </c:pt>
              </c:numCache>
            </c:numRef>
          </c:val>
          <c:extLst>
            <c:ext xmlns:c16="http://schemas.microsoft.com/office/drawing/2014/chart" uri="{C3380CC4-5D6E-409C-BE32-E72D297353CC}">
              <c16:uniqueId val="{0000000A-CB01-4B89-A725-1CA2D0FD4A84}"/>
            </c:ext>
          </c:extLst>
        </c:ser>
        <c:ser>
          <c:idx val="14"/>
          <c:order val="14"/>
          <c:tx>
            <c:strRef>
              <c:f>Sheet1!$C$1</c:f>
              <c:strCache>
                <c:ptCount val="1"/>
                <c:pt idx="0">
                  <c:v>Disposable</c:v>
                </c:pt>
              </c:strCache>
            </c:strRef>
          </c:tx>
          <c:spPr>
            <a:solidFill>
              <a:srgbClr val="7ECAC4"/>
            </a:solidFill>
            <a:ln>
              <a:noFill/>
            </a:ln>
            <a:effectLst/>
          </c:spPr>
          <c:invertIfNegative val="0"/>
          <c:cat>
            <c:strRef>
              <c:f>Sheet1!$A$2:$A$36</c:f>
              <c:strCache>
                <c:ptCount val="35"/>
                <c:pt idx="0">
                  <c:v>Oct-21</c:v>
                </c:pt>
                <c:pt idx="1">
                  <c:v>Nov-21</c:v>
                </c:pt>
                <c:pt idx="2">
                  <c:v>Dec-21</c:v>
                </c:pt>
                <c:pt idx="3">
                  <c:v>Jan-22</c:v>
                </c:pt>
                <c:pt idx="4">
                  <c:v>Feb-22</c:v>
                </c:pt>
                <c:pt idx="5">
                  <c:v>Mar-22</c:v>
                </c:pt>
                <c:pt idx="6">
                  <c:v>Apr-22</c:v>
                </c:pt>
                <c:pt idx="7">
                  <c:v>May-22</c:v>
                </c:pt>
                <c:pt idx="8">
                  <c:v>Jun-22</c:v>
                </c:pt>
                <c:pt idx="9">
                  <c:v>Jul-22</c:v>
                </c:pt>
                <c:pt idx="10">
                  <c:v>Aug-22</c:v>
                </c:pt>
                <c:pt idx="11">
                  <c:v>Sep-22</c:v>
                </c:pt>
                <c:pt idx="12">
                  <c:v>Oct-22</c:v>
                </c:pt>
                <c:pt idx="13">
                  <c:v>Nov-22</c:v>
                </c:pt>
                <c:pt idx="14">
                  <c:v>Dec-22</c:v>
                </c:pt>
                <c:pt idx="15">
                  <c:v>Jan-23</c:v>
                </c:pt>
                <c:pt idx="16">
                  <c:v>Feb-23</c:v>
                </c:pt>
                <c:pt idx="17">
                  <c:v>Mar-23</c:v>
                </c:pt>
                <c:pt idx="18">
                  <c:v>Apr-23</c:v>
                </c:pt>
                <c:pt idx="19">
                  <c:v>May-23</c:v>
                </c:pt>
                <c:pt idx="20">
                  <c:v>Jun-23</c:v>
                </c:pt>
                <c:pt idx="21">
                  <c:v>Jul-23</c:v>
                </c:pt>
                <c:pt idx="22">
                  <c:v>Aug-23</c:v>
                </c:pt>
                <c:pt idx="23">
                  <c:v>Sep-23</c:v>
                </c:pt>
                <c:pt idx="24">
                  <c:v>Oct-23</c:v>
                </c:pt>
                <c:pt idx="25">
                  <c:v>Nov-23</c:v>
                </c:pt>
                <c:pt idx="26">
                  <c:v>Dec-23</c:v>
                </c:pt>
                <c:pt idx="27">
                  <c:v>Jan-24</c:v>
                </c:pt>
                <c:pt idx="28">
                  <c:v>Feb-24</c:v>
                </c:pt>
                <c:pt idx="29">
                  <c:v>Mar-24</c:v>
                </c:pt>
                <c:pt idx="30">
                  <c:v>Apr-24</c:v>
                </c:pt>
                <c:pt idx="31">
                  <c:v>May-24</c:v>
                </c:pt>
                <c:pt idx="32">
                  <c:v>Jun-24</c:v>
                </c:pt>
                <c:pt idx="33">
                  <c:v>Jul-24</c:v>
                </c:pt>
                <c:pt idx="34">
                  <c:v>Aug-24</c:v>
                </c:pt>
              </c:strCache>
            </c:strRef>
          </c:cat>
          <c:val>
            <c:numRef>
              <c:f>Sheet1!$C$2:$C$36</c:f>
              <c:numCache>
                <c:formatCode>General</c:formatCode>
                <c:ptCount val="35"/>
                <c:pt idx="0">
                  <c:v>0.705637</c:v>
                </c:pt>
                <c:pt idx="1">
                  <c:v>0.643222</c:v>
                </c:pt>
                <c:pt idx="2">
                  <c:v>0.683906</c:v>
                </c:pt>
                <c:pt idx="3">
                  <c:v>0.695238</c:v>
                </c:pt>
                <c:pt idx="4">
                  <c:v>0.653921</c:v>
                </c:pt>
                <c:pt idx="5">
                  <c:v>0.795217</c:v>
                </c:pt>
                <c:pt idx="6">
                  <c:v>0.773586</c:v>
                </c:pt>
                <c:pt idx="7">
                  <c:v>0.823702</c:v>
                </c:pt>
                <c:pt idx="8">
                  <c:v>0.825308</c:v>
                </c:pt>
                <c:pt idx="9">
                  <c:v>0.847355</c:v>
                </c:pt>
                <c:pt idx="10">
                  <c:v>0.81333</c:v>
                </c:pt>
                <c:pt idx="11">
                  <c:v>0.751864</c:v>
                </c:pt>
                <c:pt idx="12">
                  <c:v>0.730307</c:v>
                </c:pt>
                <c:pt idx="13">
                  <c:v>0.675308</c:v>
                </c:pt>
                <c:pt idx="14">
                  <c:v>0.695781</c:v>
                </c:pt>
                <c:pt idx="15">
                  <c:v>0.701053</c:v>
                </c:pt>
                <c:pt idx="16">
                  <c:v>0.651332</c:v>
                </c:pt>
                <c:pt idx="17">
                  <c:v>0.766774</c:v>
                </c:pt>
                <c:pt idx="18">
                  <c:v>0.764207</c:v>
                </c:pt>
                <c:pt idx="19">
                  <c:v>0.818709</c:v>
                </c:pt>
                <c:pt idx="20">
                  <c:v>0.831988</c:v>
                </c:pt>
                <c:pt idx="21">
                  <c:v>0.840755</c:v>
                </c:pt>
                <c:pt idx="22">
                  <c:v>0.793861</c:v>
                </c:pt>
                <c:pt idx="23">
                  <c:v>0.726699</c:v>
                </c:pt>
                <c:pt idx="24">
                  <c:v>0.703863</c:v>
                </c:pt>
                <c:pt idx="25">
                  <c:v>0.657216</c:v>
                </c:pt>
                <c:pt idx="26">
                  <c:v>0.781488</c:v>
                </c:pt>
                <c:pt idx="27">
                  <c:v>0.66898</c:v>
                </c:pt>
                <c:pt idx="28">
                  <c:v>0.668545</c:v>
                </c:pt>
                <c:pt idx="29">
                  <c:v>0.755725</c:v>
                </c:pt>
                <c:pt idx="30">
                  <c:v>0.752171</c:v>
                </c:pt>
                <c:pt idx="31">
                  <c:v>0.806996</c:v>
                </c:pt>
                <c:pt idx="32">
                  <c:v>0.827152</c:v>
                </c:pt>
                <c:pt idx="33">
                  <c:v>0.843007</c:v>
                </c:pt>
                <c:pt idx="34">
                  <c:v>0.797565</c:v>
                </c:pt>
              </c:numCache>
            </c:numRef>
          </c:val>
          <c:extLst>
            <c:ext xmlns:c16="http://schemas.microsoft.com/office/drawing/2014/chart" uri="{C3380CC4-5D6E-409C-BE32-E72D297353CC}">
              <c16:uniqueId val="{0000000B-CB01-4B89-A725-1CA2D0FD4A84}"/>
            </c:ext>
          </c:extLst>
        </c:ser>
        <c:ser>
          <c:idx val="15"/>
          <c:order val="15"/>
          <c:tx>
            <c:strRef>
              <c:f>Sheet1!$D$1</c:f>
              <c:strCache>
                <c:ptCount val="1"/>
                <c:pt idx="0">
                  <c:v>System</c:v>
                </c:pt>
              </c:strCache>
            </c:strRef>
          </c:tx>
          <c:spPr>
            <a:solidFill>
              <a:srgbClr val="B2DFDC"/>
            </a:solidFill>
            <a:ln>
              <a:noFill/>
            </a:ln>
            <a:effectLst/>
          </c:spPr>
          <c:invertIfNegative val="0"/>
          <c:cat>
            <c:strRef>
              <c:f>Sheet1!$A$2:$A$36</c:f>
              <c:strCache>
                <c:ptCount val="35"/>
                <c:pt idx="0">
                  <c:v>Oct-21</c:v>
                </c:pt>
                <c:pt idx="1">
                  <c:v>Nov-21</c:v>
                </c:pt>
                <c:pt idx="2">
                  <c:v>Dec-21</c:v>
                </c:pt>
                <c:pt idx="3">
                  <c:v>Jan-22</c:v>
                </c:pt>
                <c:pt idx="4">
                  <c:v>Feb-22</c:v>
                </c:pt>
                <c:pt idx="5">
                  <c:v>Mar-22</c:v>
                </c:pt>
                <c:pt idx="6">
                  <c:v>Apr-22</c:v>
                </c:pt>
                <c:pt idx="7">
                  <c:v>May-22</c:v>
                </c:pt>
                <c:pt idx="8">
                  <c:v>Jun-22</c:v>
                </c:pt>
                <c:pt idx="9">
                  <c:v>Jul-22</c:v>
                </c:pt>
                <c:pt idx="10">
                  <c:v>Aug-22</c:v>
                </c:pt>
                <c:pt idx="11">
                  <c:v>Sep-22</c:v>
                </c:pt>
                <c:pt idx="12">
                  <c:v>Oct-22</c:v>
                </c:pt>
                <c:pt idx="13">
                  <c:v>Nov-22</c:v>
                </c:pt>
                <c:pt idx="14">
                  <c:v>Dec-22</c:v>
                </c:pt>
                <c:pt idx="15">
                  <c:v>Jan-23</c:v>
                </c:pt>
                <c:pt idx="16">
                  <c:v>Feb-23</c:v>
                </c:pt>
                <c:pt idx="17">
                  <c:v>Mar-23</c:v>
                </c:pt>
                <c:pt idx="18">
                  <c:v>Apr-23</c:v>
                </c:pt>
                <c:pt idx="19">
                  <c:v>May-23</c:v>
                </c:pt>
                <c:pt idx="20">
                  <c:v>Jun-23</c:v>
                </c:pt>
                <c:pt idx="21">
                  <c:v>Jul-23</c:v>
                </c:pt>
                <c:pt idx="22">
                  <c:v>Aug-23</c:v>
                </c:pt>
                <c:pt idx="23">
                  <c:v>Sep-23</c:v>
                </c:pt>
                <c:pt idx="24">
                  <c:v>Oct-23</c:v>
                </c:pt>
                <c:pt idx="25">
                  <c:v>Nov-23</c:v>
                </c:pt>
                <c:pt idx="26">
                  <c:v>Dec-23</c:v>
                </c:pt>
                <c:pt idx="27">
                  <c:v>Jan-24</c:v>
                </c:pt>
                <c:pt idx="28">
                  <c:v>Feb-24</c:v>
                </c:pt>
                <c:pt idx="29">
                  <c:v>Mar-24</c:v>
                </c:pt>
                <c:pt idx="30">
                  <c:v>Apr-24</c:v>
                </c:pt>
                <c:pt idx="31">
                  <c:v>May-24</c:v>
                </c:pt>
                <c:pt idx="32">
                  <c:v>Jun-24</c:v>
                </c:pt>
                <c:pt idx="33">
                  <c:v>Jul-24</c:v>
                </c:pt>
                <c:pt idx="34">
                  <c:v>Aug-24</c:v>
                </c:pt>
              </c:strCache>
            </c:strRef>
          </c:cat>
          <c:val>
            <c:numRef>
              <c:f>Sheet1!$D$2:$D$36</c:f>
              <c:numCache>
                <c:formatCode>General</c:formatCode>
                <c:ptCount val="35"/>
                <c:pt idx="0">
                  <c:v>0.511739</c:v>
                </c:pt>
                <c:pt idx="1">
                  <c:v>0.472299</c:v>
                </c:pt>
                <c:pt idx="2">
                  <c:v>0.52271</c:v>
                </c:pt>
                <c:pt idx="3">
                  <c:v>0.50466</c:v>
                </c:pt>
                <c:pt idx="4">
                  <c:v>0.497519</c:v>
                </c:pt>
                <c:pt idx="5">
                  <c:v>0.613904</c:v>
                </c:pt>
                <c:pt idx="6">
                  <c:v>0.604045</c:v>
                </c:pt>
                <c:pt idx="7">
                  <c:v>0.630096</c:v>
                </c:pt>
                <c:pt idx="8">
                  <c:v>0.632107</c:v>
                </c:pt>
                <c:pt idx="9">
                  <c:v>0.642972</c:v>
                </c:pt>
                <c:pt idx="10">
                  <c:v>0.613924</c:v>
                </c:pt>
                <c:pt idx="11">
                  <c:v>0.55466</c:v>
                </c:pt>
                <c:pt idx="12">
                  <c:v>0.553597</c:v>
                </c:pt>
                <c:pt idx="13">
                  <c:v>0.530367</c:v>
                </c:pt>
                <c:pt idx="14">
                  <c:v>0.588811</c:v>
                </c:pt>
                <c:pt idx="15">
                  <c:v>0.564775</c:v>
                </c:pt>
                <c:pt idx="16">
                  <c:v>0.515509</c:v>
                </c:pt>
                <c:pt idx="17">
                  <c:v>0.599997</c:v>
                </c:pt>
                <c:pt idx="18">
                  <c:v>0.593983</c:v>
                </c:pt>
                <c:pt idx="19">
                  <c:v>0.623086</c:v>
                </c:pt>
                <c:pt idx="20">
                  <c:v>0.622904</c:v>
                </c:pt>
                <c:pt idx="21">
                  <c:v>0.646349</c:v>
                </c:pt>
                <c:pt idx="22">
                  <c:v>0.616839</c:v>
                </c:pt>
                <c:pt idx="23">
                  <c:v>0.552626</c:v>
                </c:pt>
                <c:pt idx="24">
                  <c:v>0.533111</c:v>
                </c:pt>
                <c:pt idx="25">
                  <c:v>0.506031</c:v>
                </c:pt>
                <c:pt idx="26">
                  <c:v>0.572892</c:v>
                </c:pt>
                <c:pt idx="27">
                  <c:v>0.519874</c:v>
                </c:pt>
                <c:pt idx="28">
                  <c:v>0.516583</c:v>
                </c:pt>
                <c:pt idx="29">
                  <c:v>0.596443</c:v>
                </c:pt>
                <c:pt idx="30">
                  <c:v>0.582529</c:v>
                </c:pt>
                <c:pt idx="31">
                  <c:v>0.615292</c:v>
                </c:pt>
                <c:pt idx="32">
                  <c:v>0.656336</c:v>
                </c:pt>
                <c:pt idx="33">
                  <c:v>0.639901</c:v>
                </c:pt>
                <c:pt idx="34">
                  <c:v>0.603237</c:v>
                </c:pt>
              </c:numCache>
            </c:numRef>
          </c:val>
          <c:extLst>
            <c:ext xmlns:c16="http://schemas.microsoft.com/office/drawing/2014/chart" uri="{C3380CC4-5D6E-409C-BE32-E72D297353CC}">
              <c16:uniqueId val="{0000000C-CB01-4B89-A725-1CA2D0FD4A84}"/>
            </c:ext>
          </c:extLst>
        </c:ser>
        <c:dLbls>
          <c:showLegendKey val="0"/>
          <c:showVal val="0"/>
          <c:showCatName val="0"/>
          <c:showSerName val="0"/>
          <c:showPercent val="0"/>
          <c:showBubbleSize val="0"/>
        </c:dLbls>
        <c:gapWidth val="150"/>
        <c:overlap val="100"/>
        <c:axId val="1624167016"/>
        <c:axId val="1624169640"/>
        <c:extLst>
          <c:ext xmlns:c15="http://schemas.microsoft.com/office/drawing/2012/chart" uri="{02D57815-91ED-43cb-92C2-25804820EDAC}">
            <c15:filteredBarSeries>
              <c15:ser>
                <c:idx val="1"/>
                <c:order val="1"/>
                <c:tx>
                  <c:strRef>
                    <c:extLst>
                      <c:ext uri="{02D57815-91ED-43cb-92C2-25804820EDAC}">
                        <c15:formulaRef>
                          <c15:sqref>Sheet1!$C$1</c15:sqref>
                        </c15:formulaRef>
                      </c:ext>
                    </c:extLst>
                    <c:strCache>
                      <c:ptCount val="1"/>
                      <c:pt idx="0">
                        <c:v>Sector 1</c:v>
                      </c:pt>
                    </c:strCache>
                  </c:strRef>
                </c:tx>
                <c:spPr>
                  <a:solidFill>
                    <a:schemeClr val="dk1">
                      <a:tint val="55000"/>
                    </a:schemeClr>
                  </a:solidFill>
                  <a:ln>
                    <a:noFill/>
                  </a:ln>
                  <a:effectLst/>
                </c:spPr>
                <c:invertIfNegative val="0"/>
                <c:cat>
                  <c:strRef>
                    <c:extLst>
                      <c:ex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c:ext uri="{02D57815-91ED-43cb-92C2-25804820EDAC}">
                        <c15:formulaRef>
                          <c15:sqref>Sheet1!$C$2:$C$36</c15:sqref>
                        </c15:formulaRef>
                      </c:ext>
                    </c:extLst>
                    <c:numCache>
                      <c:formatCode>General</c:formatCode>
                      <c:ptCount val="35"/>
                      <c:pt idx="0">
                        <c:v>40.809865000000002</c:v>
                      </c:pt>
                      <c:pt idx="1">
                        <c:v>41.860694000000002</c:v>
                      </c:pt>
                      <c:pt idx="2">
                        <c:v>34.509422000000001</c:v>
                      </c:pt>
                      <c:pt idx="3">
                        <c:v>49.657702</c:v>
                      </c:pt>
                      <c:pt idx="4">
                        <c:v>50.616717999999999</c:v>
                      </c:pt>
                      <c:pt idx="5">
                        <c:v>51.539561999999997</c:v>
                      </c:pt>
                      <c:pt idx="6">
                        <c:v>53.959558000000001</c:v>
                      </c:pt>
                      <c:pt idx="7">
                        <c:v>48.84498</c:v>
                      </c:pt>
                      <c:pt idx="8">
                        <c:v>43.617640999999999</c:v>
                      </c:pt>
                      <c:pt idx="9">
                        <c:v>44.545436000000002</c:v>
                      </c:pt>
                      <c:pt idx="10">
                        <c:v>41.403309999999998</c:v>
                      </c:pt>
                      <c:pt idx="11">
                        <c:v>42.115876</c:v>
                      </c:pt>
                      <c:pt idx="12">
                        <c:v>39.743237000000001</c:v>
                      </c:pt>
                      <c:pt idx="13">
                        <c:v>42.646582000000002</c:v>
                      </c:pt>
                      <c:pt idx="14">
                        <c:v>40.323042999999998</c:v>
                      </c:pt>
                      <c:pt idx="15">
                        <c:v>52.877302</c:v>
                      </c:pt>
                      <c:pt idx="16">
                        <c:v>52.359431000000001</c:v>
                      </c:pt>
                      <c:pt idx="17">
                        <c:v>50.322519999999997</c:v>
                      </c:pt>
                      <c:pt idx="18">
                        <c:v>52.78004</c:v>
                      </c:pt>
                      <c:pt idx="19">
                        <c:v>49.372244999999999</c:v>
                      </c:pt>
                      <c:pt idx="20">
                        <c:v>50.002222000000003</c:v>
                      </c:pt>
                      <c:pt idx="21">
                        <c:v>46.193210000000001</c:v>
                      </c:pt>
                      <c:pt idx="22">
                        <c:v>41.510463999999999</c:v>
                      </c:pt>
                      <c:pt idx="23">
                        <c:v>40.221505000000001</c:v>
                      </c:pt>
                      <c:pt idx="24">
                        <c:v>42.523161999999999</c:v>
                      </c:pt>
                      <c:pt idx="25">
                        <c:v>45.628883999999999</c:v>
                      </c:pt>
                      <c:pt idx="26">
                        <c:v>40.031787999999999</c:v>
                      </c:pt>
                      <c:pt idx="27">
                        <c:v>51.652650000000001</c:v>
                      </c:pt>
                      <c:pt idx="28">
                        <c:v>50.177590000000002</c:v>
                      </c:pt>
                      <c:pt idx="29">
                        <c:v>54.531019999999998</c:v>
                      </c:pt>
                      <c:pt idx="30">
                        <c:v>56.857843000000003</c:v>
                      </c:pt>
                      <c:pt idx="31">
                        <c:v>50.233561999999999</c:v>
                      </c:pt>
                      <c:pt idx="32">
                        <c:v>48.179372000000001</c:v>
                      </c:pt>
                      <c:pt idx="33">
                        <c:v>47.120365</c:v>
                      </c:pt>
                      <c:pt idx="34">
                        <c:v>35.507016999999998</c:v>
                      </c:pt>
                    </c:numCache>
                  </c:numRef>
                </c:val>
                <c:extLst>
                  <c:ext xmlns:c16="http://schemas.microsoft.com/office/drawing/2014/chart" uri="{C3380CC4-5D6E-409C-BE32-E72D297353CC}">
                    <c16:uniqueId val="{00000001-A582-417D-A5F8-2A0075530F50}"/>
                  </c:ext>
                </c:extLst>
              </c15:ser>
            </c15:filteredBarSeries>
            <c15:filteredBarSeries>
              <c15:ser>
                <c:idx val="2"/>
                <c:order val="2"/>
                <c:tx>
                  <c:strRef>
                    <c:extLst xmlns:c15="http://schemas.microsoft.com/office/drawing/2012/chart">
                      <c:ext xmlns:c15="http://schemas.microsoft.com/office/drawing/2012/chart" uri="{02D57815-91ED-43cb-92C2-25804820EDAC}">
                        <c15:formulaRef>
                          <c15:sqref>Sheet1!$D$1</c15:sqref>
                        </c15:formulaRef>
                      </c:ext>
                    </c:extLst>
                    <c:strCache>
                      <c:ptCount val="1"/>
                      <c:pt idx="0">
                        <c:v>Sector 2</c:v>
                      </c:pt>
                    </c:strCache>
                  </c:strRef>
                </c:tx>
                <c:spPr>
                  <a:solidFill>
                    <a:schemeClr val="dk1">
                      <a:tint val="75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D$2:$D$36</c15:sqref>
                        </c15:formulaRef>
                      </c:ext>
                    </c:extLst>
                    <c:numCache>
                      <c:formatCode>General</c:formatCode>
                      <c:ptCount val="35"/>
                      <c:pt idx="0">
                        <c:v>19.557812999999999</c:v>
                      </c:pt>
                      <c:pt idx="1">
                        <c:v>23.784803</c:v>
                      </c:pt>
                      <c:pt idx="2">
                        <c:v>21.799987000000002</c:v>
                      </c:pt>
                      <c:pt idx="3">
                        <c:v>25.857672000000001</c:v>
                      </c:pt>
                      <c:pt idx="4">
                        <c:v>24.992432999999998</c:v>
                      </c:pt>
                      <c:pt idx="5">
                        <c:v>26.955321999999999</c:v>
                      </c:pt>
                      <c:pt idx="6">
                        <c:v>32.419100999999998</c:v>
                      </c:pt>
                      <c:pt idx="7">
                        <c:v>29.344944999999999</c:v>
                      </c:pt>
                      <c:pt idx="8">
                        <c:v>27.493164</c:v>
                      </c:pt>
                      <c:pt idx="9">
                        <c:v>23.275084</c:v>
                      </c:pt>
                      <c:pt idx="10">
                        <c:v>24.237242999999999</c:v>
                      </c:pt>
                      <c:pt idx="11">
                        <c:v>23.067723999999998</c:v>
                      </c:pt>
                      <c:pt idx="12">
                        <c:v>23.036899999999999</c:v>
                      </c:pt>
                      <c:pt idx="13">
                        <c:v>25.516981000000001</c:v>
                      </c:pt>
                      <c:pt idx="14">
                        <c:v>22.874832000000001</c:v>
                      </c:pt>
                      <c:pt idx="15">
                        <c:v>26.349399999999999</c:v>
                      </c:pt>
                      <c:pt idx="16">
                        <c:v>29.881401</c:v>
                      </c:pt>
                      <c:pt idx="17">
                        <c:v>31.686630000000001</c:v>
                      </c:pt>
                      <c:pt idx="18">
                        <c:v>34.259588000000001</c:v>
                      </c:pt>
                      <c:pt idx="19">
                        <c:v>31.563769000000001</c:v>
                      </c:pt>
                      <c:pt idx="20">
                        <c:v>27.452038999999999</c:v>
                      </c:pt>
                      <c:pt idx="21">
                        <c:v>24.840769999999999</c:v>
                      </c:pt>
                      <c:pt idx="22">
                        <c:v>26.102284999999998</c:v>
                      </c:pt>
                      <c:pt idx="23">
                        <c:v>23.897715000000002</c:v>
                      </c:pt>
                      <c:pt idx="24">
                        <c:v>25.006601</c:v>
                      </c:pt>
                      <c:pt idx="25">
                        <c:v>27.601903</c:v>
                      </c:pt>
                      <c:pt idx="26">
                        <c:v>22.956002999999999</c:v>
                      </c:pt>
                      <c:pt idx="27">
                        <c:v>26.913005999999999</c:v>
                      </c:pt>
                      <c:pt idx="28">
                        <c:v>31.412331999999999</c:v>
                      </c:pt>
                      <c:pt idx="29">
                        <c:v>32.630974000000002</c:v>
                      </c:pt>
                      <c:pt idx="30">
                        <c:v>31.591038000000001</c:v>
                      </c:pt>
                      <c:pt idx="31">
                        <c:v>31.863667</c:v>
                      </c:pt>
                      <c:pt idx="32">
                        <c:v>31.422338</c:v>
                      </c:pt>
                      <c:pt idx="33">
                        <c:v>28.426777000000001</c:v>
                      </c:pt>
                      <c:pt idx="34">
                        <c:v>26.165305</c:v>
                      </c:pt>
                    </c:numCache>
                  </c:numRef>
                </c:val>
                <c:extLst xmlns:c15="http://schemas.microsoft.com/office/drawing/2012/chart">
                  <c:ext xmlns:c16="http://schemas.microsoft.com/office/drawing/2014/chart" uri="{C3380CC4-5D6E-409C-BE32-E72D297353CC}">
                    <c16:uniqueId val="{00000000-2D16-4906-BB22-77AF188F6975}"/>
                  </c:ext>
                </c:extLst>
              </c15:ser>
            </c15:filteredBarSeries>
            <c15:filteredBarSeries>
              <c15:ser>
                <c:idx val="3"/>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Sector 3</c:v>
                      </c:pt>
                    </c:strCache>
                  </c:strRef>
                </c:tx>
                <c:spPr>
                  <a:solidFill>
                    <a:schemeClr val="dk1">
                      <a:tint val="985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E$2:$E$36</c15:sqref>
                        </c15:formulaRef>
                      </c:ext>
                    </c:extLst>
                    <c:numCache>
                      <c:formatCode>General</c:formatCode>
                      <c:ptCount val="35"/>
                      <c:pt idx="0">
                        <c:v>27.462826</c:v>
                      </c:pt>
                      <c:pt idx="1">
                        <c:v>39.404572000000002</c:v>
                      </c:pt>
                      <c:pt idx="2">
                        <c:v>34.570886000000002</c:v>
                      </c:pt>
                      <c:pt idx="3">
                        <c:v>47.424028999999997</c:v>
                      </c:pt>
                      <c:pt idx="4">
                        <c:v>42.725195999999997</c:v>
                      </c:pt>
                      <c:pt idx="5">
                        <c:v>49.893875999999999</c:v>
                      </c:pt>
                      <c:pt idx="6">
                        <c:v>45.230561999999999</c:v>
                      </c:pt>
                      <c:pt idx="7">
                        <c:v>36.896878999999998</c:v>
                      </c:pt>
                      <c:pt idx="8">
                        <c:v>33.942658000000002</c:v>
                      </c:pt>
                      <c:pt idx="9">
                        <c:v>31.043399000000001</c:v>
                      </c:pt>
                      <c:pt idx="10">
                        <c:v>28.703312</c:v>
                      </c:pt>
                      <c:pt idx="11">
                        <c:v>32.247686999999999</c:v>
                      </c:pt>
                      <c:pt idx="12">
                        <c:v>39.267698000000003</c:v>
                      </c:pt>
                      <c:pt idx="13">
                        <c:v>36.104199999999999</c:v>
                      </c:pt>
                      <c:pt idx="14">
                        <c:v>35.473145000000002</c:v>
                      </c:pt>
                      <c:pt idx="15">
                        <c:v>53.202506999999997</c:v>
                      </c:pt>
                      <c:pt idx="16">
                        <c:v>50.982067999999998</c:v>
                      </c:pt>
                      <c:pt idx="17">
                        <c:v>60.592055999999999</c:v>
                      </c:pt>
                      <c:pt idx="18">
                        <c:v>55.653505000000003</c:v>
                      </c:pt>
                      <c:pt idx="19">
                        <c:v>45.804431000000001</c:v>
                      </c:pt>
                      <c:pt idx="20">
                        <c:v>42.097817999999997</c:v>
                      </c:pt>
                      <c:pt idx="21">
                        <c:v>38.569479999999999</c:v>
                      </c:pt>
                      <c:pt idx="22">
                        <c:v>32.493749000000001</c:v>
                      </c:pt>
                      <c:pt idx="23">
                        <c:v>31.329796000000002</c:v>
                      </c:pt>
                      <c:pt idx="24">
                        <c:v>33.130343000000003</c:v>
                      </c:pt>
                      <c:pt idx="25">
                        <c:v>40.916313000000002</c:v>
                      </c:pt>
                      <c:pt idx="26">
                        <c:v>34.557360000000003</c:v>
                      </c:pt>
                      <c:pt idx="27">
                        <c:v>46.799098000000001</c:v>
                      </c:pt>
                      <c:pt idx="28">
                        <c:v>46.752299000000001</c:v>
                      </c:pt>
                      <c:pt idx="29">
                        <c:v>54.888565999999997</c:v>
                      </c:pt>
                      <c:pt idx="30">
                        <c:v>56.439608999999997</c:v>
                      </c:pt>
                      <c:pt idx="31">
                        <c:v>44.964128000000002</c:v>
                      </c:pt>
                      <c:pt idx="32">
                        <c:v>45.321382999999997</c:v>
                      </c:pt>
                      <c:pt idx="33">
                        <c:v>37.671095999999999</c:v>
                      </c:pt>
                      <c:pt idx="34">
                        <c:v>31.554338999999999</c:v>
                      </c:pt>
                    </c:numCache>
                  </c:numRef>
                </c:val>
                <c:extLst xmlns:c15="http://schemas.microsoft.com/office/drawing/2012/chart">
                  <c:ext xmlns:c16="http://schemas.microsoft.com/office/drawing/2014/chart" uri="{C3380CC4-5D6E-409C-BE32-E72D297353CC}">
                    <c16:uniqueId val="{00000001-2D16-4906-BB22-77AF188F6975}"/>
                  </c:ext>
                </c:extLst>
              </c15:ser>
            </c15:filteredBarSeries>
            <c15:filteredBarSeries>
              <c15:ser>
                <c:idx val="4"/>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Sector 4</c:v>
                      </c:pt>
                    </c:strCache>
                  </c:strRef>
                </c:tx>
                <c:spPr>
                  <a:solidFill>
                    <a:schemeClr val="dk1">
                      <a:tint val="30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F$2:$F$36</c15:sqref>
                        </c15:formulaRef>
                      </c:ext>
                    </c:extLst>
                    <c:numCache>
                      <c:formatCode>General</c:formatCode>
                      <c:ptCount val="35"/>
                      <c:pt idx="0">
                        <c:v>28.541810999999999</c:v>
                      </c:pt>
                      <c:pt idx="1">
                        <c:v>29.052481</c:v>
                      </c:pt>
                      <c:pt idx="2">
                        <c:v>33.367750000000001</c:v>
                      </c:pt>
                      <c:pt idx="3">
                        <c:v>35.968623999999998</c:v>
                      </c:pt>
                      <c:pt idx="4">
                        <c:v>33.207349000000001</c:v>
                      </c:pt>
                      <c:pt idx="5">
                        <c:v>35.057527</c:v>
                      </c:pt>
                      <c:pt idx="6">
                        <c:v>38.900894999999998</c:v>
                      </c:pt>
                      <c:pt idx="7">
                        <c:v>43.694178999999998</c:v>
                      </c:pt>
                      <c:pt idx="8">
                        <c:v>62.841144999999997</c:v>
                      </c:pt>
                      <c:pt idx="9">
                        <c:v>54.763354999999997</c:v>
                      </c:pt>
                      <c:pt idx="10">
                        <c:v>89.252371999999994</c:v>
                      </c:pt>
                      <c:pt idx="11">
                        <c:v>25.975645</c:v>
                      </c:pt>
                      <c:pt idx="12">
                        <c:v>30.148197</c:v>
                      </c:pt>
                      <c:pt idx="13">
                        <c:v>36.475974999999998</c:v>
                      </c:pt>
                      <c:pt idx="14">
                        <c:v>29.658926000000001</c:v>
                      </c:pt>
                      <c:pt idx="15">
                        <c:v>35.421528000000002</c:v>
                      </c:pt>
                      <c:pt idx="16">
                        <c:v>32.439849000000002</c:v>
                      </c:pt>
                      <c:pt idx="17">
                        <c:v>35.716830000000002</c:v>
                      </c:pt>
                      <c:pt idx="18">
                        <c:v>41.225175999999998</c:v>
                      </c:pt>
                      <c:pt idx="19">
                        <c:v>43.331505999999997</c:v>
                      </c:pt>
                      <c:pt idx="20">
                        <c:v>67.705122000000003</c:v>
                      </c:pt>
                      <c:pt idx="21">
                        <c:v>56.56662</c:v>
                      </c:pt>
                      <c:pt idx="22">
                        <c:v>91.018388000000002</c:v>
                      </c:pt>
                      <c:pt idx="23">
                        <c:v>26.250737000000001</c:v>
                      </c:pt>
                      <c:pt idx="24">
                        <c:v>30.771353000000001</c:v>
                      </c:pt>
                      <c:pt idx="25">
                        <c:v>32.781751</c:v>
                      </c:pt>
                      <c:pt idx="26">
                        <c:v>40.871063999999997</c:v>
                      </c:pt>
                      <c:pt idx="27">
                        <c:v>36.555362000000002</c:v>
                      </c:pt>
                      <c:pt idx="28">
                        <c:v>33.561486000000002</c:v>
                      </c:pt>
                      <c:pt idx="29">
                        <c:v>37.536104000000002</c:v>
                      </c:pt>
                      <c:pt idx="30">
                        <c:v>45.721882000000001</c:v>
                      </c:pt>
                      <c:pt idx="31">
                        <c:v>44.358134999999997</c:v>
                      </c:pt>
                      <c:pt idx="32">
                        <c:v>73.994276999999997</c:v>
                      </c:pt>
                      <c:pt idx="33">
                        <c:v>62.661236000000002</c:v>
                      </c:pt>
                      <c:pt idx="34">
                        <c:v>91.533505000000005</c:v>
                      </c:pt>
                    </c:numCache>
                  </c:numRef>
                </c:val>
                <c:extLst xmlns:c15="http://schemas.microsoft.com/office/drawing/2012/chart">
                  <c:ext xmlns:c16="http://schemas.microsoft.com/office/drawing/2014/chart" uri="{C3380CC4-5D6E-409C-BE32-E72D297353CC}">
                    <c16:uniqueId val="{00000002-2D16-4906-BB22-77AF188F6975}"/>
                  </c:ext>
                </c:extLst>
              </c15:ser>
            </c15:filteredBarSeries>
            <c15:filteredBarSeries>
              <c15:ser>
                <c:idx val="5"/>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Sector 5</c:v>
                      </c:pt>
                    </c:strCache>
                  </c:strRef>
                </c:tx>
                <c:spPr>
                  <a:solidFill>
                    <a:schemeClr val="dk1">
                      <a:tint val="60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G$2:$G$36</c15:sqref>
                        </c15:formulaRef>
                      </c:ext>
                    </c:extLst>
                    <c:numCache>
                      <c:formatCode>General</c:formatCode>
                      <c:ptCount val="35"/>
                      <c:pt idx="0">
                        <c:v>12.194502</c:v>
                      </c:pt>
                      <c:pt idx="1">
                        <c:v>7.156504</c:v>
                      </c:pt>
                      <c:pt idx="2">
                        <c:v>12.852249</c:v>
                      </c:pt>
                      <c:pt idx="3">
                        <c:v>17.913703000000002</c:v>
                      </c:pt>
                      <c:pt idx="4">
                        <c:v>9.8828340000000008</c:v>
                      </c:pt>
                      <c:pt idx="5">
                        <c:v>9.6037440000000007</c:v>
                      </c:pt>
                      <c:pt idx="6">
                        <c:v>11.410088999999999</c:v>
                      </c:pt>
                      <c:pt idx="7">
                        <c:v>11.869301</c:v>
                      </c:pt>
                      <c:pt idx="8">
                        <c:v>10.943581</c:v>
                      </c:pt>
                      <c:pt idx="9">
                        <c:v>24.200908999999999</c:v>
                      </c:pt>
                      <c:pt idx="10">
                        <c:v>59.814160000000001</c:v>
                      </c:pt>
                      <c:pt idx="11">
                        <c:v>7.4327399999999999</c:v>
                      </c:pt>
                      <c:pt idx="12">
                        <c:v>12.873098000000001</c:v>
                      </c:pt>
                      <c:pt idx="13">
                        <c:v>17.347481999999999</c:v>
                      </c:pt>
                      <c:pt idx="14">
                        <c:v>14.342812</c:v>
                      </c:pt>
                      <c:pt idx="15">
                        <c:v>16.454574000000001</c:v>
                      </c:pt>
                      <c:pt idx="16">
                        <c:v>8.7173169999999995</c:v>
                      </c:pt>
                      <c:pt idx="17">
                        <c:v>8.7356230000000004</c:v>
                      </c:pt>
                      <c:pt idx="18">
                        <c:v>11.042906</c:v>
                      </c:pt>
                      <c:pt idx="19">
                        <c:v>11.438431</c:v>
                      </c:pt>
                      <c:pt idx="20">
                        <c:v>12.034544</c:v>
                      </c:pt>
                      <c:pt idx="21">
                        <c:v>28.273</c:v>
                      </c:pt>
                      <c:pt idx="22">
                        <c:v>61.781478999999997</c:v>
                      </c:pt>
                      <c:pt idx="23">
                        <c:v>8.5091110000000008</c:v>
                      </c:pt>
                      <c:pt idx="24">
                        <c:v>14.055974000000001</c:v>
                      </c:pt>
                      <c:pt idx="25">
                        <c:v>10.074814999999999</c:v>
                      </c:pt>
                      <c:pt idx="26">
                        <c:v>26.582386</c:v>
                      </c:pt>
                      <c:pt idx="27">
                        <c:v>16.377361000000001</c:v>
                      </c:pt>
                      <c:pt idx="28">
                        <c:v>10.356033</c:v>
                      </c:pt>
                      <c:pt idx="29">
                        <c:v>11.832685</c:v>
                      </c:pt>
                      <c:pt idx="30">
                        <c:v>14.576200999999999</c:v>
                      </c:pt>
                      <c:pt idx="31">
                        <c:v>14.285002</c:v>
                      </c:pt>
                      <c:pt idx="32">
                        <c:v>16.927510000000002</c:v>
                      </c:pt>
                      <c:pt idx="33">
                        <c:v>34.868727999999997</c:v>
                      </c:pt>
                      <c:pt idx="34">
                        <c:v>70.545312999999993</c:v>
                      </c:pt>
                    </c:numCache>
                  </c:numRef>
                </c:val>
                <c:extLst xmlns:c15="http://schemas.microsoft.com/office/drawing/2012/chart">
                  <c:ext xmlns:c16="http://schemas.microsoft.com/office/drawing/2014/chart" uri="{C3380CC4-5D6E-409C-BE32-E72D297353CC}">
                    <c16:uniqueId val="{00000003-2D16-4906-BB22-77AF188F6975}"/>
                  </c:ext>
                </c:extLst>
              </c15:ser>
            </c15:filteredBarSeries>
            <c15:filteredBarSeries>
              <c15:ser>
                <c:idx val="6"/>
                <c:order val="6"/>
                <c:tx>
                  <c:strRef>
                    <c:extLst xmlns:c15="http://schemas.microsoft.com/office/drawing/2012/chart">
                      <c:ext xmlns:c15="http://schemas.microsoft.com/office/drawing/2012/chart" uri="{02D57815-91ED-43cb-92C2-25804820EDAC}">
                        <c15:formulaRef>
                          <c15:sqref>Sheet1!$H$1</c15:sqref>
                        </c15:formulaRef>
                      </c:ext>
                    </c:extLst>
                    <c:strCache>
                      <c:ptCount val="1"/>
                      <c:pt idx="0">
                        <c:v>Sector 6</c:v>
                      </c:pt>
                    </c:strCache>
                  </c:strRef>
                </c:tx>
                <c:spPr>
                  <a:solidFill>
                    <a:schemeClr val="dk1">
                      <a:tint val="80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H$2:$H$36</c15:sqref>
                        </c15:formulaRef>
                      </c:ext>
                    </c:extLst>
                    <c:numCache>
                      <c:formatCode>General</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numRef>
                </c:val>
                <c:extLst xmlns:c15="http://schemas.microsoft.com/office/drawing/2012/chart">
                  <c:ext xmlns:c16="http://schemas.microsoft.com/office/drawing/2014/chart" uri="{C3380CC4-5D6E-409C-BE32-E72D297353CC}">
                    <c16:uniqueId val="{00000003-CB01-4B89-A725-1CA2D0FD4A84}"/>
                  </c:ext>
                </c:extLst>
              </c15:ser>
            </c15:filteredBarSeries>
          </c:ext>
        </c:extLst>
      </c:barChart>
      <c:lineChart>
        <c:grouping val="stacked"/>
        <c:varyColors val="0"/>
        <c:ser>
          <c:idx val="0"/>
          <c:order val="0"/>
          <c:tx>
            <c:strRef>
              <c:f>Sheet1!$E$1</c:f>
              <c:strCache>
                <c:ptCount val="1"/>
                <c:pt idx="0">
                  <c:v>Total</c:v>
                </c:pt>
              </c:strCache>
            </c:strRef>
          </c:tx>
          <c:spPr>
            <a:solidFill>
              <a:srgbClr val="9B9898"/>
            </a:solidFill>
            <a:ln w="19050" cap="rnd" cmpd="sng" algn="ctr">
              <a:solidFill>
                <a:schemeClr val="accent1"/>
              </a:solidFill>
              <a:prstDash val="solid"/>
              <a:round/>
            </a:ln>
            <a:effectLst/>
          </c:spPr>
          <c:marker>
            <c:symbol val="circle"/>
            <c:size val="10"/>
            <c:spPr>
              <a:solidFill>
                <a:schemeClr val="accent1"/>
              </a:solidFill>
              <a:ln w="6350" cap="flat" cmpd="sng" algn="ctr">
                <a:solidFill>
                  <a:schemeClr val="accent1"/>
                </a:solidFill>
                <a:prstDash val="solid"/>
                <a:round/>
              </a:ln>
              <a:effectLst/>
            </c:spPr>
          </c:marker>
          <c:dPt>
            <c:idx val="0"/>
            <c:bubble3D val="0"/>
            <c:spPr>
              <a:ln w="19050" cap="rnd" cmpd="sng" algn="ctr">
                <a:solidFill>
                  <a:schemeClr val="accent1"/>
                </a:solidFill>
                <a:prstDash val="solid"/>
                <a:round/>
              </a:ln>
              <a:effectLst/>
            </c:spPr>
            <c:extLst>
              <c:ext xmlns:c16="http://schemas.microsoft.com/office/drawing/2014/chart" uri="{C3380CC4-5D6E-409C-BE32-E72D297353CC}">
                <c16:uniqueId val="{00000005-2D16-4906-BB22-77AF188F6975}"/>
              </c:ext>
            </c:extLst>
          </c:dPt>
          <c:cat>
            <c:strRef>
              <c:f>Sheet1!$A$2:$A$36</c:f>
              <c:strCache>
                <c:ptCount val="35"/>
                <c:pt idx="0">
                  <c:v>Oct-21</c:v>
                </c:pt>
                <c:pt idx="1">
                  <c:v>Nov-21</c:v>
                </c:pt>
                <c:pt idx="2">
                  <c:v>Dec-21</c:v>
                </c:pt>
                <c:pt idx="3">
                  <c:v>Jan-22</c:v>
                </c:pt>
                <c:pt idx="4">
                  <c:v>Feb-22</c:v>
                </c:pt>
                <c:pt idx="5">
                  <c:v>Mar-22</c:v>
                </c:pt>
                <c:pt idx="6">
                  <c:v>Apr-22</c:v>
                </c:pt>
                <c:pt idx="7">
                  <c:v>May-22</c:v>
                </c:pt>
                <c:pt idx="8">
                  <c:v>Jun-22</c:v>
                </c:pt>
                <c:pt idx="9">
                  <c:v>Jul-22</c:v>
                </c:pt>
                <c:pt idx="10">
                  <c:v>Aug-22</c:v>
                </c:pt>
                <c:pt idx="11">
                  <c:v>Sep-22</c:v>
                </c:pt>
                <c:pt idx="12">
                  <c:v>Oct-22</c:v>
                </c:pt>
                <c:pt idx="13">
                  <c:v>Nov-22</c:v>
                </c:pt>
                <c:pt idx="14">
                  <c:v>Dec-22</c:v>
                </c:pt>
                <c:pt idx="15">
                  <c:v>Jan-23</c:v>
                </c:pt>
                <c:pt idx="16">
                  <c:v>Feb-23</c:v>
                </c:pt>
                <c:pt idx="17">
                  <c:v>Mar-23</c:v>
                </c:pt>
                <c:pt idx="18">
                  <c:v>Apr-23</c:v>
                </c:pt>
                <c:pt idx="19">
                  <c:v>May-23</c:v>
                </c:pt>
                <c:pt idx="20">
                  <c:v>Jun-23</c:v>
                </c:pt>
                <c:pt idx="21">
                  <c:v>Jul-23</c:v>
                </c:pt>
                <c:pt idx="22">
                  <c:v>Aug-23</c:v>
                </c:pt>
                <c:pt idx="23">
                  <c:v>Sep-23</c:v>
                </c:pt>
                <c:pt idx="24">
                  <c:v>Oct-23</c:v>
                </c:pt>
                <c:pt idx="25">
                  <c:v>Nov-23</c:v>
                </c:pt>
                <c:pt idx="26">
                  <c:v>Dec-23</c:v>
                </c:pt>
                <c:pt idx="27">
                  <c:v>Jan-24</c:v>
                </c:pt>
                <c:pt idx="28">
                  <c:v>Feb-24</c:v>
                </c:pt>
                <c:pt idx="29">
                  <c:v>Mar-24</c:v>
                </c:pt>
                <c:pt idx="30">
                  <c:v>Apr-24</c:v>
                </c:pt>
                <c:pt idx="31">
                  <c:v>May-24</c:v>
                </c:pt>
                <c:pt idx="32">
                  <c:v>Jun-24</c:v>
                </c:pt>
                <c:pt idx="33">
                  <c:v>Jul-24</c:v>
                </c:pt>
                <c:pt idx="34">
                  <c:v>Aug-24</c:v>
                </c:pt>
              </c:strCache>
            </c:strRef>
          </c:cat>
          <c:val>
            <c:numRef>
              <c:f>Sheet1!$E$2:$E$36</c:f>
              <c:numCache>
                <c:formatCode>General</c:formatCode>
                <c:ptCount val="35"/>
                <c:pt idx="0">
                  <c:v>1.302729</c:v>
                </c:pt>
                <c:pt idx="1">
                  <c:v>1.185025</c:v>
                </c:pt>
                <c:pt idx="2">
                  <c:v>1.275003</c:v>
                </c:pt>
                <c:pt idx="3">
                  <c:v>1.264398</c:v>
                </c:pt>
                <c:pt idx="4">
                  <c:v>1.229697</c:v>
                </c:pt>
                <c:pt idx="5">
                  <c:v>1.505952</c:v>
                </c:pt>
                <c:pt idx="6">
                  <c:v>1.470276</c:v>
                </c:pt>
                <c:pt idx="7">
                  <c:v>1.545831</c:v>
                </c:pt>
                <c:pt idx="8">
                  <c:v>1.542799</c:v>
                </c:pt>
                <c:pt idx="9">
                  <c:v>1.578053</c:v>
                </c:pt>
                <c:pt idx="10">
                  <c:v>1.519677</c:v>
                </c:pt>
                <c:pt idx="11">
                  <c:v>1.395359</c:v>
                </c:pt>
                <c:pt idx="12">
                  <c:v>1.374335</c:v>
                </c:pt>
                <c:pt idx="13">
                  <c:v>1.293169</c:v>
                </c:pt>
                <c:pt idx="14">
                  <c:v>1.381743</c:v>
                </c:pt>
                <c:pt idx="15">
                  <c:v>1.365494</c:v>
                </c:pt>
                <c:pt idx="16">
                  <c:v>1.26132</c:v>
                </c:pt>
                <c:pt idx="17">
                  <c:v>1.480056</c:v>
                </c:pt>
                <c:pt idx="18">
                  <c:v>1.464624</c:v>
                </c:pt>
                <c:pt idx="19">
                  <c:v>1.549555</c:v>
                </c:pt>
                <c:pt idx="20">
                  <c:v>1.557712</c:v>
                </c:pt>
                <c:pt idx="21">
                  <c:v>1.596156</c:v>
                </c:pt>
                <c:pt idx="22">
                  <c:v>1.52421</c:v>
                </c:pt>
                <c:pt idx="23">
                  <c:v>1.386758</c:v>
                </c:pt>
                <c:pt idx="24">
                  <c:v>1.347867</c:v>
                </c:pt>
                <c:pt idx="25">
                  <c:v>1.266851</c:v>
                </c:pt>
                <c:pt idx="26">
                  <c:v>1.461131</c:v>
                </c:pt>
                <c:pt idx="27">
                  <c:v>1.298271</c:v>
                </c:pt>
                <c:pt idx="28">
                  <c:v>1.293565</c:v>
                </c:pt>
                <c:pt idx="29">
                  <c:v>1.474448</c:v>
                </c:pt>
                <c:pt idx="30">
                  <c:v>1.449672</c:v>
                </c:pt>
                <c:pt idx="31">
                  <c:v>1.54028</c:v>
                </c:pt>
                <c:pt idx="32">
                  <c:v>1.599747</c:v>
                </c:pt>
                <c:pt idx="33">
                  <c:v>1.59865</c:v>
                </c:pt>
                <c:pt idx="34">
                  <c:v>1.509894</c:v>
                </c:pt>
              </c:numCache>
            </c:numRef>
          </c:val>
          <c:smooth val="0"/>
          <c:extLst>
            <c:ext xmlns:c16="http://schemas.microsoft.com/office/drawing/2014/chart" uri="{C3380CC4-5D6E-409C-BE32-E72D297353CC}">
              <c16:uniqueId val="{00000000-A582-417D-A5F8-2A0075530F50}"/>
            </c:ext>
          </c:extLst>
        </c:ser>
        <c:dLbls>
          <c:showLegendKey val="0"/>
          <c:showVal val="0"/>
          <c:showCatName val="0"/>
          <c:showSerName val="0"/>
          <c:showPercent val="0"/>
          <c:showBubbleSize val="0"/>
        </c:dLbls>
        <c:marker val="1"/>
        <c:smooth val="0"/>
        <c:axId val="1624167016"/>
        <c:axId val="1624169640"/>
      </c:lineChart>
      <c:catAx>
        <c:axId val="1624167016"/>
        <c:scaling>
          <c:orientation val="minMax"/>
        </c:scaling>
        <c:delete val="0"/>
        <c:axPos val="b"/>
        <c:numFmt formatCode="General" sourceLinked="1"/>
        <c:majorTickMark val="none"/>
        <c:minorTickMark val="none"/>
        <c:tickLblPos val="nextTo"/>
        <c:spPr>
          <a:noFill/>
          <a:ln w="9525" cap="flat" cmpd="sng" algn="ctr">
            <a:noFill/>
            <a:prstDash val="solid"/>
            <a:round/>
          </a:ln>
          <a:effectLst/>
        </c:spPr>
        <c:txPr>
          <a:bodyPr rot="0" spcFirstLastPara="1" vertOverflow="ellipsis" wrap="square" anchor="ctr" anchorCtr="1"/>
          <a:lstStyle/>
          <a:p>
            <a:pPr algn="ctr">
              <a:defRPr lang="en-US" sz="800" b="0" i="0" u="none" strike="noStrike" kern="1200" baseline="0">
                <a:solidFill>
                  <a:schemeClr val="tx1"/>
                </a:solidFill>
                <a:latin typeface="+mj-lt"/>
                <a:ea typeface="+mn-ea"/>
                <a:cs typeface="+mn-cs"/>
              </a:defRPr>
            </a:pPr>
            <a:endParaRPr lang="en-US"/>
          </a:p>
        </c:txPr>
        <c:crossAx val="1624169640"/>
        <c:crosses val="autoZero"/>
        <c:auto val="1"/>
        <c:lblAlgn val="ctr"/>
        <c:lblOffset val="100"/>
        <c:tickLblSkip val="3"/>
        <c:noMultiLvlLbl val="1"/>
      </c:catAx>
      <c:valAx>
        <c:axId val="1624169640"/>
        <c:scaling>
          <c:orientation val="minMax"/>
        </c:scaling>
        <c:delete val="0"/>
        <c:axPos val="l"/>
        <c:numFmt formatCode="#,##0" sourceLinked="0"/>
        <c:majorTickMark val="none"/>
        <c:minorTickMark val="none"/>
        <c:tickLblPos val="nextTo"/>
        <c:spPr>
          <a:noFill/>
          <a:ln w="6350" cap="flat" cmpd="sng" algn="ctr">
            <a:noFill/>
            <a:prstDash val="solid"/>
            <a:round/>
          </a:ln>
          <a:effectLst/>
        </c:spPr>
        <c:txPr>
          <a:bodyPr rot="-60000000" spcFirstLastPara="1" vertOverflow="ellipsis" vert="horz" wrap="square" anchor="ctr" anchorCtr="1"/>
          <a:lstStyle/>
          <a:p>
            <a:pP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a:p>
        </c:txPr>
        <c:crossAx val="1624167016"/>
        <c:crosses val="autoZero"/>
        <c:crossBetween val="between"/>
      </c:valAx>
      <c:spPr>
        <a:noFill/>
        <a:ln>
          <a:noFill/>
        </a:ln>
        <a:effectLst/>
      </c:spPr>
    </c:plotArea>
    <c:legend>
      <c:legendPos val="b"/>
      <c:layout>
        <c:manualLayout>
          <c:xMode val="edge"/>
          <c:yMode val="edge"/>
          <c:x val="7.3660685603241294E-2"/>
          <c:y val="0.81729018208272031"/>
          <c:w val="0.90289148980965561"/>
          <c:h val="0.13936961130964612"/>
        </c:manualLayout>
      </c:layout>
      <c:overlay val="0"/>
      <c:spPr>
        <a:noFill/>
        <a:ln>
          <a:noFill/>
        </a:ln>
        <a:effectLst/>
      </c:spPr>
      <c:txPr>
        <a:bodyPr rot="0" spcFirstLastPara="1" vertOverflow="ellipsis" vert="horz" wrap="square" anchor="ctr" anchorCtr="0"/>
        <a:lstStyle/>
        <a:p>
          <a:pPr algn="ctr">
            <a:defRPr lang="en-US"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6350" cap="flat" cmpd="sng" algn="ctr">
      <a:noFill/>
      <a:prstDash val="solid"/>
      <a:miter lim="800000"/>
    </a:ln>
    <a:effectLst/>
  </c:spPr>
  <c:txPr>
    <a:bodyPr/>
    <a:lstStyle/>
    <a:p>
      <a:pPr algn="ctr">
        <a:defRPr lang="en-US" sz="900" b="0" i="0" u="none" strike="noStrike" kern="120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manualLayout>
          <c:layoutTarget val="inner"/>
          <c:xMode val="edge"/>
          <c:yMode val="edge"/>
          <c:x val="4.5205042438763526E-2"/>
          <c:y val="9.9397151645846074E-2"/>
          <c:w val="0.93468942653552012"/>
          <c:h val="0.61239220651000625"/>
        </c:manualLayout>
      </c:layout>
      <c:barChart>
        <c:barDir val="col"/>
        <c:grouping val="stacked"/>
        <c:varyColors val="0"/>
        <c:ser>
          <c:idx val="13"/>
          <c:order val="13"/>
          <c:tx>
            <c:strRef>
              <c:f>Sheet1!$B$1</c:f>
              <c:strCache>
                <c:ptCount val="1"/>
                <c:pt idx="0">
                  <c:v>Dermaplane</c:v>
                </c:pt>
              </c:strCache>
            </c:strRef>
          </c:tx>
          <c:spPr>
            <a:solidFill>
              <a:srgbClr val="00A097"/>
            </a:solidFill>
            <a:ln>
              <a:noFill/>
            </a:ln>
            <a:effectLst/>
          </c:spPr>
          <c:invertIfNegative val="0"/>
          <c:cat>
            <c:strRef>
              <c:f>Sheet1!$A$2:$A$36</c:f>
              <c:strCache>
                <c:ptCount val="35"/>
                <c:pt idx="0">
                  <c:v>Oct-21</c:v>
                </c:pt>
                <c:pt idx="1">
                  <c:v>Nov-21</c:v>
                </c:pt>
                <c:pt idx="2">
                  <c:v>Dec-21</c:v>
                </c:pt>
                <c:pt idx="3">
                  <c:v>Jan-22</c:v>
                </c:pt>
                <c:pt idx="4">
                  <c:v>Feb-22</c:v>
                </c:pt>
                <c:pt idx="5">
                  <c:v>Mar-22</c:v>
                </c:pt>
                <c:pt idx="6">
                  <c:v>Apr-22</c:v>
                </c:pt>
                <c:pt idx="7">
                  <c:v>May-22</c:v>
                </c:pt>
                <c:pt idx="8">
                  <c:v>Jun-22</c:v>
                </c:pt>
                <c:pt idx="9">
                  <c:v>Jul-22</c:v>
                </c:pt>
                <c:pt idx="10">
                  <c:v>Aug-22</c:v>
                </c:pt>
                <c:pt idx="11">
                  <c:v>Sep-22</c:v>
                </c:pt>
                <c:pt idx="12">
                  <c:v>Oct-22</c:v>
                </c:pt>
                <c:pt idx="13">
                  <c:v>Nov-22</c:v>
                </c:pt>
                <c:pt idx="14">
                  <c:v>Dec-22</c:v>
                </c:pt>
                <c:pt idx="15">
                  <c:v>Jan-23</c:v>
                </c:pt>
                <c:pt idx="16">
                  <c:v>Feb-23</c:v>
                </c:pt>
                <c:pt idx="17">
                  <c:v>Mar-23</c:v>
                </c:pt>
                <c:pt idx="18">
                  <c:v>Apr-23</c:v>
                </c:pt>
                <c:pt idx="19">
                  <c:v>May-23</c:v>
                </c:pt>
                <c:pt idx="20">
                  <c:v>Jun-23</c:v>
                </c:pt>
                <c:pt idx="21">
                  <c:v>Jul-23</c:v>
                </c:pt>
                <c:pt idx="22">
                  <c:v>Aug-23</c:v>
                </c:pt>
                <c:pt idx="23">
                  <c:v>Sep-23</c:v>
                </c:pt>
                <c:pt idx="24">
                  <c:v>Oct-23</c:v>
                </c:pt>
                <c:pt idx="25">
                  <c:v>Nov-23</c:v>
                </c:pt>
                <c:pt idx="26">
                  <c:v>Dec-23</c:v>
                </c:pt>
                <c:pt idx="27">
                  <c:v>Jan-24</c:v>
                </c:pt>
                <c:pt idx="28">
                  <c:v>Feb-24</c:v>
                </c:pt>
                <c:pt idx="29">
                  <c:v>Mar-24</c:v>
                </c:pt>
                <c:pt idx="30">
                  <c:v>Apr-24</c:v>
                </c:pt>
                <c:pt idx="31">
                  <c:v>May-24</c:v>
                </c:pt>
                <c:pt idx="32">
                  <c:v>Jun-24</c:v>
                </c:pt>
                <c:pt idx="33">
                  <c:v>Jul-24</c:v>
                </c:pt>
                <c:pt idx="34">
                  <c:v>Aug-24</c:v>
                </c:pt>
              </c:strCache>
            </c:strRef>
          </c:cat>
          <c:val>
            <c:numRef>
              <c:f>Sheet1!$B$2:$B$36</c:f>
              <c:numCache>
                <c:formatCode>General</c:formatCode>
                <c:ptCount val="35"/>
                <c:pt idx="0">
                  <c:v>1.506808</c:v>
                </c:pt>
                <c:pt idx="1">
                  <c:v>1.32893</c:v>
                </c:pt>
                <c:pt idx="2">
                  <c:v>1.49625</c:v>
                </c:pt>
                <c:pt idx="3">
                  <c:v>1.206477</c:v>
                </c:pt>
                <c:pt idx="4">
                  <c:v>1.447565</c:v>
                </c:pt>
                <c:pt idx="5">
                  <c:v>1.848928</c:v>
                </c:pt>
                <c:pt idx="6">
                  <c:v>1.811488</c:v>
                </c:pt>
                <c:pt idx="7">
                  <c:v>1.795362</c:v>
                </c:pt>
                <c:pt idx="8">
                  <c:v>1.690063</c:v>
                </c:pt>
                <c:pt idx="9">
                  <c:v>1.754582</c:v>
                </c:pt>
                <c:pt idx="10">
                  <c:v>1.915984</c:v>
                </c:pt>
                <c:pt idx="11">
                  <c:v>1.722747</c:v>
                </c:pt>
                <c:pt idx="12">
                  <c:v>1.682685</c:v>
                </c:pt>
                <c:pt idx="13">
                  <c:v>1.658219</c:v>
                </c:pt>
                <c:pt idx="14">
                  <c:v>2.110212</c:v>
                </c:pt>
                <c:pt idx="15">
                  <c:v>1.685693</c:v>
                </c:pt>
                <c:pt idx="16">
                  <c:v>1.622254</c:v>
                </c:pt>
                <c:pt idx="17">
                  <c:v>2.021302</c:v>
                </c:pt>
                <c:pt idx="18">
                  <c:v>1.871627</c:v>
                </c:pt>
                <c:pt idx="19">
                  <c:v>1.8444</c:v>
                </c:pt>
                <c:pt idx="20">
                  <c:v>1.816065</c:v>
                </c:pt>
                <c:pt idx="21">
                  <c:v>1.952265</c:v>
                </c:pt>
                <c:pt idx="22">
                  <c:v>2.082803</c:v>
                </c:pt>
                <c:pt idx="23">
                  <c:v>1.893546</c:v>
                </c:pt>
                <c:pt idx="24">
                  <c:v>1.968075</c:v>
                </c:pt>
                <c:pt idx="25">
                  <c:v>1.835422</c:v>
                </c:pt>
                <c:pt idx="26">
                  <c:v>2.097127</c:v>
                </c:pt>
                <c:pt idx="27">
                  <c:v>1.851496</c:v>
                </c:pt>
                <c:pt idx="28">
                  <c:v>1.837201</c:v>
                </c:pt>
                <c:pt idx="29">
                  <c:v>1.959208</c:v>
                </c:pt>
                <c:pt idx="30">
                  <c:v>1.874155</c:v>
                </c:pt>
                <c:pt idx="31">
                  <c:v>1.999993</c:v>
                </c:pt>
                <c:pt idx="32">
                  <c:v>2.01317</c:v>
                </c:pt>
                <c:pt idx="33">
                  <c:v>2.091396</c:v>
                </c:pt>
                <c:pt idx="34">
                  <c:v>2.056066</c:v>
                </c:pt>
              </c:numCache>
            </c:numRef>
          </c:val>
          <c:extLst>
            <c:ext xmlns:c16="http://schemas.microsoft.com/office/drawing/2014/chart" uri="{C3380CC4-5D6E-409C-BE32-E72D297353CC}">
              <c16:uniqueId val="{0000000A-CB01-4B89-A725-1CA2D0FD4A84}"/>
            </c:ext>
          </c:extLst>
        </c:ser>
        <c:ser>
          <c:idx val="14"/>
          <c:order val="14"/>
          <c:tx>
            <c:strRef>
              <c:f>Sheet1!$C$1</c:f>
              <c:strCache>
                <c:ptCount val="1"/>
                <c:pt idx="0">
                  <c:v>Disposable</c:v>
                </c:pt>
              </c:strCache>
            </c:strRef>
          </c:tx>
          <c:spPr>
            <a:solidFill>
              <a:srgbClr val="7ECAC4"/>
            </a:solidFill>
            <a:ln>
              <a:noFill/>
            </a:ln>
            <a:effectLst/>
          </c:spPr>
          <c:invertIfNegative val="0"/>
          <c:cat>
            <c:strRef>
              <c:f>Sheet1!$A$2:$A$36</c:f>
              <c:strCache>
                <c:ptCount val="35"/>
                <c:pt idx="0">
                  <c:v>Oct-21</c:v>
                </c:pt>
                <c:pt idx="1">
                  <c:v>Nov-21</c:v>
                </c:pt>
                <c:pt idx="2">
                  <c:v>Dec-21</c:v>
                </c:pt>
                <c:pt idx="3">
                  <c:v>Jan-22</c:v>
                </c:pt>
                <c:pt idx="4">
                  <c:v>Feb-22</c:v>
                </c:pt>
                <c:pt idx="5">
                  <c:v>Mar-22</c:v>
                </c:pt>
                <c:pt idx="6">
                  <c:v>Apr-22</c:v>
                </c:pt>
                <c:pt idx="7">
                  <c:v>May-22</c:v>
                </c:pt>
                <c:pt idx="8">
                  <c:v>Jun-22</c:v>
                </c:pt>
                <c:pt idx="9">
                  <c:v>Jul-22</c:v>
                </c:pt>
                <c:pt idx="10">
                  <c:v>Aug-22</c:v>
                </c:pt>
                <c:pt idx="11">
                  <c:v>Sep-22</c:v>
                </c:pt>
                <c:pt idx="12">
                  <c:v>Oct-22</c:v>
                </c:pt>
                <c:pt idx="13">
                  <c:v>Nov-22</c:v>
                </c:pt>
                <c:pt idx="14">
                  <c:v>Dec-22</c:v>
                </c:pt>
                <c:pt idx="15">
                  <c:v>Jan-23</c:v>
                </c:pt>
                <c:pt idx="16">
                  <c:v>Feb-23</c:v>
                </c:pt>
                <c:pt idx="17">
                  <c:v>Mar-23</c:v>
                </c:pt>
                <c:pt idx="18">
                  <c:v>Apr-23</c:v>
                </c:pt>
                <c:pt idx="19">
                  <c:v>May-23</c:v>
                </c:pt>
                <c:pt idx="20">
                  <c:v>Jun-23</c:v>
                </c:pt>
                <c:pt idx="21">
                  <c:v>Jul-23</c:v>
                </c:pt>
                <c:pt idx="22">
                  <c:v>Aug-23</c:v>
                </c:pt>
                <c:pt idx="23">
                  <c:v>Sep-23</c:v>
                </c:pt>
                <c:pt idx="24">
                  <c:v>Oct-23</c:v>
                </c:pt>
                <c:pt idx="25">
                  <c:v>Nov-23</c:v>
                </c:pt>
                <c:pt idx="26">
                  <c:v>Dec-23</c:v>
                </c:pt>
                <c:pt idx="27">
                  <c:v>Jan-24</c:v>
                </c:pt>
                <c:pt idx="28">
                  <c:v>Feb-24</c:v>
                </c:pt>
                <c:pt idx="29">
                  <c:v>Mar-24</c:v>
                </c:pt>
                <c:pt idx="30">
                  <c:v>Apr-24</c:v>
                </c:pt>
                <c:pt idx="31">
                  <c:v>May-24</c:v>
                </c:pt>
                <c:pt idx="32">
                  <c:v>Jun-24</c:v>
                </c:pt>
                <c:pt idx="33">
                  <c:v>Jul-24</c:v>
                </c:pt>
                <c:pt idx="34">
                  <c:v>Aug-24</c:v>
                </c:pt>
              </c:strCache>
            </c:strRef>
          </c:cat>
          <c:val>
            <c:numRef>
              <c:f>Sheet1!$C$2:$C$36</c:f>
              <c:numCache>
                <c:formatCode>General</c:formatCode>
                <c:ptCount val="35"/>
                <c:pt idx="0">
                  <c:v>11.313221</c:v>
                </c:pt>
                <c:pt idx="1">
                  <c:v>10.890834</c:v>
                </c:pt>
                <c:pt idx="2">
                  <c:v>12.319068</c:v>
                </c:pt>
                <c:pt idx="3">
                  <c:v>9.541463</c:v>
                </c:pt>
                <c:pt idx="4">
                  <c:v>9.676981</c:v>
                </c:pt>
                <c:pt idx="5">
                  <c:v>11.948633</c:v>
                </c:pt>
                <c:pt idx="6">
                  <c:v>11.546957</c:v>
                </c:pt>
                <c:pt idx="7">
                  <c:v>12.31611</c:v>
                </c:pt>
                <c:pt idx="8">
                  <c:v>12.814658</c:v>
                </c:pt>
                <c:pt idx="9">
                  <c:v>13.263841</c:v>
                </c:pt>
                <c:pt idx="10">
                  <c:v>13.051166</c:v>
                </c:pt>
                <c:pt idx="11">
                  <c:v>11.117421</c:v>
                </c:pt>
                <c:pt idx="12">
                  <c:v>11.037472</c:v>
                </c:pt>
                <c:pt idx="13">
                  <c:v>10.405147</c:v>
                </c:pt>
                <c:pt idx="14">
                  <c:v>11.957947</c:v>
                </c:pt>
                <c:pt idx="15">
                  <c:v>9.50887</c:v>
                </c:pt>
                <c:pt idx="16">
                  <c:v>9.375641</c:v>
                </c:pt>
                <c:pt idx="17">
                  <c:v>10.926867</c:v>
                </c:pt>
                <c:pt idx="18">
                  <c:v>10.89679</c:v>
                </c:pt>
                <c:pt idx="19">
                  <c:v>12.35042</c:v>
                </c:pt>
                <c:pt idx="20">
                  <c:v>13.228403</c:v>
                </c:pt>
                <c:pt idx="21">
                  <c:v>13.400638</c:v>
                </c:pt>
                <c:pt idx="22">
                  <c:v>12.590554</c:v>
                </c:pt>
                <c:pt idx="23">
                  <c:v>10.61799</c:v>
                </c:pt>
                <c:pt idx="24">
                  <c:v>10.516229</c:v>
                </c:pt>
                <c:pt idx="25">
                  <c:v>10.151875</c:v>
                </c:pt>
                <c:pt idx="26">
                  <c:v>12.912626</c:v>
                </c:pt>
                <c:pt idx="27">
                  <c:v>9.415689</c:v>
                </c:pt>
                <c:pt idx="28">
                  <c:v>9.643876</c:v>
                </c:pt>
                <c:pt idx="29">
                  <c:v>10.970084</c:v>
                </c:pt>
                <c:pt idx="30">
                  <c:v>10.824809</c:v>
                </c:pt>
                <c:pt idx="31">
                  <c:v>12.12585</c:v>
                </c:pt>
                <c:pt idx="32">
                  <c:v>13.273572</c:v>
                </c:pt>
                <c:pt idx="33">
                  <c:v>13.245543</c:v>
                </c:pt>
                <c:pt idx="34">
                  <c:v>12.548618</c:v>
                </c:pt>
              </c:numCache>
            </c:numRef>
          </c:val>
          <c:extLst>
            <c:ext xmlns:c16="http://schemas.microsoft.com/office/drawing/2014/chart" uri="{C3380CC4-5D6E-409C-BE32-E72D297353CC}">
              <c16:uniqueId val="{0000000B-CB01-4B89-A725-1CA2D0FD4A84}"/>
            </c:ext>
          </c:extLst>
        </c:ser>
        <c:ser>
          <c:idx val="15"/>
          <c:order val="15"/>
          <c:tx>
            <c:strRef>
              <c:f>Sheet1!$D$1</c:f>
              <c:strCache>
                <c:ptCount val="1"/>
                <c:pt idx="0">
                  <c:v>System</c:v>
                </c:pt>
              </c:strCache>
            </c:strRef>
          </c:tx>
          <c:spPr>
            <a:solidFill>
              <a:srgbClr val="B2DFDC"/>
            </a:solidFill>
            <a:ln>
              <a:noFill/>
            </a:ln>
            <a:effectLst/>
          </c:spPr>
          <c:invertIfNegative val="0"/>
          <c:cat>
            <c:strRef>
              <c:f>Sheet1!$A$2:$A$36</c:f>
              <c:strCache>
                <c:ptCount val="35"/>
                <c:pt idx="0">
                  <c:v>Oct-21</c:v>
                </c:pt>
                <c:pt idx="1">
                  <c:v>Nov-21</c:v>
                </c:pt>
                <c:pt idx="2">
                  <c:v>Dec-21</c:v>
                </c:pt>
                <c:pt idx="3">
                  <c:v>Jan-22</c:v>
                </c:pt>
                <c:pt idx="4">
                  <c:v>Feb-22</c:v>
                </c:pt>
                <c:pt idx="5">
                  <c:v>Mar-22</c:v>
                </c:pt>
                <c:pt idx="6">
                  <c:v>Apr-22</c:v>
                </c:pt>
                <c:pt idx="7">
                  <c:v>May-22</c:v>
                </c:pt>
                <c:pt idx="8">
                  <c:v>Jun-22</c:v>
                </c:pt>
                <c:pt idx="9">
                  <c:v>Jul-22</c:v>
                </c:pt>
                <c:pt idx="10">
                  <c:v>Aug-22</c:v>
                </c:pt>
                <c:pt idx="11">
                  <c:v>Sep-22</c:v>
                </c:pt>
                <c:pt idx="12">
                  <c:v>Oct-22</c:v>
                </c:pt>
                <c:pt idx="13">
                  <c:v>Nov-22</c:v>
                </c:pt>
                <c:pt idx="14">
                  <c:v>Dec-22</c:v>
                </c:pt>
                <c:pt idx="15">
                  <c:v>Jan-23</c:v>
                </c:pt>
                <c:pt idx="16">
                  <c:v>Feb-23</c:v>
                </c:pt>
                <c:pt idx="17">
                  <c:v>Mar-23</c:v>
                </c:pt>
                <c:pt idx="18">
                  <c:v>Apr-23</c:v>
                </c:pt>
                <c:pt idx="19">
                  <c:v>May-23</c:v>
                </c:pt>
                <c:pt idx="20">
                  <c:v>Jun-23</c:v>
                </c:pt>
                <c:pt idx="21">
                  <c:v>Jul-23</c:v>
                </c:pt>
                <c:pt idx="22">
                  <c:v>Aug-23</c:v>
                </c:pt>
                <c:pt idx="23">
                  <c:v>Sep-23</c:v>
                </c:pt>
                <c:pt idx="24">
                  <c:v>Oct-23</c:v>
                </c:pt>
                <c:pt idx="25">
                  <c:v>Nov-23</c:v>
                </c:pt>
                <c:pt idx="26">
                  <c:v>Dec-23</c:v>
                </c:pt>
                <c:pt idx="27">
                  <c:v>Jan-24</c:v>
                </c:pt>
                <c:pt idx="28">
                  <c:v>Feb-24</c:v>
                </c:pt>
                <c:pt idx="29">
                  <c:v>Mar-24</c:v>
                </c:pt>
                <c:pt idx="30">
                  <c:v>Apr-24</c:v>
                </c:pt>
                <c:pt idx="31">
                  <c:v>May-24</c:v>
                </c:pt>
                <c:pt idx="32">
                  <c:v>Jun-24</c:v>
                </c:pt>
                <c:pt idx="33">
                  <c:v>Jul-24</c:v>
                </c:pt>
                <c:pt idx="34">
                  <c:v>Aug-24</c:v>
                </c:pt>
              </c:strCache>
            </c:strRef>
          </c:cat>
          <c:val>
            <c:numRef>
              <c:f>Sheet1!$D$2:$D$36</c:f>
              <c:numCache>
                <c:formatCode>General</c:formatCode>
                <c:ptCount val="35"/>
                <c:pt idx="0">
                  <c:v>11.3969</c:v>
                </c:pt>
                <c:pt idx="1">
                  <c:v>11.718222</c:v>
                </c:pt>
                <c:pt idx="2">
                  <c:v>13.425414</c:v>
                </c:pt>
                <c:pt idx="3">
                  <c:v>9.750294</c:v>
                </c:pt>
                <c:pt idx="4">
                  <c:v>11.10947</c:v>
                </c:pt>
                <c:pt idx="5">
                  <c:v>13.906109</c:v>
                </c:pt>
                <c:pt idx="6">
                  <c:v>13.115243</c:v>
                </c:pt>
                <c:pt idx="7">
                  <c:v>14.022631</c:v>
                </c:pt>
                <c:pt idx="8">
                  <c:v>14.419622</c:v>
                </c:pt>
                <c:pt idx="9">
                  <c:v>14.610897</c:v>
                </c:pt>
                <c:pt idx="10">
                  <c:v>14.405409</c:v>
                </c:pt>
                <c:pt idx="11">
                  <c:v>11.923598</c:v>
                </c:pt>
                <c:pt idx="12">
                  <c:v>12.040663</c:v>
                </c:pt>
                <c:pt idx="13">
                  <c:v>11.512283</c:v>
                </c:pt>
                <c:pt idx="14">
                  <c:v>14.011211</c:v>
                </c:pt>
                <c:pt idx="15">
                  <c:v>10.629486</c:v>
                </c:pt>
                <c:pt idx="16">
                  <c:v>10.557844</c:v>
                </c:pt>
                <c:pt idx="17">
                  <c:v>12.339773</c:v>
                </c:pt>
                <c:pt idx="18">
                  <c:v>12.05761</c:v>
                </c:pt>
                <c:pt idx="19">
                  <c:v>13.456899</c:v>
                </c:pt>
                <c:pt idx="20">
                  <c:v>13.988013</c:v>
                </c:pt>
                <c:pt idx="21">
                  <c:v>14.743096</c:v>
                </c:pt>
                <c:pt idx="22">
                  <c:v>14.37592</c:v>
                </c:pt>
                <c:pt idx="23">
                  <c:v>11.704003</c:v>
                </c:pt>
                <c:pt idx="24">
                  <c:v>11.752943</c:v>
                </c:pt>
                <c:pt idx="25">
                  <c:v>11.791595</c:v>
                </c:pt>
                <c:pt idx="26">
                  <c:v>16.466623</c:v>
                </c:pt>
                <c:pt idx="27">
                  <c:v>10.519423</c:v>
                </c:pt>
                <c:pt idx="28">
                  <c:v>11.287871</c:v>
                </c:pt>
                <c:pt idx="29">
                  <c:v>12.925698</c:v>
                </c:pt>
                <c:pt idx="30">
                  <c:v>12.068517</c:v>
                </c:pt>
                <c:pt idx="31">
                  <c:v>13.279324</c:v>
                </c:pt>
                <c:pt idx="32">
                  <c:v>14.227592</c:v>
                </c:pt>
                <c:pt idx="33">
                  <c:v>14.589149</c:v>
                </c:pt>
                <c:pt idx="34">
                  <c:v>14.26174</c:v>
                </c:pt>
              </c:numCache>
            </c:numRef>
          </c:val>
          <c:extLst>
            <c:ext xmlns:c16="http://schemas.microsoft.com/office/drawing/2014/chart" uri="{C3380CC4-5D6E-409C-BE32-E72D297353CC}">
              <c16:uniqueId val="{0000000C-CB01-4B89-A725-1CA2D0FD4A84}"/>
            </c:ext>
          </c:extLst>
        </c:ser>
        <c:dLbls>
          <c:showLegendKey val="0"/>
          <c:showVal val="0"/>
          <c:showCatName val="0"/>
          <c:showSerName val="0"/>
          <c:showPercent val="0"/>
          <c:showBubbleSize val="0"/>
        </c:dLbls>
        <c:gapWidth val="150"/>
        <c:overlap val="100"/>
        <c:axId val="1624167016"/>
        <c:axId val="1624169640"/>
        <c:extLst>
          <c:ext xmlns:c15="http://schemas.microsoft.com/office/drawing/2012/chart" uri="{02D57815-91ED-43cb-92C2-25804820EDAC}">
            <c15:filteredBarSeries>
              <c15:ser>
                <c:idx val="1"/>
                <c:order val="1"/>
                <c:tx>
                  <c:strRef>
                    <c:extLst>
                      <c:ext uri="{02D57815-91ED-43cb-92C2-25804820EDAC}">
                        <c15:formulaRef>
                          <c15:sqref>Sheet1!$C$1</c15:sqref>
                        </c15:formulaRef>
                      </c:ext>
                    </c:extLst>
                    <c:strCache>
                      <c:ptCount val="1"/>
                      <c:pt idx="0">
                        <c:v>Sector 1</c:v>
                      </c:pt>
                    </c:strCache>
                  </c:strRef>
                </c:tx>
                <c:spPr>
                  <a:solidFill>
                    <a:schemeClr val="dk1">
                      <a:tint val="55000"/>
                    </a:schemeClr>
                  </a:solidFill>
                  <a:ln>
                    <a:noFill/>
                  </a:ln>
                  <a:effectLst/>
                </c:spPr>
                <c:invertIfNegative val="0"/>
                <c:cat>
                  <c:strRef>
                    <c:extLst>
                      <c:ex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c:ext uri="{02D57815-91ED-43cb-92C2-25804820EDAC}">
                        <c15:formulaRef>
                          <c15:sqref>Sheet1!$C$2:$C$36</c15:sqref>
                        </c15:formulaRef>
                      </c:ext>
                    </c:extLst>
                    <c:numCache>
                      <c:formatCode>General</c:formatCode>
                      <c:ptCount val="35"/>
                      <c:pt idx="0">
                        <c:v>40.809865000000002</c:v>
                      </c:pt>
                      <c:pt idx="1">
                        <c:v>41.860694000000002</c:v>
                      </c:pt>
                      <c:pt idx="2">
                        <c:v>34.509422000000001</c:v>
                      </c:pt>
                      <c:pt idx="3">
                        <c:v>49.657702</c:v>
                      </c:pt>
                      <c:pt idx="4">
                        <c:v>50.616717999999999</c:v>
                      </c:pt>
                      <c:pt idx="5">
                        <c:v>51.539561999999997</c:v>
                      </c:pt>
                      <c:pt idx="6">
                        <c:v>53.959558000000001</c:v>
                      </c:pt>
                      <c:pt idx="7">
                        <c:v>48.84498</c:v>
                      </c:pt>
                      <c:pt idx="8">
                        <c:v>43.617640999999999</c:v>
                      </c:pt>
                      <c:pt idx="9">
                        <c:v>44.545436000000002</c:v>
                      </c:pt>
                      <c:pt idx="10">
                        <c:v>41.403309999999998</c:v>
                      </c:pt>
                      <c:pt idx="11">
                        <c:v>42.115876</c:v>
                      </c:pt>
                      <c:pt idx="12">
                        <c:v>39.743237000000001</c:v>
                      </c:pt>
                      <c:pt idx="13">
                        <c:v>42.646582000000002</c:v>
                      </c:pt>
                      <c:pt idx="14">
                        <c:v>40.323042999999998</c:v>
                      </c:pt>
                      <c:pt idx="15">
                        <c:v>52.877302</c:v>
                      </c:pt>
                      <c:pt idx="16">
                        <c:v>52.359431000000001</c:v>
                      </c:pt>
                      <c:pt idx="17">
                        <c:v>50.322519999999997</c:v>
                      </c:pt>
                      <c:pt idx="18">
                        <c:v>52.78004</c:v>
                      </c:pt>
                      <c:pt idx="19">
                        <c:v>49.372244999999999</c:v>
                      </c:pt>
                      <c:pt idx="20">
                        <c:v>50.002222000000003</c:v>
                      </c:pt>
                      <c:pt idx="21">
                        <c:v>46.193210000000001</c:v>
                      </c:pt>
                      <c:pt idx="22">
                        <c:v>41.510463999999999</c:v>
                      </c:pt>
                      <c:pt idx="23">
                        <c:v>40.221505000000001</c:v>
                      </c:pt>
                      <c:pt idx="24">
                        <c:v>42.523161999999999</c:v>
                      </c:pt>
                      <c:pt idx="25">
                        <c:v>45.628883999999999</c:v>
                      </c:pt>
                      <c:pt idx="26">
                        <c:v>40.031787999999999</c:v>
                      </c:pt>
                      <c:pt idx="27">
                        <c:v>51.652650000000001</c:v>
                      </c:pt>
                      <c:pt idx="28">
                        <c:v>50.177590000000002</c:v>
                      </c:pt>
                      <c:pt idx="29">
                        <c:v>54.531019999999998</c:v>
                      </c:pt>
                      <c:pt idx="30">
                        <c:v>56.857843000000003</c:v>
                      </c:pt>
                      <c:pt idx="31">
                        <c:v>50.233561999999999</c:v>
                      </c:pt>
                      <c:pt idx="32">
                        <c:v>48.179372000000001</c:v>
                      </c:pt>
                      <c:pt idx="33">
                        <c:v>47.120365</c:v>
                      </c:pt>
                      <c:pt idx="34">
                        <c:v>35.507016999999998</c:v>
                      </c:pt>
                    </c:numCache>
                  </c:numRef>
                </c:val>
                <c:extLst>
                  <c:ext xmlns:c16="http://schemas.microsoft.com/office/drawing/2014/chart" uri="{C3380CC4-5D6E-409C-BE32-E72D297353CC}">
                    <c16:uniqueId val="{00000001-A582-417D-A5F8-2A0075530F50}"/>
                  </c:ext>
                </c:extLst>
              </c15:ser>
            </c15:filteredBarSeries>
            <c15:filteredBarSeries>
              <c15:ser>
                <c:idx val="2"/>
                <c:order val="2"/>
                <c:tx>
                  <c:strRef>
                    <c:extLst xmlns:c15="http://schemas.microsoft.com/office/drawing/2012/chart">
                      <c:ext xmlns:c15="http://schemas.microsoft.com/office/drawing/2012/chart" uri="{02D57815-91ED-43cb-92C2-25804820EDAC}">
                        <c15:formulaRef>
                          <c15:sqref>Sheet1!$D$1</c15:sqref>
                        </c15:formulaRef>
                      </c:ext>
                    </c:extLst>
                    <c:strCache>
                      <c:ptCount val="1"/>
                      <c:pt idx="0">
                        <c:v>Sector 2</c:v>
                      </c:pt>
                    </c:strCache>
                  </c:strRef>
                </c:tx>
                <c:spPr>
                  <a:solidFill>
                    <a:schemeClr val="dk1">
                      <a:tint val="75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D$2:$D$36</c15:sqref>
                        </c15:formulaRef>
                      </c:ext>
                    </c:extLst>
                    <c:numCache>
                      <c:formatCode>General</c:formatCode>
                      <c:ptCount val="35"/>
                      <c:pt idx="0">
                        <c:v>19.557812999999999</c:v>
                      </c:pt>
                      <c:pt idx="1">
                        <c:v>23.784803</c:v>
                      </c:pt>
                      <c:pt idx="2">
                        <c:v>21.799987000000002</c:v>
                      </c:pt>
                      <c:pt idx="3">
                        <c:v>25.857672000000001</c:v>
                      </c:pt>
                      <c:pt idx="4">
                        <c:v>24.992432999999998</c:v>
                      </c:pt>
                      <c:pt idx="5">
                        <c:v>26.955321999999999</c:v>
                      </c:pt>
                      <c:pt idx="6">
                        <c:v>32.419100999999998</c:v>
                      </c:pt>
                      <c:pt idx="7">
                        <c:v>29.344944999999999</c:v>
                      </c:pt>
                      <c:pt idx="8">
                        <c:v>27.493164</c:v>
                      </c:pt>
                      <c:pt idx="9">
                        <c:v>23.275084</c:v>
                      </c:pt>
                      <c:pt idx="10">
                        <c:v>24.237242999999999</c:v>
                      </c:pt>
                      <c:pt idx="11">
                        <c:v>23.067723999999998</c:v>
                      </c:pt>
                      <c:pt idx="12">
                        <c:v>23.036899999999999</c:v>
                      </c:pt>
                      <c:pt idx="13">
                        <c:v>25.516981000000001</c:v>
                      </c:pt>
                      <c:pt idx="14">
                        <c:v>22.874832000000001</c:v>
                      </c:pt>
                      <c:pt idx="15">
                        <c:v>26.349399999999999</c:v>
                      </c:pt>
                      <c:pt idx="16">
                        <c:v>29.881401</c:v>
                      </c:pt>
                      <c:pt idx="17">
                        <c:v>31.686630000000001</c:v>
                      </c:pt>
                      <c:pt idx="18">
                        <c:v>34.259588000000001</c:v>
                      </c:pt>
                      <c:pt idx="19">
                        <c:v>31.563769000000001</c:v>
                      </c:pt>
                      <c:pt idx="20">
                        <c:v>27.452038999999999</c:v>
                      </c:pt>
                      <c:pt idx="21">
                        <c:v>24.840769999999999</c:v>
                      </c:pt>
                      <c:pt idx="22">
                        <c:v>26.102284999999998</c:v>
                      </c:pt>
                      <c:pt idx="23">
                        <c:v>23.897715000000002</c:v>
                      </c:pt>
                      <c:pt idx="24">
                        <c:v>25.006601</c:v>
                      </c:pt>
                      <c:pt idx="25">
                        <c:v>27.601903</c:v>
                      </c:pt>
                      <c:pt idx="26">
                        <c:v>22.956002999999999</c:v>
                      </c:pt>
                      <c:pt idx="27">
                        <c:v>26.913005999999999</c:v>
                      </c:pt>
                      <c:pt idx="28">
                        <c:v>31.412331999999999</c:v>
                      </c:pt>
                      <c:pt idx="29">
                        <c:v>32.630974000000002</c:v>
                      </c:pt>
                      <c:pt idx="30">
                        <c:v>31.591038000000001</c:v>
                      </c:pt>
                      <c:pt idx="31">
                        <c:v>31.863667</c:v>
                      </c:pt>
                      <c:pt idx="32">
                        <c:v>31.422338</c:v>
                      </c:pt>
                      <c:pt idx="33">
                        <c:v>28.426777000000001</c:v>
                      </c:pt>
                      <c:pt idx="34">
                        <c:v>26.165305</c:v>
                      </c:pt>
                    </c:numCache>
                  </c:numRef>
                </c:val>
                <c:extLst xmlns:c15="http://schemas.microsoft.com/office/drawing/2012/chart">
                  <c:ext xmlns:c16="http://schemas.microsoft.com/office/drawing/2014/chart" uri="{C3380CC4-5D6E-409C-BE32-E72D297353CC}">
                    <c16:uniqueId val="{00000000-2D16-4906-BB22-77AF188F6975}"/>
                  </c:ext>
                </c:extLst>
              </c15:ser>
            </c15:filteredBarSeries>
            <c15:filteredBarSeries>
              <c15:ser>
                <c:idx val="3"/>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Sector 3</c:v>
                      </c:pt>
                    </c:strCache>
                  </c:strRef>
                </c:tx>
                <c:spPr>
                  <a:solidFill>
                    <a:schemeClr val="dk1">
                      <a:tint val="985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E$2:$E$36</c15:sqref>
                        </c15:formulaRef>
                      </c:ext>
                    </c:extLst>
                    <c:numCache>
                      <c:formatCode>General</c:formatCode>
                      <c:ptCount val="35"/>
                      <c:pt idx="0">
                        <c:v>27.462826</c:v>
                      </c:pt>
                      <c:pt idx="1">
                        <c:v>39.404572000000002</c:v>
                      </c:pt>
                      <c:pt idx="2">
                        <c:v>34.570886000000002</c:v>
                      </c:pt>
                      <c:pt idx="3">
                        <c:v>47.424028999999997</c:v>
                      </c:pt>
                      <c:pt idx="4">
                        <c:v>42.725195999999997</c:v>
                      </c:pt>
                      <c:pt idx="5">
                        <c:v>49.893875999999999</c:v>
                      </c:pt>
                      <c:pt idx="6">
                        <c:v>45.230561999999999</c:v>
                      </c:pt>
                      <c:pt idx="7">
                        <c:v>36.896878999999998</c:v>
                      </c:pt>
                      <c:pt idx="8">
                        <c:v>33.942658000000002</c:v>
                      </c:pt>
                      <c:pt idx="9">
                        <c:v>31.043399000000001</c:v>
                      </c:pt>
                      <c:pt idx="10">
                        <c:v>28.703312</c:v>
                      </c:pt>
                      <c:pt idx="11">
                        <c:v>32.247686999999999</c:v>
                      </c:pt>
                      <c:pt idx="12">
                        <c:v>39.267698000000003</c:v>
                      </c:pt>
                      <c:pt idx="13">
                        <c:v>36.104199999999999</c:v>
                      </c:pt>
                      <c:pt idx="14">
                        <c:v>35.473145000000002</c:v>
                      </c:pt>
                      <c:pt idx="15">
                        <c:v>53.202506999999997</c:v>
                      </c:pt>
                      <c:pt idx="16">
                        <c:v>50.982067999999998</c:v>
                      </c:pt>
                      <c:pt idx="17">
                        <c:v>60.592055999999999</c:v>
                      </c:pt>
                      <c:pt idx="18">
                        <c:v>55.653505000000003</c:v>
                      </c:pt>
                      <c:pt idx="19">
                        <c:v>45.804431000000001</c:v>
                      </c:pt>
                      <c:pt idx="20">
                        <c:v>42.097817999999997</c:v>
                      </c:pt>
                      <c:pt idx="21">
                        <c:v>38.569479999999999</c:v>
                      </c:pt>
                      <c:pt idx="22">
                        <c:v>32.493749000000001</c:v>
                      </c:pt>
                      <c:pt idx="23">
                        <c:v>31.329796000000002</c:v>
                      </c:pt>
                      <c:pt idx="24">
                        <c:v>33.130343000000003</c:v>
                      </c:pt>
                      <c:pt idx="25">
                        <c:v>40.916313000000002</c:v>
                      </c:pt>
                      <c:pt idx="26">
                        <c:v>34.557360000000003</c:v>
                      </c:pt>
                      <c:pt idx="27">
                        <c:v>46.799098000000001</c:v>
                      </c:pt>
                      <c:pt idx="28">
                        <c:v>46.752299000000001</c:v>
                      </c:pt>
                      <c:pt idx="29">
                        <c:v>54.888565999999997</c:v>
                      </c:pt>
                      <c:pt idx="30">
                        <c:v>56.439608999999997</c:v>
                      </c:pt>
                      <c:pt idx="31">
                        <c:v>44.964128000000002</c:v>
                      </c:pt>
                      <c:pt idx="32">
                        <c:v>45.321382999999997</c:v>
                      </c:pt>
                      <c:pt idx="33">
                        <c:v>37.671095999999999</c:v>
                      </c:pt>
                      <c:pt idx="34">
                        <c:v>31.554338999999999</c:v>
                      </c:pt>
                    </c:numCache>
                  </c:numRef>
                </c:val>
                <c:extLst xmlns:c15="http://schemas.microsoft.com/office/drawing/2012/chart">
                  <c:ext xmlns:c16="http://schemas.microsoft.com/office/drawing/2014/chart" uri="{C3380CC4-5D6E-409C-BE32-E72D297353CC}">
                    <c16:uniqueId val="{00000001-2D16-4906-BB22-77AF188F6975}"/>
                  </c:ext>
                </c:extLst>
              </c15:ser>
            </c15:filteredBarSeries>
            <c15:filteredBarSeries>
              <c15:ser>
                <c:idx val="4"/>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Sector 4</c:v>
                      </c:pt>
                    </c:strCache>
                  </c:strRef>
                </c:tx>
                <c:spPr>
                  <a:solidFill>
                    <a:schemeClr val="dk1">
                      <a:tint val="30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F$2:$F$36</c15:sqref>
                        </c15:formulaRef>
                      </c:ext>
                    </c:extLst>
                    <c:numCache>
                      <c:formatCode>General</c:formatCode>
                      <c:ptCount val="35"/>
                      <c:pt idx="0">
                        <c:v>28.541810999999999</c:v>
                      </c:pt>
                      <c:pt idx="1">
                        <c:v>29.052481</c:v>
                      </c:pt>
                      <c:pt idx="2">
                        <c:v>33.367750000000001</c:v>
                      </c:pt>
                      <c:pt idx="3">
                        <c:v>35.968623999999998</c:v>
                      </c:pt>
                      <c:pt idx="4">
                        <c:v>33.207349000000001</c:v>
                      </c:pt>
                      <c:pt idx="5">
                        <c:v>35.057527</c:v>
                      </c:pt>
                      <c:pt idx="6">
                        <c:v>38.900894999999998</c:v>
                      </c:pt>
                      <c:pt idx="7">
                        <c:v>43.694178999999998</c:v>
                      </c:pt>
                      <c:pt idx="8">
                        <c:v>62.841144999999997</c:v>
                      </c:pt>
                      <c:pt idx="9">
                        <c:v>54.763354999999997</c:v>
                      </c:pt>
                      <c:pt idx="10">
                        <c:v>89.252371999999994</c:v>
                      </c:pt>
                      <c:pt idx="11">
                        <c:v>25.975645</c:v>
                      </c:pt>
                      <c:pt idx="12">
                        <c:v>30.148197</c:v>
                      </c:pt>
                      <c:pt idx="13">
                        <c:v>36.475974999999998</c:v>
                      </c:pt>
                      <c:pt idx="14">
                        <c:v>29.658926000000001</c:v>
                      </c:pt>
                      <c:pt idx="15">
                        <c:v>35.421528000000002</c:v>
                      </c:pt>
                      <c:pt idx="16">
                        <c:v>32.439849000000002</c:v>
                      </c:pt>
                      <c:pt idx="17">
                        <c:v>35.716830000000002</c:v>
                      </c:pt>
                      <c:pt idx="18">
                        <c:v>41.225175999999998</c:v>
                      </c:pt>
                      <c:pt idx="19">
                        <c:v>43.331505999999997</c:v>
                      </c:pt>
                      <c:pt idx="20">
                        <c:v>67.705122000000003</c:v>
                      </c:pt>
                      <c:pt idx="21">
                        <c:v>56.56662</c:v>
                      </c:pt>
                      <c:pt idx="22">
                        <c:v>91.018388000000002</c:v>
                      </c:pt>
                      <c:pt idx="23">
                        <c:v>26.250737000000001</c:v>
                      </c:pt>
                      <c:pt idx="24">
                        <c:v>30.771353000000001</c:v>
                      </c:pt>
                      <c:pt idx="25">
                        <c:v>32.781751</c:v>
                      </c:pt>
                      <c:pt idx="26">
                        <c:v>40.871063999999997</c:v>
                      </c:pt>
                      <c:pt idx="27">
                        <c:v>36.555362000000002</c:v>
                      </c:pt>
                      <c:pt idx="28">
                        <c:v>33.561486000000002</c:v>
                      </c:pt>
                      <c:pt idx="29">
                        <c:v>37.536104000000002</c:v>
                      </c:pt>
                      <c:pt idx="30">
                        <c:v>45.721882000000001</c:v>
                      </c:pt>
                      <c:pt idx="31">
                        <c:v>44.358134999999997</c:v>
                      </c:pt>
                      <c:pt idx="32">
                        <c:v>73.994276999999997</c:v>
                      </c:pt>
                      <c:pt idx="33">
                        <c:v>62.661236000000002</c:v>
                      </c:pt>
                      <c:pt idx="34">
                        <c:v>91.533505000000005</c:v>
                      </c:pt>
                    </c:numCache>
                  </c:numRef>
                </c:val>
                <c:extLst xmlns:c15="http://schemas.microsoft.com/office/drawing/2012/chart">
                  <c:ext xmlns:c16="http://schemas.microsoft.com/office/drawing/2014/chart" uri="{C3380CC4-5D6E-409C-BE32-E72D297353CC}">
                    <c16:uniqueId val="{00000002-2D16-4906-BB22-77AF188F6975}"/>
                  </c:ext>
                </c:extLst>
              </c15:ser>
            </c15:filteredBarSeries>
            <c15:filteredBarSeries>
              <c15:ser>
                <c:idx val="5"/>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Sector 5</c:v>
                      </c:pt>
                    </c:strCache>
                  </c:strRef>
                </c:tx>
                <c:spPr>
                  <a:solidFill>
                    <a:schemeClr val="dk1">
                      <a:tint val="60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G$2:$G$36</c15:sqref>
                        </c15:formulaRef>
                      </c:ext>
                    </c:extLst>
                    <c:numCache>
                      <c:formatCode>General</c:formatCode>
                      <c:ptCount val="35"/>
                      <c:pt idx="0">
                        <c:v>12.194502</c:v>
                      </c:pt>
                      <c:pt idx="1">
                        <c:v>7.156504</c:v>
                      </c:pt>
                      <c:pt idx="2">
                        <c:v>12.852249</c:v>
                      </c:pt>
                      <c:pt idx="3">
                        <c:v>17.913703000000002</c:v>
                      </c:pt>
                      <c:pt idx="4">
                        <c:v>9.8828340000000008</c:v>
                      </c:pt>
                      <c:pt idx="5">
                        <c:v>9.6037440000000007</c:v>
                      </c:pt>
                      <c:pt idx="6">
                        <c:v>11.410088999999999</c:v>
                      </c:pt>
                      <c:pt idx="7">
                        <c:v>11.869301</c:v>
                      </c:pt>
                      <c:pt idx="8">
                        <c:v>10.943581</c:v>
                      </c:pt>
                      <c:pt idx="9">
                        <c:v>24.200908999999999</c:v>
                      </c:pt>
                      <c:pt idx="10">
                        <c:v>59.814160000000001</c:v>
                      </c:pt>
                      <c:pt idx="11">
                        <c:v>7.4327399999999999</c:v>
                      </c:pt>
                      <c:pt idx="12">
                        <c:v>12.873098000000001</c:v>
                      </c:pt>
                      <c:pt idx="13">
                        <c:v>17.347481999999999</c:v>
                      </c:pt>
                      <c:pt idx="14">
                        <c:v>14.342812</c:v>
                      </c:pt>
                      <c:pt idx="15">
                        <c:v>16.454574000000001</c:v>
                      </c:pt>
                      <c:pt idx="16">
                        <c:v>8.7173169999999995</c:v>
                      </c:pt>
                      <c:pt idx="17">
                        <c:v>8.7356230000000004</c:v>
                      </c:pt>
                      <c:pt idx="18">
                        <c:v>11.042906</c:v>
                      </c:pt>
                      <c:pt idx="19">
                        <c:v>11.438431</c:v>
                      </c:pt>
                      <c:pt idx="20">
                        <c:v>12.034544</c:v>
                      </c:pt>
                      <c:pt idx="21">
                        <c:v>28.273</c:v>
                      </c:pt>
                      <c:pt idx="22">
                        <c:v>61.781478999999997</c:v>
                      </c:pt>
                      <c:pt idx="23">
                        <c:v>8.5091110000000008</c:v>
                      </c:pt>
                      <c:pt idx="24">
                        <c:v>14.055974000000001</c:v>
                      </c:pt>
                      <c:pt idx="25">
                        <c:v>10.074814999999999</c:v>
                      </c:pt>
                      <c:pt idx="26">
                        <c:v>26.582386</c:v>
                      </c:pt>
                      <c:pt idx="27">
                        <c:v>16.377361000000001</c:v>
                      </c:pt>
                      <c:pt idx="28">
                        <c:v>10.356033</c:v>
                      </c:pt>
                      <c:pt idx="29">
                        <c:v>11.832685</c:v>
                      </c:pt>
                      <c:pt idx="30">
                        <c:v>14.576200999999999</c:v>
                      </c:pt>
                      <c:pt idx="31">
                        <c:v>14.285002</c:v>
                      </c:pt>
                      <c:pt idx="32">
                        <c:v>16.927510000000002</c:v>
                      </c:pt>
                      <c:pt idx="33">
                        <c:v>34.868727999999997</c:v>
                      </c:pt>
                      <c:pt idx="34">
                        <c:v>70.545312999999993</c:v>
                      </c:pt>
                    </c:numCache>
                  </c:numRef>
                </c:val>
                <c:extLst xmlns:c15="http://schemas.microsoft.com/office/drawing/2012/chart">
                  <c:ext xmlns:c16="http://schemas.microsoft.com/office/drawing/2014/chart" uri="{C3380CC4-5D6E-409C-BE32-E72D297353CC}">
                    <c16:uniqueId val="{00000003-2D16-4906-BB22-77AF188F6975}"/>
                  </c:ext>
                </c:extLst>
              </c15:ser>
            </c15:filteredBarSeries>
            <c15:filteredBarSeries>
              <c15:ser>
                <c:idx val="6"/>
                <c:order val="6"/>
                <c:tx>
                  <c:strRef>
                    <c:extLst xmlns:c15="http://schemas.microsoft.com/office/drawing/2012/chart">
                      <c:ext xmlns:c15="http://schemas.microsoft.com/office/drawing/2012/chart" uri="{02D57815-91ED-43cb-92C2-25804820EDAC}">
                        <c15:formulaRef>
                          <c15:sqref>Sheet1!$H$1</c15:sqref>
                        </c15:formulaRef>
                      </c:ext>
                    </c:extLst>
                    <c:strCache>
                      <c:ptCount val="1"/>
                      <c:pt idx="0">
                        <c:v>Sector 6</c:v>
                      </c:pt>
                    </c:strCache>
                  </c:strRef>
                </c:tx>
                <c:spPr>
                  <a:solidFill>
                    <a:schemeClr val="dk1">
                      <a:tint val="80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H$2:$H$36</c15:sqref>
                        </c15:formulaRef>
                      </c:ext>
                    </c:extLst>
                    <c:numCache>
                      <c:formatCode>General</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numRef>
                </c:val>
                <c:extLst xmlns:c15="http://schemas.microsoft.com/office/drawing/2012/chart">
                  <c:ext xmlns:c16="http://schemas.microsoft.com/office/drawing/2014/chart" uri="{C3380CC4-5D6E-409C-BE32-E72D297353CC}">
                    <c16:uniqueId val="{00000003-CB01-4B89-A725-1CA2D0FD4A84}"/>
                  </c:ext>
                </c:extLst>
              </c15:ser>
            </c15:filteredBarSeries>
          </c:ext>
        </c:extLst>
      </c:barChart>
      <c:lineChart>
        <c:grouping val="stacked"/>
        <c:varyColors val="0"/>
        <c:ser>
          <c:idx val="0"/>
          <c:order val="0"/>
          <c:tx>
            <c:strRef>
              <c:f>Sheet1!$E$1</c:f>
              <c:strCache>
                <c:ptCount val="1"/>
                <c:pt idx="0">
                  <c:v>Total</c:v>
                </c:pt>
              </c:strCache>
            </c:strRef>
          </c:tx>
          <c:spPr>
            <a:solidFill>
              <a:srgbClr val="9B9898"/>
            </a:solidFill>
            <a:ln w="19050" cap="rnd" cmpd="sng" algn="ctr">
              <a:solidFill>
                <a:schemeClr val="accent1"/>
              </a:solidFill>
              <a:prstDash val="solid"/>
              <a:round/>
            </a:ln>
            <a:effectLst/>
          </c:spPr>
          <c:marker>
            <c:symbol val="circle"/>
            <c:size val="10"/>
            <c:spPr>
              <a:solidFill>
                <a:schemeClr val="accent1"/>
              </a:solidFill>
              <a:ln w="6350" cap="flat" cmpd="sng" algn="ctr">
                <a:solidFill>
                  <a:schemeClr val="accent1"/>
                </a:solidFill>
                <a:prstDash val="solid"/>
                <a:round/>
              </a:ln>
              <a:effectLst/>
            </c:spPr>
          </c:marker>
          <c:dPt>
            <c:idx val="0"/>
            <c:bubble3D val="0"/>
            <c:spPr>
              <a:ln w="19050" cap="rnd" cmpd="sng" algn="ctr">
                <a:solidFill>
                  <a:schemeClr val="accent1"/>
                </a:solidFill>
                <a:prstDash val="solid"/>
                <a:round/>
              </a:ln>
              <a:effectLst/>
            </c:spPr>
            <c:extLst>
              <c:ext xmlns:c16="http://schemas.microsoft.com/office/drawing/2014/chart" uri="{C3380CC4-5D6E-409C-BE32-E72D297353CC}">
                <c16:uniqueId val="{00000005-2D16-4906-BB22-77AF188F6975}"/>
              </c:ext>
            </c:extLst>
          </c:dPt>
          <c:cat>
            <c:strRef>
              <c:f>Sheet1!$A$2:$A$36</c:f>
              <c:strCache>
                <c:ptCount val="35"/>
                <c:pt idx="0">
                  <c:v>Oct-21</c:v>
                </c:pt>
                <c:pt idx="1">
                  <c:v>Nov-21</c:v>
                </c:pt>
                <c:pt idx="2">
                  <c:v>Dec-21</c:v>
                </c:pt>
                <c:pt idx="3">
                  <c:v>Jan-22</c:v>
                </c:pt>
                <c:pt idx="4">
                  <c:v>Feb-22</c:v>
                </c:pt>
                <c:pt idx="5">
                  <c:v>Mar-22</c:v>
                </c:pt>
                <c:pt idx="6">
                  <c:v>Apr-22</c:v>
                </c:pt>
                <c:pt idx="7">
                  <c:v>May-22</c:v>
                </c:pt>
                <c:pt idx="8">
                  <c:v>Jun-22</c:v>
                </c:pt>
                <c:pt idx="9">
                  <c:v>Jul-22</c:v>
                </c:pt>
                <c:pt idx="10">
                  <c:v>Aug-22</c:v>
                </c:pt>
                <c:pt idx="11">
                  <c:v>Sep-22</c:v>
                </c:pt>
                <c:pt idx="12">
                  <c:v>Oct-22</c:v>
                </c:pt>
                <c:pt idx="13">
                  <c:v>Nov-22</c:v>
                </c:pt>
                <c:pt idx="14">
                  <c:v>Dec-22</c:v>
                </c:pt>
                <c:pt idx="15">
                  <c:v>Jan-23</c:v>
                </c:pt>
                <c:pt idx="16">
                  <c:v>Feb-23</c:v>
                </c:pt>
                <c:pt idx="17">
                  <c:v>Mar-23</c:v>
                </c:pt>
                <c:pt idx="18">
                  <c:v>Apr-23</c:v>
                </c:pt>
                <c:pt idx="19">
                  <c:v>May-23</c:v>
                </c:pt>
                <c:pt idx="20">
                  <c:v>Jun-23</c:v>
                </c:pt>
                <c:pt idx="21">
                  <c:v>Jul-23</c:v>
                </c:pt>
                <c:pt idx="22">
                  <c:v>Aug-23</c:v>
                </c:pt>
                <c:pt idx="23">
                  <c:v>Sep-23</c:v>
                </c:pt>
                <c:pt idx="24">
                  <c:v>Oct-23</c:v>
                </c:pt>
                <c:pt idx="25">
                  <c:v>Nov-23</c:v>
                </c:pt>
                <c:pt idx="26">
                  <c:v>Dec-23</c:v>
                </c:pt>
                <c:pt idx="27">
                  <c:v>Jan-24</c:v>
                </c:pt>
                <c:pt idx="28">
                  <c:v>Feb-24</c:v>
                </c:pt>
                <c:pt idx="29">
                  <c:v>Mar-24</c:v>
                </c:pt>
                <c:pt idx="30">
                  <c:v>Apr-24</c:v>
                </c:pt>
                <c:pt idx="31">
                  <c:v>May-24</c:v>
                </c:pt>
                <c:pt idx="32">
                  <c:v>Jun-24</c:v>
                </c:pt>
                <c:pt idx="33">
                  <c:v>Jul-24</c:v>
                </c:pt>
                <c:pt idx="34">
                  <c:v>Aug-24</c:v>
                </c:pt>
              </c:strCache>
            </c:strRef>
          </c:cat>
          <c:val>
            <c:numRef>
              <c:f>Sheet1!$E$2:$E$36</c:f>
              <c:numCache>
                <c:formatCode>General</c:formatCode>
                <c:ptCount val="35"/>
                <c:pt idx="0">
                  <c:v>24.216929</c:v>
                </c:pt>
                <c:pt idx="1">
                  <c:v>23.937986</c:v>
                </c:pt>
                <c:pt idx="2">
                  <c:v>27.240732</c:v>
                </c:pt>
                <c:pt idx="3">
                  <c:v>20.498234</c:v>
                </c:pt>
                <c:pt idx="4">
                  <c:v>22.234016</c:v>
                </c:pt>
                <c:pt idx="5">
                  <c:v>27.70367</c:v>
                </c:pt>
                <c:pt idx="6">
                  <c:v>26.473688</c:v>
                </c:pt>
                <c:pt idx="7">
                  <c:v>28.134103</c:v>
                </c:pt>
                <c:pt idx="8">
                  <c:v>28.924343</c:v>
                </c:pt>
                <c:pt idx="9">
                  <c:v>29.62932</c:v>
                </c:pt>
                <c:pt idx="10">
                  <c:v>29.372559</c:v>
                </c:pt>
                <c:pt idx="11">
                  <c:v>24.763766</c:v>
                </c:pt>
                <c:pt idx="12">
                  <c:v>24.76082</c:v>
                </c:pt>
                <c:pt idx="13">
                  <c:v>23.575649</c:v>
                </c:pt>
                <c:pt idx="14">
                  <c:v>28.07937</c:v>
                </c:pt>
                <c:pt idx="15">
                  <c:v>21.824049</c:v>
                </c:pt>
                <c:pt idx="16">
                  <c:v>21.555739</c:v>
                </c:pt>
                <c:pt idx="17">
                  <c:v>25.287942</c:v>
                </c:pt>
                <c:pt idx="18">
                  <c:v>24.826027</c:v>
                </c:pt>
                <c:pt idx="19">
                  <c:v>27.651719</c:v>
                </c:pt>
                <c:pt idx="20">
                  <c:v>29.032481</c:v>
                </c:pt>
                <c:pt idx="21">
                  <c:v>30.095999</c:v>
                </c:pt>
                <c:pt idx="22">
                  <c:v>29.049277</c:v>
                </c:pt>
                <c:pt idx="23">
                  <c:v>24.215539</c:v>
                </c:pt>
                <c:pt idx="24">
                  <c:v>24.237247</c:v>
                </c:pt>
                <c:pt idx="25">
                  <c:v>23.778892</c:v>
                </c:pt>
                <c:pt idx="26">
                  <c:v>31.476376</c:v>
                </c:pt>
                <c:pt idx="27">
                  <c:v>21.786608</c:v>
                </c:pt>
                <c:pt idx="28">
                  <c:v>22.768948</c:v>
                </c:pt>
                <c:pt idx="29">
                  <c:v>25.85499</c:v>
                </c:pt>
                <c:pt idx="30">
                  <c:v>24.767481</c:v>
                </c:pt>
                <c:pt idx="31">
                  <c:v>27.405167</c:v>
                </c:pt>
                <c:pt idx="32">
                  <c:v>29.514334</c:v>
                </c:pt>
                <c:pt idx="33">
                  <c:v>29.926088</c:v>
                </c:pt>
                <c:pt idx="34">
                  <c:v>28.866424</c:v>
                </c:pt>
              </c:numCache>
            </c:numRef>
          </c:val>
          <c:smooth val="0"/>
          <c:extLst>
            <c:ext xmlns:c16="http://schemas.microsoft.com/office/drawing/2014/chart" uri="{C3380CC4-5D6E-409C-BE32-E72D297353CC}">
              <c16:uniqueId val="{00000000-A582-417D-A5F8-2A0075530F50}"/>
            </c:ext>
          </c:extLst>
        </c:ser>
        <c:dLbls>
          <c:showLegendKey val="0"/>
          <c:showVal val="0"/>
          <c:showCatName val="0"/>
          <c:showSerName val="0"/>
          <c:showPercent val="0"/>
          <c:showBubbleSize val="0"/>
        </c:dLbls>
        <c:marker val="1"/>
        <c:smooth val="0"/>
        <c:axId val="1624167016"/>
        <c:axId val="1624169640"/>
      </c:lineChart>
      <c:catAx>
        <c:axId val="1624167016"/>
        <c:scaling>
          <c:orientation val="minMax"/>
        </c:scaling>
        <c:delete val="0"/>
        <c:axPos val="b"/>
        <c:numFmt formatCode="General" sourceLinked="1"/>
        <c:majorTickMark val="none"/>
        <c:minorTickMark val="none"/>
        <c:tickLblPos val="nextTo"/>
        <c:spPr>
          <a:noFill/>
          <a:ln w="9525" cap="flat" cmpd="sng" algn="ctr">
            <a:noFill/>
            <a:prstDash val="solid"/>
            <a:round/>
          </a:ln>
          <a:effectLst/>
        </c:spPr>
        <c:txPr>
          <a:bodyPr rot="0" spcFirstLastPara="1" vertOverflow="ellipsis" wrap="square" anchor="ctr" anchorCtr="1"/>
          <a:lstStyle/>
          <a:p>
            <a:pPr algn="ctr">
              <a:defRPr lang="en-US" sz="800" b="0" i="0" u="none" strike="noStrike" kern="1200" baseline="0">
                <a:solidFill>
                  <a:schemeClr val="tx1"/>
                </a:solidFill>
                <a:latin typeface="+mj-lt"/>
                <a:ea typeface="+mn-ea"/>
                <a:cs typeface="+mn-cs"/>
              </a:defRPr>
            </a:pPr>
            <a:endParaRPr lang="en-US"/>
          </a:p>
        </c:txPr>
        <c:crossAx val="1624169640"/>
        <c:crosses val="autoZero"/>
        <c:auto val="1"/>
        <c:lblAlgn val="ctr"/>
        <c:lblOffset val="100"/>
        <c:tickLblSkip val="3"/>
        <c:noMultiLvlLbl val="1"/>
      </c:catAx>
      <c:valAx>
        <c:axId val="1624169640"/>
        <c:scaling>
          <c:orientation val="minMax"/>
        </c:scaling>
        <c:delete val="0"/>
        <c:axPos val="l"/>
        <c:numFmt formatCode="#,##0" sourceLinked="0"/>
        <c:majorTickMark val="none"/>
        <c:minorTickMark val="none"/>
        <c:tickLblPos val="nextTo"/>
        <c:spPr>
          <a:noFill/>
          <a:ln w="6350" cap="flat" cmpd="sng" algn="ctr">
            <a:noFill/>
            <a:prstDash val="solid"/>
            <a:round/>
          </a:ln>
          <a:effectLst/>
        </c:spPr>
        <c:txPr>
          <a:bodyPr rot="-60000000" spcFirstLastPara="1" vertOverflow="ellipsis" vert="horz" wrap="square" anchor="ctr" anchorCtr="1"/>
          <a:lstStyle/>
          <a:p>
            <a:pP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a:p>
        </c:txPr>
        <c:crossAx val="1624167016"/>
        <c:crosses val="autoZero"/>
        <c:crossBetween val="between"/>
      </c:valAx>
      <c:spPr>
        <a:noFill/>
        <a:ln>
          <a:noFill/>
        </a:ln>
        <a:effectLst/>
      </c:spPr>
    </c:plotArea>
    <c:legend>
      <c:legendPos val="b"/>
      <c:layout>
        <c:manualLayout>
          <c:xMode val="edge"/>
          <c:yMode val="edge"/>
          <c:x val="7.3660685603241294E-2"/>
          <c:y val="0.81729018208272031"/>
          <c:w val="0.90289148980965561"/>
          <c:h val="0.13936961130964612"/>
        </c:manualLayout>
      </c:layout>
      <c:overlay val="0"/>
      <c:spPr>
        <a:noFill/>
        <a:ln>
          <a:noFill/>
        </a:ln>
        <a:effectLst/>
      </c:spPr>
      <c:txPr>
        <a:bodyPr rot="0" spcFirstLastPara="1" vertOverflow="ellipsis" vert="horz" wrap="square" anchor="ctr" anchorCtr="0"/>
        <a:lstStyle/>
        <a:p>
          <a:pPr algn="ctr">
            <a:defRPr lang="en-US"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6350" cap="flat" cmpd="sng" algn="ctr">
      <a:noFill/>
      <a:prstDash val="solid"/>
      <a:miter lim="800000"/>
    </a:ln>
    <a:effectLst/>
  </c:spPr>
  <c:txPr>
    <a:bodyPr/>
    <a:lstStyle/>
    <a:p>
      <a:pPr algn="ctr">
        <a:defRPr lang="en-US" sz="900" b="0" i="0" u="none" strike="noStrike" kern="120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manualLayout>
          <c:layoutTarget val="inner"/>
          <c:xMode val="edge"/>
          <c:yMode val="edge"/>
          <c:x val="4.5205042438763526E-2"/>
          <c:y val="9.9397151645846074E-2"/>
          <c:w val="0.93468942653552012"/>
          <c:h val="0.61239220651000625"/>
        </c:manualLayout>
      </c:layout>
      <c:barChart>
        <c:barDir val="col"/>
        <c:grouping val="stacked"/>
        <c:varyColors val="0"/>
        <c:ser>
          <c:idx val="14"/>
          <c:order val="14"/>
          <c:tx>
            <c:strRef>
              <c:f>Sheet1!$B$1</c:f>
              <c:strCache>
                <c:ptCount val="1"/>
                <c:pt idx="0">
                  <c:v>Disposable</c:v>
                </c:pt>
              </c:strCache>
            </c:strRef>
          </c:tx>
          <c:spPr>
            <a:solidFill>
              <a:srgbClr val="00A097"/>
            </a:solidFill>
            <a:ln>
              <a:noFill/>
            </a:ln>
            <a:effectLst/>
          </c:spPr>
          <c:invertIfNegative val="0"/>
          <c:cat>
            <c:strRef>
              <c:f>Sheet1!$A$2:$A$36</c:f>
              <c:strCache>
                <c:ptCount val="35"/>
                <c:pt idx="0">
                  <c:v>Oct-21</c:v>
                </c:pt>
                <c:pt idx="1">
                  <c:v>Nov-21</c:v>
                </c:pt>
                <c:pt idx="2">
                  <c:v>Dec-21</c:v>
                </c:pt>
                <c:pt idx="3">
                  <c:v>Jan-22</c:v>
                </c:pt>
                <c:pt idx="4">
                  <c:v>Feb-22</c:v>
                </c:pt>
                <c:pt idx="5">
                  <c:v>Mar-22</c:v>
                </c:pt>
                <c:pt idx="6">
                  <c:v>Apr-22</c:v>
                </c:pt>
                <c:pt idx="7">
                  <c:v>May-22</c:v>
                </c:pt>
                <c:pt idx="8">
                  <c:v>Jun-22</c:v>
                </c:pt>
                <c:pt idx="9">
                  <c:v>Jul-22</c:v>
                </c:pt>
                <c:pt idx="10">
                  <c:v>Aug-22</c:v>
                </c:pt>
                <c:pt idx="11">
                  <c:v>Sep-22</c:v>
                </c:pt>
                <c:pt idx="12">
                  <c:v>Oct-22</c:v>
                </c:pt>
                <c:pt idx="13">
                  <c:v>Nov-22</c:v>
                </c:pt>
                <c:pt idx="14">
                  <c:v>Dec-22</c:v>
                </c:pt>
                <c:pt idx="15">
                  <c:v>Jan-23</c:v>
                </c:pt>
                <c:pt idx="16">
                  <c:v>Feb-23</c:v>
                </c:pt>
                <c:pt idx="17">
                  <c:v>Mar-23</c:v>
                </c:pt>
                <c:pt idx="18">
                  <c:v>Apr-23</c:v>
                </c:pt>
                <c:pt idx="19">
                  <c:v>May-23</c:v>
                </c:pt>
                <c:pt idx="20">
                  <c:v>Jun-23</c:v>
                </c:pt>
                <c:pt idx="21">
                  <c:v>Jul-23</c:v>
                </c:pt>
                <c:pt idx="22">
                  <c:v>Aug-23</c:v>
                </c:pt>
                <c:pt idx="23">
                  <c:v>Sep-23</c:v>
                </c:pt>
                <c:pt idx="24">
                  <c:v>Oct-23</c:v>
                </c:pt>
                <c:pt idx="25">
                  <c:v>Nov-23</c:v>
                </c:pt>
                <c:pt idx="26">
                  <c:v>Dec-23</c:v>
                </c:pt>
                <c:pt idx="27">
                  <c:v>Jan-24</c:v>
                </c:pt>
                <c:pt idx="28">
                  <c:v>Feb-24</c:v>
                </c:pt>
                <c:pt idx="29">
                  <c:v>Mar-24</c:v>
                </c:pt>
                <c:pt idx="30">
                  <c:v>Apr-24</c:v>
                </c:pt>
                <c:pt idx="31">
                  <c:v>May-24</c:v>
                </c:pt>
                <c:pt idx="32">
                  <c:v>Jun-24</c:v>
                </c:pt>
                <c:pt idx="33">
                  <c:v>Jul-24</c:v>
                </c:pt>
                <c:pt idx="34">
                  <c:v>Aug-24</c:v>
                </c:pt>
              </c:strCache>
            </c:strRef>
          </c:cat>
          <c:val>
            <c:numRef>
              <c:f>Sheet1!$B$2:$B$36</c:f>
              <c:numCache>
                <c:formatCode>General</c:formatCode>
                <c:ptCount val="35"/>
                <c:pt idx="0">
                  <c:v>0.219245</c:v>
                </c:pt>
                <c:pt idx="1">
                  <c:v>0.206819</c:v>
                </c:pt>
                <c:pt idx="2">
                  <c:v>0.207444</c:v>
                </c:pt>
                <c:pt idx="3">
                  <c:v>0.304565</c:v>
                </c:pt>
                <c:pt idx="4">
                  <c:v>0.252837</c:v>
                </c:pt>
                <c:pt idx="5">
                  <c:v>0.251534</c:v>
                </c:pt>
                <c:pt idx="6">
                  <c:v>0.280606</c:v>
                </c:pt>
                <c:pt idx="7">
                  <c:v>0.321701</c:v>
                </c:pt>
                <c:pt idx="8">
                  <c:v>0.348257</c:v>
                </c:pt>
                <c:pt idx="9">
                  <c:v>0.315712</c:v>
                </c:pt>
                <c:pt idx="10">
                  <c:v>0.300771</c:v>
                </c:pt>
                <c:pt idx="11">
                  <c:v>0.25044</c:v>
                </c:pt>
                <c:pt idx="12">
                  <c:v>0.273983</c:v>
                </c:pt>
                <c:pt idx="13">
                  <c:v>0.25844</c:v>
                </c:pt>
                <c:pt idx="14">
                  <c:v>0.275419</c:v>
                </c:pt>
                <c:pt idx="15">
                  <c:v>0.274715</c:v>
                </c:pt>
                <c:pt idx="16">
                  <c:v>0.253928</c:v>
                </c:pt>
                <c:pt idx="17">
                  <c:v>0.253504</c:v>
                </c:pt>
                <c:pt idx="18">
                  <c:v>0.242374</c:v>
                </c:pt>
                <c:pt idx="19">
                  <c:v>0.290925</c:v>
                </c:pt>
                <c:pt idx="20">
                  <c:v>0.462119</c:v>
                </c:pt>
                <c:pt idx="21">
                  <c:v>0.421541</c:v>
                </c:pt>
                <c:pt idx="22">
                  <c:v>0.29073</c:v>
                </c:pt>
                <c:pt idx="23">
                  <c:v>0.299595</c:v>
                </c:pt>
                <c:pt idx="24">
                  <c:v>0.401777</c:v>
                </c:pt>
                <c:pt idx="25">
                  <c:v>0.298111</c:v>
                </c:pt>
                <c:pt idx="26">
                  <c:v>0.295481</c:v>
                </c:pt>
                <c:pt idx="27">
                  <c:v>0.286275</c:v>
                </c:pt>
                <c:pt idx="28">
                  <c:v>0.266672</c:v>
                </c:pt>
                <c:pt idx="29">
                  <c:v>0.577944</c:v>
                </c:pt>
                <c:pt idx="30">
                  <c:v>0.520441</c:v>
                </c:pt>
                <c:pt idx="31">
                  <c:v>0.334895</c:v>
                </c:pt>
                <c:pt idx="32">
                  <c:v>0.328553</c:v>
                </c:pt>
                <c:pt idx="33">
                  <c:v>0.343448</c:v>
                </c:pt>
                <c:pt idx="34">
                  <c:v>0.299799</c:v>
                </c:pt>
              </c:numCache>
            </c:numRef>
          </c:val>
          <c:extLst>
            <c:ext xmlns:c16="http://schemas.microsoft.com/office/drawing/2014/chart" uri="{C3380CC4-5D6E-409C-BE32-E72D297353CC}">
              <c16:uniqueId val="{0000000B-CB01-4B89-A725-1CA2D0FD4A84}"/>
            </c:ext>
          </c:extLst>
        </c:ser>
        <c:ser>
          <c:idx val="15"/>
          <c:order val="15"/>
          <c:tx>
            <c:strRef>
              <c:f>Sheet1!$C$1</c:f>
              <c:strCache>
                <c:ptCount val="1"/>
                <c:pt idx="0">
                  <c:v>System</c:v>
                </c:pt>
              </c:strCache>
            </c:strRef>
          </c:tx>
          <c:spPr>
            <a:solidFill>
              <a:srgbClr val="7ECAC4"/>
            </a:solidFill>
            <a:ln>
              <a:noFill/>
            </a:ln>
            <a:effectLst/>
          </c:spPr>
          <c:invertIfNegative val="0"/>
          <c:cat>
            <c:strRef>
              <c:f>Sheet1!$A$2:$A$36</c:f>
              <c:strCache>
                <c:ptCount val="35"/>
                <c:pt idx="0">
                  <c:v>Oct-21</c:v>
                </c:pt>
                <c:pt idx="1">
                  <c:v>Nov-21</c:v>
                </c:pt>
                <c:pt idx="2">
                  <c:v>Dec-21</c:v>
                </c:pt>
                <c:pt idx="3">
                  <c:v>Jan-22</c:v>
                </c:pt>
                <c:pt idx="4">
                  <c:v>Feb-22</c:v>
                </c:pt>
                <c:pt idx="5">
                  <c:v>Mar-22</c:v>
                </c:pt>
                <c:pt idx="6">
                  <c:v>Apr-22</c:v>
                </c:pt>
                <c:pt idx="7">
                  <c:v>May-22</c:v>
                </c:pt>
                <c:pt idx="8">
                  <c:v>Jun-22</c:v>
                </c:pt>
                <c:pt idx="9">
                  <c:v>Jul-22</c:v>
                </c:pt>
                <c:pt idx="10">
                  <c:v>Aug-22</c:v>
                </c:pt>
                <c:pt idx="11">
                  <c:v>Sep-22</c:v>
                </c:pt>
                <c:pt idx="12">
                  <c:v>Oct-22</c:v>
                </c:pt>
                <c:pt idx="13">
                  <c:v>Nov-22</c:v>
                </c:pt>
                <c:pt idx="14">
                  <c:v>Dec-22</c:v>
                </c:pt>
                <c:pt idx="15">
                  <c:v>Jan-23</c:v>
                </c:pt>
                <c:pt idx="16">
                  <c:v>Feb-23</c:v>
                </c:pt>
                <c:pt idx="17">
                  <c:v>Mar-23</c:v>
                </c:pt>
                <c:pt idx="18">
                  <c:v>Apr-23</c:v>
                </c:pt>
                <c:pt idx="19">
                  <c:v>May-23</c:v>
                </c:pt>
                <c:pt idx="20">
                  <c:v>Jun-23</c:v>
                </c:pt>
                <c:pt idx="21">
                  <c:v>Jul-23</c:v>
                </c:pt>
                <c:pt idx="22">
                  <c:v>Aug-23</c:v>
                </c:pt>
                <c:pt idx="23">
                  <c:v>Sep-23</c:v>
                </c:pt>
                <c:pt idx="24">
                  <c:v>Oct-23</c:v>
                </c:pt>
                <c:pt idx="25">
                  <c:v>Nov-23</c:v>
                </c:pt>
                <c:pt idx="26">
                  <c:v>Dec-23</c:v>
                </c:pt>
                <c:pt idx="27">
                  <c:v>Jan-24</c:v>
                </c:pt>
                <c:pt idx="28">
                  <c:v>Feb-24</c:v>
                </c:pt>
                <c:pt idx="29">
                  <c:v>Mar-24</c:v>
                </c:pt>
                <c:pt idx="30">
                  <c:v>Apr-24</c:v>
                </c:pt>
                <c:pt idx="31">
                  <c:v>May-24</c:v>
                </c:pt>
                <c:pt idx="32">
                  <c:v>Jun-24</c:v>
                </c:pt>
                <c:pt idx="33">
                  <c:v>Jul-24</c:v>
                </c:pt>
                <c:pt idx="34">
                  <c:v>Aug-24</c:v>
                </c:pt>
              </c:strCache>
            </c:strRef>
          </c:cat>
          <c:val>
            <c:numRef>
              <c:f>Sheet1!$C$2:$C$36</c:f>
              <c:numCache>
                <c:formatCode>General</c:formatCode>
                <c:ptCount val="35"/>
                <c:pt idx="0">
                  <c:v>1.266758</c:v>
                </c:pt>
                <c:pt idx="1">
                  <c:v>1.27194</c:v>
                </c:pt>
                <c:pt idx="2">
                  <c:v>1.419046</c:v>
                </c:pt>
                <c:pt idx="3">
                  <c:v>1.504278</c:v>
                </c:pt>
                <c:pt idx="4">
                  <c:v>1.326975</c:v>
                </c:pt>
                <c:pt idx="5">
                  <c:v>1.799623</c:v>
                </c:pt>
                <c:pt idx="6">
                  <c:v>1.766798</c:v>
                </c:pt>
                <c:pt idx="7">
                  <c:v>1.96846</c:v>
                </c:pt>
                <c:pt idx="8">
                  <c:v>2.011922</c:v>
                </c:pt>
                <c:pt idx="9">
                  <c:v>2.293078</c:v>
                </c:pt>
                <c:pt idx="10">
                  <c:v>1.924382</c:v>
                </c:pt>
                <c:pt idx="11">
                  <c:v>1.669661</c:v>
                </c:pt>
                <c:pt idx="12">
                  <c:v>1.634574</c:v>
                </c:pt>
                <c:pt idx="13">
                  <c:v>1.650697</c:v>
                </c:pt>
                <c:pt idx="14">
                  <c:v>1.721092</c:v>
                </c:pt>
                <c:pt idx="15">
                  <c:v>1.84405</c:v>
                </c:pt>
                <c:pt idx="16">
                  <c:v>1.723467</c:v>
                </c:pt>
                <c:pt idx="17">
                  <c:v>1.846104</c:v>
                </c:pt>
                <c:pt idx="18">
                  <c:v>1.753291</c:v>
                </c:pt>
                <c:pt idx="19">
                  <c:v>1.953906</c:v>
                </c:pt>
                <c:pt idx="20">
                  <c:v>1.980711</c:v>
                </c:pt>
                <c:pt idx="21">
                  <c:v>2.399332</c:v>
                </c:pt>
                <c:pt idx="22">
                  <c:v>2.304584</c:v>
                </c:pt>
                <c:pt idx="23">
                  <c:v>1.94133</c:v>
                </c:pt>
                <c:pt idx="24">
                  <c:v>1.896934</c:v>
                </c:pt>
                <c:pt idx="25">
                  <c:v>1.904263</c:v>
                </c:pt>
                <c:pt idx="26">
                  <c:v>1.925246</c:v>
                </c:pt>
                <c:pt idx="27">
                  <c:v>1.941617</c:v>
                </c:pt>
                <c:pt idx="28">
                  <c:v>2.094575</c:v>
                </c:pt>
                <c:pt idx="29">
                  <c:v>2.307219</c:v>
                </c:pt>
                <c:pt idx="30">
                  <c:v>2.315575</c:v>
                </c:pt>
                <c:pt idx="31">
                  <c:v>2.465268</c:v>
                </c:pt>
                <c:pt idx="32">
                  <c:v>2.441059</c:v>
                </c:pt>
                <c:pt idx="33">
                  <c:v>2.525208</c:v>
                </c:pt>
                <c:pt idx="34">
                  <c:v>2.245114</c:v>
                </c:pt>
              </c:numCache>
            </c:numRef>
          </c:val>
          <c:extLst>
            <c:ext xmlns:c16="http://schemas.microsoft.com/office/drawing/2014/chart" uri="{C3380CC4-5D6E-409C-BE32-E72D297353CC}">
              <c16:uniqueId val="{0000000C-CB01-4B89-A725-1CA2D0FD4A84}"/>
            </c:ext>
          </c:extLst>
        </c:ser>
        <c:dLbls>
          <c:showLegendKey val="0"/>
          <c:showVal val="0"/>
          <c:showCatName val="0"/>
          <c:showSerName val="0"/>
          <c:showPercent val="0"/>
          <c:showBubbleSize val="0"/>
        </c:dLbls>
        <c:gapWidth val="150"/>
        <c:overlap val="100"/>
        <c:axId val="1624167016"/>
        <c:axId val="1624169640"/>
        <c:extLst>
          <c:ext xmlns:c15="http://schemas.microsoft.com/office/drawing/2012/chart" uri="{02D57815-91ED-43cb-92C2-25804820EDAC}">
            <c15:filteredBarSeries>
              <c15:ser>
                <c:idx val="1"/>
                <c:order val="1"/>
                <c:tx>
                  <c:strRef>
                    <c:extLst>
                      <c:ext uri="{02D57815-91ED-43cb-92C2-25804820EDAC}">
                        <c15:formulaRef>
                          <c15:sqref>Sheet1!$C$1</c15:sqref>
                        </c15:formulaRef>
                      </c:ext>
                    </c:extLst>
                    <c:strCache>
                      <c:ptCount val="1"/>
                      <c:pt idx="0">
                        <c:v>Sector 1</c:v>
                      </c:pt>
                    </c:strCache>
                  </c:strRef>
                </c:tx>
                <c:spPr>
                  <a:solidFill>
                    <a:schemeClr val="dk1">
                      <a:tint val="55000"/>
                    </a:schemeClr>
                  </a:solidFill>
                  <a:ln>
                    <a:noFill/>
                  </a:ln>
                  <a:effectLst/>
                </c:spPr>
                <c:invertIfNegative val="0"/>
                <c:cat>
                  <c:strRef>
                    <c:extLst>
                      <c:ex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c:ext uri="{02D57815-91ED-43cb-92C2-25804820EDAC}">
                        <c15:formulaRef>
                          <c15:sqref>Sheet1!$C$2:$C$36</c15:sqref>
                        </c15:formulaRef>
                      </c:ext>
                    </c:extLst>
                    <c:numCache>
                      <c:formatCode>General</c:formatCode>
                      <c:ptCount val="35"/>
                      <c:pt idx="0">
                        <c:v>40.809865000000002</c:v>
                      </c:pt>
                      <c:pt idx="1">
                        <c:v>41.860694000000002</c:v>
                      </c:pt>
                      <c:pt idx="2">
                        <c:v>34.509422000000001</c:v>
                      </c:pt>
                      <c:pt idx="3">
                        <c:v>49.657702</c:v>
                      </c:pt>
                      <c:pt idx="4">
                        <c:v>50.616717999999999</c:v>
                      </c:pt>
                      <c:pt idx="5">
                        <c:v>51.539561999999997</c:v>
                      </c:pt>
                      <c:pt idx="6">
                        <c:v>53.959558000000001</c:v>
                      </c:pt>
                      <c:pt idx="7">
                        <c:v>48.84498</c:v>
                      </c:pt>
                      <c:pt idx="8">
                        <c:v>43.617640999999999</c:v>
                      </c:pt>
                      <c:pt idx="9">
                        <c:v>44.545436000000002</c:v>
                      </c:pt>
                      <c:pt idx="10">
                        <c:v>41.403309999999998</c:v>
                      </c:pt>
                      <c:pt idx="11">
                        <c:v>42.115876</c:v>
                      </c:pt>
                      <c:pt idx="12">
                        <c:v>39.743237000000001</c:v>
                      </c:pt>
                      <c:pt idx="13">
                        <c:v>42.646582000000002</c:v>
                      </c:pt>
                      <c:pt idx="14">
                        <c:v>40.323042999999998</c:v>
                      </c:pt>
                      <c:pt idx="15">
                        <c:v>52.877302</c:v>
                      </c:pt>
                      <c:pt idx="16">
                        <c:v>52.359431000000001</c:v>
                      </c:pt>
                      <c:pt idx="17">
                        <c:v>50.322519999999997</c:v>
                      </c:pt>
                      <c:pt idx="18">
                        <c:v>52.78004</c:v>
                      </c:pt>
                      <c:pt idx="19">
                        <c:v>49.372244999999999</c:v>
                      </c:pt>
                      <c:pt idx="20">
                        <c:v>50.002222000000003</c:v>
                      </c:pt>
                      <c:pt idx="21">
                        <c:v>46.193210000000001</c:v>
                      </c:pt>
                      <c:pt idx="22">
                        <c:v>41.510463999999999</c:v>
                      </c:pt>
                      <c:pt idx="23">
                        <c:v>40.221505000000001</c:v>
                      </c:pt>
                      <c:pt idx="24">
                        <c:v>42.523161999999999</c:v>
                      </c:pt>
                      <c:pt idx="25">
                        <c:v>45.628883999999999</c:v>
                      </c:pt>
                      <c:pt idx="26">
                        <c:v>40.031787999999999</c:v>
                      </c:pt>
                      <c:pt idx="27">
                        <c:v>51.652650000000001</c:v>
                      </c:pt>
                      <c:pt idx="28">
                        <c:v>50.177590000000002</c:v>
                      </c:pt>
                      <c:pt idx="29">
                        <c:v>54.531019999999998</c:v>
                      </c:pt>
                      <c:pt idx="30">
                        <c:v>56.857843000000003</c:v>
                      </c:pt>
                      <c:pt idx="31">
                        <c:v>50.233561999999999</c:v>
                      </c:pt>
                      <c:pt idx="32">
                        <c:v>48.179372000000001</c:v>
                      </c:pt>
                      <c:pt idx="33">
                        <c:v>47.120365</c:v>
                      </c:pt>
                      <c:pt idx="34">
                        <c:v>35.507016999999998</c:v>
                      </c:pt>
                    </c:numCache>
                  </c:numRef>
                </c:val>
                <c:extLst>
                  <c:ext xmlns:c16="http://schemas.microsoft.com/office/drawing/2014/chart" uri="{C3380CC4-5D6E-409C-BE32-E72D297353CC}">
                    <c16:uniqueId val="{00000001-A582-417D-A5F8-2A0075530F50}"/>
                  </c:ext>
                </c:extLst>
              </c15:ser>
            </c15:filteredBarSeries>
            <c15:filteredBarSeries>
              <c15:ser>
                <c:idx val="2"/>
                <c:order val="2"/>
                <c:tx>
                  <c:strRef>
                    <c:extLst xmlns:c15="http://schemas.microsoft.com/office/drawing/2012/chart">
                      <c:ext xmlns:c15="http://schemas.microsoft.com/office/drawing/2012/chart" uri="{02D57815-91ED-43cb-92C2-25804820EDAC}">
                        <c15:formulaRef>
                          <c15:sqref>Sheet1!$D$1</c15:sqref>
                        </c15:formulaRef>
                      </c:ext>
                    </c:extLst>
                    <c:strCache>
                      <c:ptCount val="1"/>
                      <c:pt idx="0">
                        <c:v>Sector 2</c:v>
                      </c:pt>
                    </c:strCache>
                  </c:strRef>
                </c:tx>
                <c:spPr>
                  <a:solidFill>
                    <a:schemeClr val="dk1">
                      <a:tint val="75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D$2:$D$36</c15:sqref>
                        </c15:formulaRef>
                      </c:ext>
                    </c:extLst>
                    <c:numCache>
                      <c:formatCode>General</c:formatCode>
                      <c:ptCount val="35"/>
                      <c:pt idx="0">
                        <c:v>19.557812999999999</c:v>
                      </c:pt>
                      <c:pt idx="1">
                        <c:v>23.784803</c:v>
                      </c:pt>
                      <c:pt idx="2">
                        <c:v>21.799987000000002</c:v>
                      </c:pt>
                      <c:pt idx="3">
                        <c:v>25.857672000000001</c:v>
                      </c:pt>
                      <c:pt idx="4">
                        <c:v>24.992432999999998</c:v>
                      </c:pt>
                      <c:pt idx="5">
                        <c:v>26.955321999999999</c:v>
                      </c:pt>
                      <c:pt idx="6">
                        <c:v>32.419100999999998</c:v>
                      </c:pt>
                      <c:pt idx="7">
                        <c:v>29.344944999999999</c:v>
                      </c:pt>
                      <c:pt idx="8">
                        <c:v>27.493164</c:v>
                      </c:pt>
                      <c:pt idx="9">
                        <c:v>23.275084</c:v>
                      </c:pt>
                      <c:pt idx="10">
                        <c:v>24.237242999999999</c:v>
                      </c:pt>
                      <c:pt idx="11">
                        <c:v>23.067723999999998</c:v>
                      </c:pt>
                      <c:pt idx="12">
                        <c:v>23.036899999999999</c:v>
                      </c:pt>
                      <c:pt idx="13">
                        <c:v>25.516981000000001</c:v>
                      </c:pt>
                      <c:pt idx="14">
                        <c:v>22.874832000000001</c:v>
                      </c:pt>
                      <c:pt idx="15">
                        <c:v>26.349399999999999</c:v>
                      </c:pt>
                      <c:pt idx="16">
                        <c:v>29.881401</c:v>
                      </c:pt>
                      <c:pt idx="17">
                        <c:v>31.686630000000001</c:v>
                      </c:pt>
                      <c:pt idx="18">
                        <c:v>34.259588000000001</c:v>
                      </c:pt>
                      <c:pt idx="19">
                        <c:v>31.563769000000001</c:v>
                      </c:pt>
                      <c:pt idx="20">
                        <c:v>27.452038999999999</c:v>
                      </c:pt>
                      <c:pt idx="21">
                        <c:v>24.840769999999999</c:v>
                      </c:pt>
                      <c:pt idx="22">
                        <c:v>26.102284999999998</c:v>
                      </c:pt>
                      <c:pt idx="23">
                        <c:v>23.897715000000002</c:v>
                      </c:pt>
                      <c:pt idx="24">
                        <c:v>25.006601</c:v>
                      </c:pt>
                      <c:pt idx="25">
                        <c:v>27.601903</c:v>
                      </c:pt>
                      <c:pt idx="26">
                        <c:v>22.956002999999999</c:v>
                      </c:pt>
                      <c:pt idx="27">
                        <c:v>26.913005999999999</c:v>
                      </c:pt>
                      <c:pt idx="28">
                        <c:v>31.412331999999999</c:v>
                      </c:pt>
                      <c:pt idx="29">
                        <c:v>32.630974000000002</c:v>
                      </c:pt>
                      <c:pt idx="30">
                        <c:v>31.591038000000001</c:v>
                      </c:pt>
                      <c:pt idx="31">
                        <c:v>31.863667</c:v>
                      </c:pt>
                      <c:pt idx="32">
                        <c:v>31.422338</c:v>
                      </c:pt>
                      <c:pt idx="33">
                        <c:v>28.426777000000001</c:v>
                      </c:pt>
                      <c:pt idx="34">
                        <c:v>26.165305</c:v>
                      </c:pt>
                    </c:numCache>
                  </c:numRef>
                </c:val>
                <c:extLst xmlns:c15="http://schemas.microsoft.com/office/drawing/2012/chart">
                  <c:ext xmlns:c16="http://schemas.microsoft.com/office/drawing/2014/chart" uri="{C3380CC4-5D6E-409C-BE32-E72D297353CC}">
                    <c16:uniqueId val="{00000000-2D16-4906-BB22-77AF188F6975}"/>
                  </c:ext>
                </c:extLst>
              </c15:ser>
            </c15:filteredBarSeries>
            <c15:filteredBarSeries>
              <c15:ser>
                <c:idx val="3"/>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Sector 3</c:v>
                      </c:pt>
                    </c:strCache>
                  </c:strRef>
                </c:tx>
                <c:spPr>
                  <a:solidFill>
                    <a:schemeClr val="dk1">
                      <a:tint val="985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E$2:$E$36</c15:sqref>
                        </c15:formulaRef>
                      </c:ext>
                    </c:extLst>
                    <c:numCache>
                      <c:formatCode>General</c:formatCode>
                      <c:ptCount val="35"/>
                      <c:pt idx="0">
                        <c:v>27.462826</c:v>
                      </c:pt>
                      <c:pt idx="1">
                        <c:v>39.404572000000002</c:v>
                      </c:pt>
                      <c:pt idx="2">
                        <c:v>34.570886000000002</c:v>
                      </c:pt>
                      <c:pt idx="3">
                        <c:v>47.424028999999997</c:v>
                      </c:pt>
                      <c:pt idx="4">
                        <c:v>42.725195999999997</c:v>
                      </c:pt>
                      <c:pt idx="5">
                        <c:v>49.893875999999999</c:v>
                      </c:pt>
                      <c:pt idx="6">
                        <c:v>45.230561999999999</c:v>
                      </c:pt>
                      <c:pt idx="7">
                        <c:v>36.896878999999998</c:v>
                      </c:pt>
                      <c:pt idx="8">
                        <c:v>33.942658000000002</c:v>
                      </c:pt>
                      <c:pt idx="9">
                        <c:v>31.043399000000001</c:v>
                      </c:pt>
                      <c:pt idx="10">
                        <c:v>28.703312</c:v>
                      </c:pt>
                      <c:pt idx="11">
                        <c:v>32.247686999999999</c:v>
                      </c:pt>
                      <c:pt idx="12">
                        <c:v>39.267698000000003</c:v>
                      </c:pt>
                      <c:pt idx="13">
                        <c:v>36.104199999999999</c:v>
                      </c:pt>
                      <c:pt idx="14">
                        <c:v>35.473145000000002</c:v>
                      </c:pt>
                      <c:pt idx="15">
                        <c:v>53.202506999999997</c:v>
                      </c:pt>
                      <c:pt idx="16">
                        <c:v>50.982067999999998</c:v>
                      </c:pt>
                      <c:pt idx="17">
                        <c:v>60.592055999999999</c:v>
                      </c:pt>
                      <c:pt idx="18">
                        <c:v>55.653505000000003</c:v>
                      </c:pt>
                      <c:pt idx="19">
                        <c:v>45.804431000000001</c:v>
                      </c:pt>
                      <c:pt idx="20">
                        <c:v>42.097817999999997</c:v>
                      </c:pt>
                      <c:pt idx="21">
                        <c:v>38.569479999999999</c:v>
                      </c:pt>
                      <c:pt idx="22">
                        <c:v>32.493749000000001</c:v>
                      </c:pt>
                      <c:pt idx="23">
                        <c:v>31.329796000000002</c:v>
                      </c:pt>
                      <c:pt idx="24">
                        <c:v>33.130343000000003</c:v>
                      </c:pt>
                      <c:pt idx="25">
                        <c:v>40.916313000000002</c:v>
                      </c:pt>
                      <c:pt idx="26">
                        <c:v>34.557360000000003</c:v>
                      </c:pt>
                      <c:pt idx="27">
                        <c:v>46.799098000000001</c:v>
                      </c:pt>
                      <c:pt idx="28">
                        <c:v>46.752299000000001</c:v>
                      </c:pt>
                      <c:pt idx="29">
                        <c:v>54.888565999999997</c:v>
                      </c:pt>
                      <c:pt idx="30">
                        <c:v>56.439608999999997</c:v>
                      </c:pt>
                      <c:pt idx="31">
                        <c:v>44.964128000000002</c:v>
                      </c:pt>
                      <c:pt idx="32">
                        <c:v>45.321382999999997</c:v>
                      </c:pt>
                      <c:pt idx="33">
                        <c:v>37.671095999999999</c:v>
                      </c:pt>
                      <c:pt idx="34">
                        <c:v>31.554338999999999</c:v>
                      </c:pt>
                    </c:numCache>
                  </c:numRef>
                </c:val>
                <c:extLst xmlns:c15="http://schemas.microsoft.com/office/drawing/2012/chart">
                  <c:ext xmlns:c16="http://schemas.microsoft.com/office/drawing/2014/chart" uri="{C3380CC4-5D6E-409C-BE32-E72D297353CC}">
                    <c16:uniqueId val="{00000001-2D16-4906-BB22-77AF188F6975}"/>
                  </c:ext>
                </c:extLst>
              </c15:ser>
            </c15:filteredBarSeries>
            <c15:filteredBarSeries>
              <c15:ser>
                <c:idx val="4"/>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Sector 4</c:v>
                      </c:pt>
                    </c:strCache>
                  </c:strRef>
                </c:tx>
                <c:spPr>
                  <a:solidFill>
                    <a:schemeClr val="dk1">
                      <a:tint val="30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F$2:$F$36</c15:sqref>
                        </c15:formulaRef>
                      </c:ext>
                    </c:extLst>
                    <c:numCache>
                      <c:formatCode>General</c:formatCode>
                      <c:ptCount val="35"/>
                      <c:pt idx="0">
                        <c:v>28.541810999999999</c:v>
                      </c:pt>
                      <c:pt idx="1">
                        <c:v>29.052481</c:v>
                      </c:pt>
                      <c:pt idx="2">
                        <c:v>33.367750000000001</c:v>
                      </c:pt>
                      <c:pt idx="3">
                        <c:v>35.968623999999998</c:v>
                      </c:pt>
                      <c:pt idx="4">
                        <c:v>33.207349000000001</c:v>
                      </c:pt>
                      <c:pt idx="5">
                        <c:v>35.057527</c:v>
                      </c:pt>
                      <c:pt idx="6">
                        <c:v>38.900894999999998</c:v>
                      </c:pt>
                      <c:pt idx="7">
                        <c:v>43.694178999999998</c:v>
                      </c:pt>
                      <c:pt idx="8">
                        <c:v>62.841144999999997</c:v>
                      </c:pt>
                      <c:pt idx="9">
                        <c:v>54.763354999999997</c:v>
                      </c:pt>
                      <c:pt idx="10">
                        <c:v>89.252371999999994</c:v>
                      </c:pt>
                      <c:pt idx="11">
                        <c:v>25.975645</c:v>
                      </c:pt>
                      <c:pt idx="12">
                        <c:v>30.148197</c:v>
                      </c:pt>
                      <c:pt idx="13">
                        <c:v>36.475974999999998</c:v>
                      </c:pt>
                      <c:pt idx="14">
                        <c:v>29.658926000000001</c:v>
                      </c:pt>
                      <c:pt idx="15">
                        <c:v>35.421528000000002</c:v>
                      </c:pt>
                      <c:pt idx="16">
                        <c:v>32.439849000000002</c:v>
                      </c:pt>
                      <c:pt idx="17">
                        <c:v>35.716830000000002</c:v>
                      </c:pt>
                      <c:pt idx="18">
                        <c:v>41.225175999999998</c:v>
                      </c:pt>
                      <c:pt idx="19">
                        <c:v>43.331505999999997</c:v>
                      </c:pt>
                      <c:pt idx="20">
                        <c:v>67.705122000000003</c:v>
                      </c:pt>
                      <c:pt idx="21">
                        <c:v>56.56662</c:v>
                      </c:pt>
                      <c:pt idx="22">
                        <c:v>91.018388000000002</c:v>
                      </c:pt>
                      <c:pt idx="23">
                        <c:v>26.250737000000001</c:v>
                      </c:pt>
                      <c:pt idx="24">
                        <c:v>30.771353000000001</c:v>
                      </c:pt>
                      <c:pt idx="25">
                        <c:v>32.781751</c:v>
                      </c:pt>
                      <c:pt idx="26">
                        <c:v>40.871063999999997</c:v>
                      </c:pt>
                      <c:pt idx="27">
                        <c:v>36.555362000000002</c:v>
                      </c:pt>
                      <c:pt idx="28">
                        <c:v>33.561486000000002</c:v>
                      </c:pt>
                      <c:pt idx="29">
                        <c:v>37.536104000000002</c:v>
                      </c:pt>
                      <c:pt idx="30">
                        <c:v>45.721882000000001</c:v>
                      </c:pt>
                      <c:pt idx="31">
                        <c:v>44.358134999999997</c:v>
                      </c:pt>
                      <c:pt idx="32">
                        <c:v>73.994276999999997</c:v>
                      </c:pt>
                      <c:pt idx="33">
                        <c:v>62.661236000000002</c:v>
                      </c:pt>
                      <c:pt idx="34">
                        <c:v>91.533505000000005</c:v>
                      </c:pt>
                    </c:numCache>
                  </c:numRef>
                </c:val>
                <c:extLst xmlns:c15="http://schemas.microsoft.com/office/drawing/2012/chart">
                  <c:ext xmlns:c16="http://schemas.microsoft.com/office/drawing/2014/chart" uri="{C3380CC4-5D6E-409C-BE32-E72D297353CC}">
                    <c16:uniqueId val="{00000002-2D16-4906-BB22-77AF188F6975}"/>
                  </c:ext>
                </c:extLst>
              </c15:ser>
            </c15:filteredBarSeries>
            <c15:filteredBarSeries>
              <c15:ser>
                <c:idx val="5"/>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Sector 5</c:v>
                      </c:pt>
                    </c:strCache>
                  </c:strRef>
                </c:tx>
                <c:spPr>
                  <a:solidFill>
                    <a:schemeClr val="dk1">
                      <a:tint val="60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G$2:$G$36</c15:sqref>
                        </c15:formulaRef>
                      </c:ext>
                    </c:extLst>
                    <c:numCache>
                      <c:formatCode>General</c:formatCode>
                      <c:ptCount val="35"/>
                      <c:pt idx="0">
                        <c:v>12.194502</c:v>
                      </c:pt>
                      <c:pt idx="1">
                        <c:v>7.156504</c:v>
                      </c:pt>
                      <c:pt idx="2">
                        <c:v>12.852249</c:v>
                      </c:pt>
                      <c:pt idx="3">
                        <c:v>17.913703000000002</c:v>
                      </c:pt>
                      <c:pt idx="4">
                        <c:v>9.8828340000000008</c:v>
                      </c:pt>
                      <c:pt idx="5">
                        <c:v>9.6037440000000007</c:v>
                      </c:pt>
                      <c:pt idx="6">
                        <c:v>11.410088999999999</c:v>
                      </c:pt>
                      <c:pt idx="7">
                        <c:v>11.869301</c:v>
                      </c:pt>
                      <c:pt idx="8">
                        <c:v>10.943581</c:v>
                      </c:pt>
                      <c:pt idx="9">
                        <c:v>24.200908999999999</c:v>
                      </c:pt>
                      <c:pt idx="10">
                        <c:v>59.814160000000001</c:v>
                      </c:pt>
                      <c:pt idx="11">
                        <c:v>7.4327399999999999</c:v>
                      </c:pt>
                      <c:pt idx="12">
                        <c:v>12.873098000000001</c:v>
                      </c:pt>
                      <c:pt idx="13">
                        <c:v>17.347481999999999</c:v>
                      </c:pt>
                      <c:pt idx="14">
                        <c:v>14.342812</c:v>
                      </c:pt>
                      <c:pt idx="15">
                        <c:v>16.454574000000001</c:v>
                      </c:pt>
                      <c:pt idx="16">
                        <c:v>8.7173169999999995</c:v>
                      </c:pt>
                      <c:pt idx="17">
                        <c:v>8.7356230000000004</c:v>
                      </c:pt>
                      <c:pt idx="18">
                        <c:v>11.042906</c:v>
                      </c:pt>
                      <c:pt idx="19">
                        <c:v>11.438431</c:v>
                      </c:pt>
                      <c:pt idx="20">
                        <c:v>12.034544</c:v>
                      </c:pt>
                      <c:pt idx="21">
                        <c:v>28.273</c:v>
                      </c:pt>
                      <c:pt idx="22">
                        <c:v>61.781478999999997</c:v>
                      </c:pt>
                      <c:pt idx="23">
                        <c:v>8.5091110000000008</c:v>
                      </c:pt>
                      <c:pt idx="24">
                        <c:v>14.055974000000001</c:v>
                      </c:pt>
                      <c:pt idx="25">
                        <c:v>10.074814999999999</c:v>
                      </c:pt>
                      <c:pt idx="26">
                        <c:v>26.582386</c:v>
                      </c:pt>
                      <c:pt idx="27">
                        <c:v>16.377361000000001</c:v>
                      </c:pt>
                      <c:pt idx="28">
                        <c:v>10.356033</c:v>
                      </c:pt>
                      <c:pt idx="29">
                        <c:v>11.832685</c:v>
                      </c:pt>
                      <c:pt idx="30">
                        <c:v>14.576200999999999</c:v>
                      </c:pt>
                      <c:pt idx="31">
                        <c:v>14.285002</c:v>
                      </c:pt>
                      <c:pt idx="32">
                        <c:v>16.927510000000002</c:v>
                      </c:pt>
                      <c:pt idx="33">
                        <c:v>34.868727999999997</c:v>
                      </c:pt>
                      <c:pt idx="34">
                        <c:v>70.545312999999993</c:v>
                      </c:pt>
                    </c:numCache>
                  </c:numRef>
                </c:val>
                <c:extLst xmlns:c15="http://schemas.microsoft.com/office/drawing/2012/chart">
                  <c:ext xmlns:c16="http://schemas.microsoft.com/office/drawing/2014/chart" uri="{C3380CC4-5D6E-409C-BE32-E72D297353CC}">
                    <c16:uniqueId val="{00000003-2D16-4906-BB22-77AF188F6975}"/>
                  </c:ext>
                </c:extLst>
              </c15:ser>
            </c15:filteredBarSeries>
            <c15:filteredBarSeries>
              <c15:ser>
                <c:idx val="6"/>
                <c:order val="6"/>
                <c:tx>
                  <c:strRef>
                    <c:extLst xmlns:c15="http://schemas.microsoft.com/office/drawing/2012/chart">
                      <c:ext xmlns:c15="http://schemas.microsoft.com/office/drawing/2012/chart" uri="{02D57815-91ED-43cb-92C2-25804820EDAC}">
                        <c15:formulaRef>
                          <c15:sqref>Sheet1!$H$1</c15:sqref>
                        </c15:formulaRef>
                      </c:ext>
                    </c:extLst>
                    <c:strCache>
                      <c:ptCount val="1"/>
                      <c:pt idx="0">
                        <c:v>Sector 6</c:v>
                      </c:pt>
                    </c:strCache>
                  </c:strRef>
                </c:tx>
                <c:spPr>
                  <a:solidFill>
                    <a:schemeClr val="dk1">
                      <a:tint val="80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H$2:$H$36</c15:sqref>
                        </c15:formulaRef>
                      </c:ext>
                    </c:extLst>
                    <c:numCache>
                      <c:formatCode>General</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numRef>
                </c:val>
                <c:extLst xmlns:c15="http://schemas.microsoft.com/office/drawing/2012/chart">
                  <c:ext xmlns:c16="http://schemas.microsoft.com/office/drawing/2014/chart" uri="{C3380CC4-5D6E-409C-BE32-E72D297353CC}">
                    <c16:uniqueId val="{00000003-CB01-4B89-A725-1CA2D0FD4A84}"/>
                  </c:ext>
                </c:extLst>
              </c15:ser>
            </c15:filteredBarSeries>
          </c:ext>
        </c:extLst>
      </c:barChart>
      <c:lineChart>
        <c:grouping val="stacked"/>
        <c:varyColors val="0"/>
        <c:ser>
          <c:idx val="0"/>
          <c:order val="0"/>
          <c:tx>
            <c:strRef>
              <c:f>Sheet1!$D$1</c:f>
              <c:strCache>
                <c:ptCount val="1"/>
                <c:pt idx="0">
                  <c:v>Total</c:v>
                </c:pt>
              </c:strCache>
            </c:strRef>
          </c:tx>
          <c:spPr>
            <a:solidFill>
              <a:srgbClr val="A6A6A6"/>
            </a:solidFill>
            <a:ln w="19050" cap="rnd" cmpd="sng" algn="ctr">
              <a:solidFill>
                <a:schemeClr val="accent1"/>
              </a:solidFill>
              <a:prstDash val="solid"/>
              <a:round/>
            </a:ln>
            <a:effectLst/>
          </c:spPr>
          <c:marker>
            <c:symbol val="circle"/>
            <c:size val="10"/>
            <c:spPr>
              <a:solidFill>
                <a:schemeClr val="accent1"/>
              </a:solidFill>
              <a:ln w="6350" cap="flat" cmpd="sng" algn="ctr">
                <a:solidFill>
                  <a:schemeClr val="accent1"/>
                </a:solidFill>
                <a:prstDash val="solid"/>
                <a:round/>
              </a:ln>
              <a:effectLst/>
            </c:spPr>
          </c:marker>
          <c:dPt>
            <c:idx val="0"/>
            <c:bubble3D val="0"/>
            <c:spPr>
              <a:ln w="19050" cap="rnd" cmpd="sng" algn="ctr">
                <a:solidFill>
                  <a:schemeClr val="accent1"/>
                </a:solidFill>
                <a:prstDash val="solid"/>
                <a:round/>
              </a:ln>
              <a:effectLst/>
            </c:spPr>
            <c:extLst>
              <c:ext xmlns:c16="http://schemas.microsoft.com/office/drawing/2014/chart" uri="{C3380CC4-5D6E-409C-BE32-E72D297353CC}">
                <c16:uniqueId val="{00000005-2D16-4906-BB22-77AF188F6975}"/>
              </c:ext>
            </c:extLst>
          </c:dPt>
          <c:cat>
            <c:strRef>
              <c:f>Sheet1!$A$2:$A$36</c:f>
              <c:strCache>
                <c:ptCount val="35"/>
                <c:pt idx="0">
                  <c:v>Oct-21</c:v>
                </c:pt>
                <c:pt idx="1">
                  <c:v>Nov-21</c:v>
                </c:pt>
                <c:pt idx="2">
                  <c:v>Dec-21</c:v>
                </c:pt>
                <c:pt idx="3">
                  <c:v>Jan-22</c:v>
                </c:pt>
                <c:pt idx="4">
                  <c:v>Feb-22</c:v>
                </c:pt>
                <c:pt idx="5">
                  <c:v>Mar-22</c:v>
                </c:pt>
                <c:pt idx="6">
                  <c:v>Apr-22</c:v>
                </c:pt>
                <c:pt idx="7">
                  <c:v>May-22</c:v>
                </c:pt>
                <c:pt idx="8">
                  <c:v>Jun-22</c:v>
                </c:pt>
                <c:pt idx="9">
                  <c:v>Jul-22</c:v>
                </c:pt>
                <c:pt idx="10">
                  <c:v>Aug-22</c:v>
                </c:pt>
                <c:pt idx="11">
                  <c:v>Sep-22</c:v>
                </c:pt>
                <c:pt idx="12">
                  <c:v>Oct-22</c:v>
                </c:pt>
                <c:pt idx="13">
                  <c:v>Nov-22</c:v>
                </c:pt>
                <c:pt idx="14">
                  <c:v>Dec-22</c:v>
                </c:pt>
                <c:pt idx="15">
                  <c:v>Jan-23</c:v>
                </c:pt>
                <c:pt idx="16">
                  <c:v>Feb-23</c:v>
                </c:pt>
                <c:pt idx="17">
                  <c:v>Mar-23</c:v>
                </c:pt>
                <c:pt idx="18">
                  <c:v>Apr-23</c:v>
                </c:pt>
                <c:pt idx="19">
                  <c:v>May-23</c:v>
                </c:pt>
                <c:pt idx="20">
                  <c:v>Jun-23</c:v>
                </c:pt>
                <c:pt idx="21">
                  <c:v>Jul-23</c:v>
                </c:pt>
                <c:pt idx="22">
                  <c:v>Aug-23</c:v>
                </c:pt>
                <c:pt idx="23">
                  <c:v>Sep-23</c:v>
                </c:pt>
                <c:pt idx="24">
                  <c:v>Oct-23</c:v>
                </c:pt>
                <c:pt idx="25">
                  <c:v>Nov-23</c:v>
                </c:pt>
                <c:pt idx="26">
                  <c:v>Dec-23</c:v>
                </c:pt>
                <c:pt idx="27">
                  <c:v>Jan-24</c:v>
                </c:pt>
                <c:pt idx="28">
                  <c:v>Feb-24</c:v>
                </c:pt>
                <c:pt idx="29">
                  <c:v>Mar-24</c:v>
                </c:pt>
                <c:pt idx="30">
                  <c:v>Apr-24</c:v>
                </c:pt>
                <c:pt idx="31">
                  <c:v>May-24</c:v>
                </c:pt>
                <c:pt idx="32">
                  <c:v>Jun-24</c:v>
                </c:pt>
                <c:pt idx="33">
                  <c:v>Jul-24</c:v>
                </c:pt>
                <c:pt idx="34">
                  <c:v>Aug-24</c:v>
                </c:pt>
              </c:strCache>
            </c:strRef>
          </c:cat>
          <c:val>
            <c:numRef>
              <c:f>Sheet1!$D$2:$D$36</c:f>
              <c:numCache>
                <c:formatCode>General</c:formatCode>
                <c:ptCount val="35"/>
                <c:pt idx="0">
                  <c:v>1.486003</c:v>
                </c:pt>
                <c:pt idx="1">
                  <c:v>1.478759</c:v>
                </c:pt>
                <c:pt idx="2">
                  <c:v>1.62649</c:v>
                </c:pt>
                <c:pt idx="3">
                  <c:v>1.808843</c:v>
                </c:pt>
                <c:pt idx="4">
                  <c:v>1.579812</c:v>
                </c:pt>
                <c:pt idx="5">
                  <c:v>2.051157</c:v>
                </c:pt>
                <c:pt idx="6">
                  <c:v>2.047404</c:v>
                </c:pt>
                <c:pt idx="7">
                  <c:v>2.290161</c:v>
                </c:pt>
                <c:pt idx="8">
                  <c:v>2.360179</c:v>
                </c:pt>
                <c:pt idx="9">
                  <c:v>2.60879</c:v>
                </c:pt>
                <c:pt idx="10">
                  <c:v>2.225153</c:v>
                </c:pt>
                <c:pt idx="11">
                  <c:v>1.920101</c:v>
                </c:pt>
                <c:pt idx="12">
                  <c:v>1.908557</c:v>
                </c:pt>
                <c:pt idx="13">
                  <c:v>1.909137</c:v>
                </c:pt>
                <c:pt idx="14">
                  <c:v>1.996511</c:v>
                </c:pt>
                <c:pt idx="15">
                  <c:v>2.118765</c:v>
                </c:pt>
                <c:pt idx="16">
                  <c:v>1.977395</c:v>
                </c:pt>
                <c:pt idx="17">
                  <c:v>2.099608</c:v>
                </c:pt>
                <c:pt idx="18">
                  <c:v>1.995665</c:v>
                </c:pt>
                <c:pt idx="19">
                  <c:v>2.244831</c:v>
                </c:pt>
                <c:pt idx="20">
                  <c:v>2.44283</c:v>
                </c:pt>
                <c:pt idx="21">
                  <c:v>2.820873</c:v>
                </c:pt>
                <c:pt idx="22">
                  <c:v>2.595314</c:v>
                </c:pt>
                <c:pt idx="23">
                  <c:v>2.240925</c:v>
                </c:pt>
                <c:pt idx="24">
                  <c:v>2.298711</c:v>
                </c:pt>
                <c:pt idx="25">
                  <c:v>2.202374</c:v>
                </c:pt>
                <c:pt idx="26">
                  <c:v>2.220727</c:v>
                </c:pt>
                <c:pt idx="27">
                  <c:v>2.227892</c:v>
                </c:pt>
                <c:pt idx="28">
                  <c:v>2.361247</c:v>
                </c:pt>
                <c:pt idx="29">
                  <c:v>2.885163</c:v>
                </c:pt>
                <c:pt idx="30">
                  <c:v>2.836016</c:v>
                </c:pt>
                <c:pt idx="31">
                  <c:v>2.800163</c:v>
                </c:pt>
                <c:pt idx="32">
                  <c:v>2.769612</c:v>
                </c:pt>
                <c:pt idx="33">
                  <c:v>2.868656</c:v>
                </c:pt>
                <c:pt idx="34">
                  <c:v>2.544913</c:v>
                </c:pt>
              </c:numCache>
            </c:numRef>
          </c:val>
          <c:smooth val="0"/>
          <c:extLst>
            <c:ext xmlns:c16="http://schemas.microsoft.com/office/drawing/2014/chart" uri="{C3380CC4-5D6E-409C-BE32-E72D297353CC}">
              <c16:uniqueId val="{00000000-A582-417D-A5F8-2A0075530F50}"/>
            </c:ext>
          </c:extLst>
        </c:ser>
        <c:dLbls>
          <c:showLegendKey val="0"/>
          <c:showVal val="0"/>
          <c:showCatName val="0"/>
          <c:showSerName val="0"/>
          <c:showPercent val="0"/>
          <c:showBubbleSize val="0"/>
        </c:dLbls>
        <c:marker val="1"/>
        <c:smooth val="0"/>
        <c:axId val="1624167016"/>
        <c:axId val="1624169640"/>
      </c:lineChart>
      <c:catAx>
        <c:axId val="1624167016"/>
        <c:scaling>
          <c:orientation val="minMax"/>
        </c:scaling>
        <c:delete val="0"/>
        <c:axPos val="b"/>
        <c:numFmt formatCode="General" sourceLinked="1"/>
        <c:majorTickMark val="none"/>
        <c:minorTickMark val="none"/>
        <c:tickLblPos val="nextTo"/>
        <c:spPr>
          <a:noFill/>
          <a:ln w="9525" cap="flat" cmpd="sng" algn="ctr">
            <a:noFill/>
            <a:prstDash val="solid"/>
            <a:round/>
          </a:ln>
          <a:effectLst/>
        </c:spPr>
        <c:txPr>
          <a:bodyPr rot="0" spcFirstLastPara="1" vertOverflow="ellipsis" wrap="square" anchor="ctr" anchorCtr="1"/>
          <a:lstStyle/>
          <a:p>
            <a:pPr algn="ctr">
              <a:defRPr lang="en-US" sz="800" b="0" i="0" u="none" strike="noStrike" kern="1200" baseline="0">
                <a:solidFill>
                  <a:schemeClr val="tx1"/>
                </a:solidFill>
                <a:latin typeface="+mj-lt"/>
                <a:ea typeface="+mn-ea"/>
                <a:cs typeface="+mn-cs"/>
              </a:defRPr>
            </a:pPr>
            <a:endParaRPr lang="en-US"/>
          </a:p>
        </c:txPr>
        <c:crossAx val="1624169640"/>
        <c:crosses val="autoZero"/>
        <c:auto val="1"/>
        <c:lblAlgn val="ctr"/>
        <c:lblOffset val="100"/>
        <c:tickLblSkip val="3"/>
        <c:noMultiLvlLbl val="1"/>
      </c:catAx>
      <c:valAx>
        <c:axId val="1624169640"/>
        <c:scaling>
          <c:orientation val="minMax"/>
        </c:scaling>
        <c:delete val="0"/>
        <c:axPos val="l"/>
        <c:numFmt formatCode="#,##0" sourceLinked="0"/>
        <c:majorTickMark val="none"/>
        <c:minorTickMark val="none"/>
        <c:tickLblPos val="nextTo"/>
        <c:spPr>
          <a:noFill/>
          <a:ln w="6350" cap="flat" cmpd="sng" algn="ctr">
            <a:noFill/>
            <a:prstDash val="solid"/>
            <a:round/>
          </a:ln>
          <a:effectLst/>
        </c:spPr>
        <c:txPr>
          <a:bodyPr rot="-60000000" spcFirstLastPara="1" vertOverflow="ellipsis" vert="horz" wrap="square" anchor="ctr" anchorCtr="1"/>
          <a:lstStyle/>
          <a:p>
            <a:pP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a:p>
        </c:txPr>
        <c:crossAx val="1624167016"/>
        <c:crosses val="autoZero"/>
        <c:crossBetween val="between"/>
      </c:valAx>
      <c:spPr>
        <a:noFill/>
        <a:ln>
          <a:noFill/>
        </a:ln>
        <a:effectLst/>
      </c:spPr>
    </c:plotArea>
    <c:legend>
      <c:legendPos val="b"/>
      <c:layout>
        <c:manualLayout>
          <c:xMode val="edge"/>
          <c:yMode val="edge"/>
          <c:x val="7.3660685603241294E-2"/>
          <c:y val="0.81729018208272031"/>
          <c:w val="0.90289148980965561"/>
          <c:h val="0.13936961130964612"/>
        </c:manualLayout>
      </c:layout>
      <c:overlay val="0"/>
      <c:spPr>
        <a:noFill/>
        <a:ln>
          <a:noFill/>
        </a:ln>
        <a:effectLst/>
      </c:spPr>
      <c:txPr>
        <a:bodyPr rot="0" spcFirstLastPara="1" vertOverflow="ellipsis" vert="horz" wrap="square" anchor="ctr" anchorCtr="0"/>
        <a:lstStyle/>
        <a:p>
          <a:pPr algn="ctr">
            <a:defRPr lang="en-US"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6350" cap="flat" cmpd="sng" algn="ctr">
      <a:noFill/>
      <a:prstDash val="solid"/>
      <a:miter lim="800000"/>
    </a:ln>
    <a:effectLst/>
  </c:spPr>
  <c:txPr>
    <a:bodyPr/>
    <a:lstStyle/>
    <a:p>
      <a:pPr algn="ctr">
        <a:defRPr lang="en-US" sz="900" b="0" i="0" u="none" strike="noStrike" kern="120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929,23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679,36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836,32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929235</c:v>
                </c:pt>
                <c:pt idx="1">
                  <c:v>691384</c:v>
                </c:pt>
                <c:pt idx="2">
                  <c:v>703157</c:v>
                </c:pt>
                <c:pt idx="3">
                  <c:v>741731</c:v>
                </c:pt>
                <c:pt idx="4">
                  <c:v>970638</c:v>
                </c:pt>
                <c:pt idx="5">
                  <c:v>608186</c:v>
                </c:pt>
                <c:pt idx="6">
                  <c:v>598249</c:v>
                </c:pt>
                <c:pt idx="7">
                  <c:v>700576</c:v>
                </c:pt>
                <c:pt idx="8">
                  <c:v>729350</c:v>
                </c:pt>
                <c:pt idx="9">
                  <c:v>779514</c:v>
                </c:pt>
                <c:pt idx="10">
                  <c:v>818995</c:v>
                </c:pt>
                <c:pt idx="11">
                  <c:v>928454</c:v>
                </c:pt>
                <c:pt idx="12">
                  <c:v>865417</c:v>
                </c:pt>
                <c:pt idx="13">
                  <c:v>679360</c:v>
                </c:pt>
                <c:pt idx="14">
                  <c:v>662587</c:v>
                </c:pt>
                <c:pt idx="15">
                  <c:v>671120</c:v>
                </c:pt>
                <c:pt idx="16">
                  <c:v>983285</c:v>
                </c:pt>
                <c:pt idx="17">
                  <c:v>578015</c:v>
                </c:pt>
                <c:pt idx="18">
                  <c:v>645915</c:v>
                </c:pt>
                <c:pt idx="19">
                  <c:v>762843</c:v>
                </c:pt>
                <c:pt idx="20">
                  <c:v>692981</c:v>
                </c:pt>
                <c:pt idx="21">
                  <c:v>748689</c:v>
                </c:pt>
                <c:pt idx="22">
                  <c:v>868348</c:v>
                </c:pt>
                <c:pt idx="23">
                  <c:v>908760</c:v>
                </c:pt>
                <c:pt idx="24">
                  <c:v>836324</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5.2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5.3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5.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5.28</c:v>
                </c:pt>
                <c:pt idx="1">
                  <c:v>5.32</c:v>
                </c:pt>
                <c:pt idx="2">
                  <c:v>4.92</c:v>
                </c:pt>
                <c:pt idx="3">
                  <c:v>4.27</c:v>
                </c:pt>
                <c:pt idx="4">
                  <c:v>3.6</c:v>
                </c:pt>
                <c:pt idx="5">
                  <c:v>4.91</c:v>
                </c:pt>
                <c:pt idx="6">
                  <c:v>5.34</c:v>
                </c:pt>
                <c:pt idx="7">
                  <c:v>5.38</c:v>
                </c:pt>
                <c:pt idx="8">
                  <c:v>5.39</c:v>
                </c:pt>
                <c:pt idx="9">
                  <c:v>5.45</c:v>
                </c:pt>
                <c:pt idx="10">
                  <c:v>5.41</c:v>
                </c:pt>
                <c:pt idx="11">
                  <c:v>5.28</c:v>
                </c:pt>
                <c:pt idx="12">
                  <c:v>5.32</c:v>
                </c:pt>
                <c:pt idx="13">
                  <c:v>5.34</c:v>
                </c:pt>
                <c:pt idx="14">
                  <c:v>5.16</c:v>
                </c:pt>
                <c:pt idx="15">
                  <c:v>4.9</c:v>
                </c:pt>
                <c:pt idx="16">
                  <c:v>4.33</c:v>
                </c:pt>
                <c:pt idx="17">
                  <c:v>5.11</c:v>
                </c:pt>
                <c:pt idx="18">
                  <c:v>5.1</c:v>
                </c:pt>
                <c:pt idx="19">
                  <c:v>5.03</c:v>
                </c:pt>
                <c:pt idx="20">
                  <c:v>5.02</c:v>
                </c:pt>
                <c:pt idx="21">
                  <c:v>5.05</c:v>
                </c:pt>
                <c:pt idx="22">
                  <c:v>5.2</c:v>
                </c:pt>
                <c:pt idx="23">
                  <c:v>5.16</c:v>
                </c:pt>
                <c:pt idx="24">
                  <c:v>5.07</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133,94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859,41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975,55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1133940</c:v>
                </c:pt>
                <c:pt idx="1">
                  <c:v>901389</c:v>
                </c:pt>
                <c:pt idx="2">
                  <c:v>884131</c:v>
                </c:pt>
                <c:pt idx="3">
                  <c:v>799722</c:v>
                </c:pt>
                <c:pt idx="4">
                  <c:v>938954</c:v>
                </c:pt>
                <c:pt idx="5">
                  <c:v>809316</c:v>
                </c:pt>
                <c:pt idx="6">
                  <c:v>748786</c:v>
                </c:pt>
                <c:pt idx="7">
                  <c:v>845759</c:v>
                </c:pt>
                <c:pt idx="8">
                  <c:v>854269</c:v>
                </c:pt>
                <c:pt idx="9">
                  <c:v>931409</c:v>
                </c:pt>
                <c:pt idx="10">
                  <c:v>988551</c:v>
                </c:pt>
                <c:pt idx="11">
                  <c:v>1076912</c:v>
                </c:pt>
                <c:pt idx="12">
                  <c:v>1071374</c:v>
                </c:pt>
                <c:pt idx="13">
                  <c:v>859412</c:v>
                </c:pt>
                <c:pt idx="14">
                  <c:v>823805</c:v>
                </c:pt>
                <c:pt idx="15">
                  <c:v>748217</c:v>
                </c:pt>
                <c:pt idx="16">
                  <c:v>873913</c:v>
                </c:pt>
                <c:pt idx="17">
                  <c:v>749930</c:v>
                </c:pt>
                <c:pt idx="18">
                  <c:v>737109</c:v>
                </c:pt>
                <c:pt idx="19">
                  <c:v>822947</c:v>
                </c:pt>
                <c:pt idx="20">
                  <c:v>792318</c:v>
                </c:pt>
                <c:pt idx="21">
                  <c:v>870037</c:v>
                </c:pt>
                <c:pt idx="22">
                  <c:v>962285</c:v>
                </c:pt>
                <c:pt idx="23">
                  <c:v>992585</c:v>
                </c:pt>
                <c:pt idx="24">
                  <c:v>975556</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3.1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3.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19</c:v>
                </c:pt>
                <c:pt idx="1">
                  <c:v>3.2</c:v>
                </c:pt>
                <c:pt idx="2">
                  <c:v>3.2</c:v>
                </c:pt>
                <c:pt idx="3">
                  <c:v>3.22</c:v>
                </c:pt>
                <c:pt idx="4">
                  <c:v>3.24</c:v>
                </c:pt>
                <c:pt idx="5">
                  <c:v>3.08</c:v>
                </c:pt>
                <c:pt idx="6">
                  <c:v>3.1</c:v>
                </c:pt>
                <c:pt idx="7">
                  <c:v>3.14</c:v>
                </c:pt>
                <c:pt idx="8">
                  <c:v>3.2</c:v>
                </c:pt>
                <c:pt idx="9">
                  <c:v>3.23</c:v>
                </c:pt>
                <c:pt idx="10">
                  <c:v>3.21</c:v>
                </c:pt>
                <c:pt idx="11">
                  <c:v>3.19</c:v>
                </c:pt>
                <c:pt idx="12">
                  <c:v>3.16</c:v>
                </c:pt>
                <c:pt idx="13">
                  <c:v>3.18</c:v>
                </c:pt>
                <c:pt idx="14">
                  <c:v>3.17</c:v>
                </c:pt>
                <c:pt idx="15">
                  <c:v>3.17</c:v>
                </c:pt>
                <c:pt idx="16">
                  <c:v>3.16</c:v>
                </c:pt>
                <c:pt idx="17">
                  <c:v>3.03</c:v>
                </c:pt>
                <c:pt idx="18">
                  <c:v>3.1</c:v>
                </c:pt>
                <c:pt idx="19">
                  <c:v>3.13</c:v>
                </c:pt>
                <c:pt idx="20">
                  <c:v>3.14</c:v>
                </c:pt>
                <c:pt idx="21">
                  <c:v>3.11</c:v>
                </c:pt>
                <c:pt idx="22">
                  <c:v>3.11</c:v>
                </c:pt>
                <c:pt idx="23">
                  <c:v>3.11</c:v>
                </c:pt>
                <c:pt idx="24">
                  <c:v>3.12</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74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3,36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3,11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2745</c:v>
                </c:pt>
                <c:pt idx="1">
                  <c:v>2721</c:v>
                </c:pt>
                <c:pt idx="2">
                  <c:v>3521</c:v>
                </c:pt>
                <c:pt idx="3">
                  <c:v>3955</c:v>
                </c:pt>
                <c:pt idx="4">
                  <c:v>4441</c:v>
                </c:pt>
                <c:pt idx="5">
                  <c:v>2485</c:v>
                </c:pt>
                <c:pt idx="6">
                  <c:v>2234</c:v>
                </c:pt>
                <c:pt idx="7">
                  <c:v>3100</c:v>
                </c:pt>
                <c:pt idx="8">
                  <c:v>15856</c:v>
                </c:pt>
                <c:pt idx="9">
                  <c:v>12688</c:v>
                </c:pt>
                <c:pt idx="10">
                  <c:v>8633</c:v>
                </c:pt>
                <c:pt idx="11">
                  <c:v>6994</c:v>
                </c:pt>
                <c:pt idx="12">
                  <c:v>5767</c:v>
                </c:pt>
                <c:pt idx="13">
                  <c:v>3367</c:v>
                </c:pt>
                <c:pt idx="14">
                  <c:v>4233</c:v>
                </c:pt>
                <c:pt idx="15">
                  <c:v>6003</c:v>
                </c:pt>
                <c:pt idx="16">
                  <c:v>7819</c:v>
                </c:pt>
                <c:pt idx="17">
                  <c:v>5101</c:v>
                </c:pt>
                <c:pt idx="18">
                  <c:v>4639</c:v>
                </c:pt>
                <c:pt idx="19">
                  <c:v>3888</c:v>
                </c:pt>
                <c:pt idx="20">
                  <c:v>5097</c:v>
                </c:pt>
                <c:pt idx="21">
                  <c:v>3494</c:v>
                </c:pt>
                <c:pt idx="22">
                  <c:v>4274</c:v>
                </c:pt>
                <c:pt idx="23">
                  <c:v>3452</c:v>
                </c:pt>
                <c:pt idx="24">
                  <c:v>3113</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1.8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6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1.82</c:v>
                </c:pt>
                <c:pt idx="1">
                  <c:v>1.83</c:v>
                </c:pt>
                <c:pt idx="2">
                  <c:v>1.5</c:v>
                </c:pt>
                <c:pt idx="3">
                  <c:v>1.21</c:v>
                </c:pt>
                <c:pt idx="4">
                  <c:v>1.03</c:v>
                </c:pt>
                <c:pt idx="5">
                  <c:v>1.53</c:v>
                </c:pt>
                <c:pt idx="6">
                  <c:v>1.96</c:v>
                </c:pt>
                <c:pt idx="7">
                  <c:v>1.85</c:v>
                </c:pt>
                <c:pt idx="8">
                  <c:v>1.74</c:v>
                </c:pt>
                <c:pt idx="9">
                  <c:v>1.67</c:v>
                </c:pt>
                <c:pt idx="10">
                  <c:v>1.6</c:v>
                </c:pt>
                <c:pt idx="11">
                  <c:v>1.68</c:v>
                </c:pt>
                <c:pt idx="12">
                  <c:v>1.69</c:v>
                </c:pt>
                <c:pt idx="13">
                  <c:v>1.77</c:v>
                </c:pt>
                <c:pt idx="14">
                  <c:v>1.49</c:v>
                </c:pt>
                <c:pt idx="15">
                  <c:v>1.22</c:v>
                </c:pt>
                <c:pt idx="16">
                  <c:v>0.99</c:v>
                </c:pt>
                <c:pt idx="17">
                  <c:v>1.03</c:v>
                </c:pt>
                <c:pt idx="18">
                  <c:v>1.55</c:v>
                </c:pt>
                <c:pt idx="19">
                  <c:v>1.58</c:v>
                </c:pt>
                <c:pt idx="20">
                  <c:v>1.62</c:v>
                </c:pt>
                <c:pt idx="21">
                  <c:v>1.6</c:v>
                </c:pt>
                <c:pt idx="22">
                  <c:v>1.44</c:v>
                </c:pt>
                <c:pt idx="23">
                  <c:v>1.51</c:v>
                </c:pt>
                <c:pt idx="24">
                  <c:v>1.6</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7,369,43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6,460,80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8,989,56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7369435</c:v>
                </c:pt>
                <c:pt idx="1">
                  <c:v>6266166</c:v>
                </c:pt>
                <c:pt idx="2">
                  <c:v>6188218</c:v>
                </c:pt>
                <c:pt idx="3">
                  <c:v>5452124</c:v>
                </c:pt>
                <c:pt idx="4">
                  <c:v>6394831</c:v>
                </c:pt>
                <c:pt idx="5">
                  <c:v>5631497</c:v>
                </c:pt>
                <c:pt idx="6">
                  <c:v>5948146</c:v>
                </c:pt>
                <c:pt idx="7">
                  <c:v>7993665</c:v>
                </c:pt>
                <c:pt idx="8">
                  <c:v>7199787</c:v>
                </c:pt>
                <c:pt idx="9">
                  <c:v>8452795</c:v>
                </c:pt>
                <c:pt idx="10">
                  <c:v>8704926</c:v>
                </c:pt>
                <c:pt idx="11">
                  <c:v>8315124</c:v>
                </c:pt>
                <c:pt idx="12">
                  <c:v>7444752</c:v>
                </c:pt>
                <c:pt idx="13">
                  <c:v>6460808</c:v>
                </c:pt>
                <c:pt idx="14">
                  <c:v>6229707</c:v>
                </c:pt>
                <c:pt idx="15">
                  <c:v>5580007</c:v>
                </c:pt>
                <c:pt idx="16">
                  <c:v>6415978</c:v>
                </c:pt>
                <c:pt idx="17">
                  <c:v>5289982</c:v>
                </c:pt>
                <c:pt idx="18">
                  <c:v>5427101</c:v>
                </c:pt>
                <c:pt idx="19">
                  <c:v>6273881</c:v>
                </c:pt>
                <c:pt idx="20">
                  <c:v>6902965</c:v>
                </c:pt>
                <c:pt idx="21">
                  <c:v>7380731</c:v>
                </c:pt>
                <c:pt idx="22">
                  <c:v>7994547</c:v>
                </c:pt>
                <c:pt idx="23">
                  <c:v>8461793</c:v>
                </c:pt>
                <c:pt idx="24">
                  <c:v>8989562</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8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4.0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3.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87</c:v>
                </c:pt>
                <c:pt idx="1">
                  <c:v>3.75</c:v>
                </c:pt>
                <c:pt idx="2">
                  <c:v>3.54</c:v>
                </c:pt>
                <c:pt idx="3">
                  <c:v>3.42</c:v>
                </c:pt>
                <c:pt idx="4">
                  <c:v>3.77</c:v>
                </c:pt>
                <c:pt idx="5">
                  <c:v>3.64</c:v>
                </c:pt>
                <c:pt idx="6">
                  <c:v>3.37</c:v>
                </c:pt>
                <c:pt idx="7">
                  <c:v>3.76</c:v>
                </c:pt>
                <c:pt idx="8">
                  <c:v>3.72</c:v>
                </c:pt>
                <c:pt idx="9">
                  <c:v>3.79</c:v>
                </c:pt>
                <c:pt idx="10">
                  <c:v>3.72</c:v>
                </c:pt>
                <c:pt idx="11">
                  <c:v>3.87</c:v>
                </c:pt>
                <c:pt idx="12">
                  <c:v>3.95</c:v>
                </c:pt>
                <c:pt idx="13">
                  <c:v>4.09</c:v>
                </c:pt>
                <c:pt idx="14">
                  <c:v>3.68</c:v>
                </c:pt>
                <c:pt idx="15">
                  <c:v>3.72</c:v>
                </c:pt>
                <c:pt idx="16">
                  <c:v>3.85</c:v>
                </c:pt>
                <c:pt idx="17">
                  <c:v>3.87</c:v>
                </c:pt>
                <c:pt idx="18">
                  <c:v>3.76</c:v>
                </c:pt>
                <c:pt idx="19">
                  <c:v>3.84</c:v>
                </c:pt>
                <c:pt idx="20">
                  <c:v>3.51</c:v>
                </c:pt>
                <c:pt idx="21">
                  <c:v>3.54</c:v>
                </c:pt>
                <c:pt idx="22">
                  <c:v>3.7</c:v>
                </c:pt>
                <c:pt idx="23">
                  <c:v>3.69</c:v>
                </c:pt>
                <c:pt idx="24">
                  <c:v>3.24</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61,98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34,16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273,42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261984</c:v>
                </c:pt>
                <c:pt idx="1">
                  <c:v>227090</c:v>
                </c:pt>
                <c:pt idx="2">
                  <c:v>232947</c:v>
                </c:pt>
                <c:pt idx="3">
                  <c:v>239086</c:v>
                </c:pt>
                <c:pt idx="4">
                  <c:v>291898</c:v>
                </c:pt>
                <c:pt idx="5">
                  <c:v>225983</c:v>
                </c:pt>
                <c:pt idx="6">
                  <c:v>219788</c:v>
                </c:pt>
                <c:pt idx="7">
                  <c:v>269427</c:v>
                </c:pt>
                <c:pt idx="8">
                  <c:v>265461</c:v>
                </c:pt>
                <c:pt idx="9">
                  <c:v>275843</c:v>
                </c:pt>
                <c:pt idx="10">
                  <c:v>278046</c:v>
                </c:pt>
                <c:pt idx="11">
                  <c:v>281975</c:v>
                </c:pt>
                <c:pt idx="12">
                  <c:v>267358</c:v>
                </c:pt>
                <c:pt idx="13">
                  <c:v>234166</c:v>
                </c:pt>
                <c:pt idx="14">
                  <c:v>224869</c:v>
                </c:pt>
                <c:pt idx="15">
                  <c:v>219414</c:v>
                </c:pt>
                <c:pt idx="16">
                  <c:v>285947</c:v>
                </c:pt>
                <c:pt idx="17">
                  <c:v>220288</c:v>
                </c:pt>
                <c:pt idx="18">
                  <c:v>225575</c:v>
                </c:pt>
                <c:pt idx="19">
                  <c:v>277167</c:v>
                </c:pt>
                <c:pt idx="20">
                  <c:v>266686</c:v>
                </c:pt>
                <c:pt idx="21">
                  <c:v>279355</c:v>
                </c:pt>
                <c:pt idx="22">
                  <c:v>308585</c:v>
                </c:pt>
                <c:pt idx="23">
                  <c:v>300710</c:v>
                </c:pt>
                <c:pt idx="24">
                  <c:v>273428</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5.2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5.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4.8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5.28</c:v>
                </c:pt>
                <c:pt idx="1">
                  <c:v>5.29</c:v>
                </c:pt>
                <c:pt idx="2">
                  <c:v>5.0</c:v>
                </c:pt>
                <c:pt idx="3">
                  <c:v>4.45</c:v>
                </c:pt>
                <c:pt idx="4">
                  <c:v>3.16</c:v>
                </c:pt>
                <c:pt idx="5">
                  <c:v>4.51</c:v>
                </c:pt>
                <c:pt idx="6">
                  <c:v>5.16</c:v>
                </c:pt>
                <c:pt idx="7">
                  <c:v>5.17</c:v>
                </c:pt>
                <c:pt idx="8">
                  <c:v>5.15</c:v>
                </c:pt>
                <c:pt idx="9">
                  <c:v>5.18</c:v>
                </c:pt>
                <c:pt idx="10">
                  <c:v>5.19</c:v>
                </c:pt>
                <c:pt idx="11">
                  <c:v>5.1</c:v>
                </c:pt>
                <c:pt idx="12">
                  <c:v>5.11</c:v>
                </c:pt>
                <c:pt idx="13">
                  <c:v>5.12</c:v>
                </c:pt>
                <c:pt idx="14">
                  <c:v>5.07</c:v>
                </c:pt>
                <c:pt idx="15">
                  <c:v>5.04</c:v>
                </c:pt>
                <c:pt idx="16">
                  <c:v>4.0</c:v>
                </c:pt>
                <c:pt idx="17">
                  <c:v>5.01</c:v>
                </c:pt>
                <c:pt idx="18">
                  <c:v>4.96</c:v>
                </c:pt>
                <c:pt idx="19">
                  <c:v>4.88</c:v>
                </c:pt>
                <c:pt idx="20">
                  <c:v>4.82</c:v>
                </c:pt>
                <c:pt idx="21">
                  <c:v>4.88</c:v>
                </c:pt>
                <c:pt idx="22">
                  <c:v>5.04</c:v>
                </c:pt>
                <c:pt idx="23">
                  <c:v>4.94</c:v>
                </c:pt>
                <c:pt idx="24">
                  <c:v>4.88</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349,19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315,09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326,69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349195</c:v>
                </c:pt>
                <c:pt idx="1">
                  <c:v>324849</c:v>
                </c:pt>
                <c:pt idx="2">
                  <c:v>317129</c:v>
                </c:pt>
                <c:pt idx="3">
                  <c:v>287326</c:v>
                </c:pt>
                <c:pt idx="4">
                  <c:v>292472</c:v>
                </c:pt>
                <c:pt idx="5">
                  <c:v>336307</c:v>
                </c:pt>
                <c:pt idx="6">
                  <c:v>293487</c:v>
                </c:pt>
                <c:pt idx="7">
                  <c:v>327470</c:v>
                </c:pt>
                <c:pt idx="8">
                  <c:v>312666</c:v>
                </c:pt>
                <c:pt idx="9">
                  <c:v>334555</c:v>
                </c:pt>
                <c:pt idx="10">
                  <c:v>336225</c:v>
                </c:pt>
                <c:pt idx="11">
                  <c:v>357380</c:v>
                </c:pt>
                <c:pt idx="12">
                  <c:v>343714</c:v>
                </c:pt>
                <c:pt idx="13">
                  <c:v>315093</c:v>
                </c:pt>
                <c:pt idx="14">
                  <c:v>304009</c:v>
                </c:pt>
                <c:pt idx="15">
                  <c:v>280614</c:v>
                </c:pt>
                <c:pt idx="16">
                  <c:v>279126</c:v>
                </c:pt>
                <c:pt idx="17">
                  <c:v>294485</c:v>
                </c:pt>
                <c:pt idx="18">
                  <c:v>286369</c:v>
                </c:pt>
                <c:pt idx="19">
                  <c:v>315388</c:v>
                </c:pt>
                <c:pt idx="20">
                  <c:v>310746</c:v>
                </c:pt>
                <c:pt idx="21">
                  <c:v>332443</c:v>
                </c:pt>
                <c:pt idx="22">
                  <c:v>343477</c:v>
                </c:pt>
                <c:pt idx="23">
                  <c:v>335739</c:v>
                </c:pt>
                <c:pt idx="24">
                  <c:v>326696</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3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3.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3.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3</c:v>
                </c:pt>
                <c:pt idx="1">
                  <c:v>3.3</c:v>
                </c:pt>
                <c:pt idx="2">
                  <c:v>3.31</c:v>
                </c:pt>
                <c:pt idx="3">
                  <c:v>3.3</c:v>
                </c:pt>
                <c:pt idx="4">
                  <c:v>3.31</c:v>
                </c:pt>
                <c:pt idx="5">
                  <c:v>2.89</c:v>
                </c:pt>
                <c:pt idx="6">
                  <c:v>2.94</c:v>
                </c:pt>
                <c:pt idx="7">
                  <c:v>3.04</c:v>
                </c:pt>
                <c:pt idx="8">
                  <c:v>3.08</c:v>
                </c:pt>
                <c:pt idx="9">
                  <c:v>3.12</c:v>
                </c:pt>
                <c:pt idx="10">
                  <c:v>3.09</c:v>
                </c:pt>
                <c:pt idx="11">
                  <c:v>3.08</c:v>
                </c:pt>
                <c:pt idx="12">
                  <c:v>3.03</c:v>
                </c:pt>
                <c:pt idx="13">
                  <c:v>3.06</c:v>
                </c:pt>
                <c:pt idx="14">
                  <c:v>3.06</c:v>
                </c:pt>
                <c:pt idx="15">
                  <c:v>3.05</c:v>
                </c:pt>
                <c:pt idx="16">
                  <c:v>3.04</c:v>
                </c:pt>
                <c:pt idx="17">
                  <c:v>3.03</c:v>
                </c:pt>
                <c:pt idx="18">
                  <c:v>3.02</c:v>
                </c:pt>
                <c:pt idx="19">
                  <c:v>3.02</c:v>
                </c:pt>
                <c:pt idx="20">
                  <c:v>3.0</c:v>
                </c:pt>
                <c:pt idx="21">
                  <c:v>2.99</c:v>
                </c:pt>
                <c:pt idx="22">
                  <c:v>3.0</c:v>
                </c:pt>
                <c:pt idx="23">
                  <c:v>2.99</c:v>
                </c:pt>
                <c:pt idx="24">
                  <c:v>3.0</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21,39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15,50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64,86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221394</c:v>
                </c:pt>
                <c:pt idx="1">
                  <c:v>196436</c:v>
                </c:pt>
                <c:pt idx="2">
                  <c:v>515569</c:v>
                </c:pt>
                <c:pt idx="3">
                  <c:v>500906</c:v>
                </c:pt>
                <c:pt idx="4">
                  <c:v>525539</c:v>
                </c:pt>
                <c:pt idx="5">
                  <c:v>189979</c:v>
                </c:pt>
                <c:pt idx="6">
                  <c:v>195406</c:v>
                </c:pt>
                <c:pt idx="7">
                  <c:v>272557</c:v>
                </c:pt>
                <c:pt idx="8">
                  <c:v>321772</c:v>
                </c:pt>
                <c:pt idx="9">
                  <c:v>296968</c:v>
                </c:pt>
                <c:pt idx="10">
                  <c:v>266109</c:v>
                </c:pt>
                <c:pt idx="11">
                  <c:v>292973</c:v>
                </c:pt>
                <c:pt idx="12">
                  <c:v>358958</c:v>
                </c:pt>
                <c:pt idx="13">
                  <c:v>215504</c:v>
                </c:pt>
                <c:pt idx="14">
                  <c:v>555050</c:v>
                </c:pt>
                <c:pt idx="15">
                  <c:v>626511</c:v>
                </c:pt>
                <c:pt idx="16">
                  <c:v>618785</c:v>
                </c:pt>
                <c:pt idx="17">
                  <c:v>103069</c:v>
                </c:pt>
                <c:pt idx="18">
                  <c:v>72454</c:v>
                </c:pt>
                <c:pt idx="19">
                  <c:v>66537</c:v>
                </c:pt>
                <c:pt idx="20">
                  <c:v>156721</c:v>
                </c:pt>
                <c:pt idx="21">
                  <c:v>97271</c:v>
                </c:pt>
                <c:pt idx="22">
                  <c:v>80357</c:v>
                </c:pt>
                <c:pt idx="23">
                  <c:v>77796</c:v>
                </c:pt>
                <c:pt idx="24">
                  <c:v>64866</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2.1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6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2.13</c:v>
                </c:pt>
                <c:pt idx="1">
                  <c:v>2.15</c:v>
                </c:pt>
                <c:pt idx="2">
                  <c:v>1.14</c:v>
                </c:pt>
                <c:pt idx="3">
                  <c:v>1.12</c:v>
                </c:pt>
                <c:pt idx="4">
                  <c:v>1.07</c:v>
                </c:pt>
                <c:pt idx="5">
                  <c:v>1.62</c:v>
                </c:pt>
                <c:pt idx="6">
                  <c:v>1.94</c:v>
                </c:pt>
                <c:pt idx="7">
                  <c:v>1.87</c:v>
                </c:pt>
                <c:pt idx="8">
                  <c:v>1.9</c:v>
                </c:pt>
                <c:pt idx="9">
                  <c:v>1.93</c:v>
                </c:pt>
                <c:pt idx="10">
                  <c:v>1.98</c:v>
                </c:pt>
                <c:pt idx="11">
                  <c:v>1.98</c:v>
                </c:pt>
                <c:pt idx="12">
                  <c:v>1.94</c:v>
                </c:pt>
                <c:pt idx="13">
                  <c:v>2.02</c:v>
                </c:pt>
                <c:pt idx="14">
                  <c:v>1.21</c:v>
                </c:pt>
                <c:pt idx="15">
                  <c:v>1.15</c:v>
                </c:pt>
                <c:pt idx="16">
                  <c:v>1.04</c:v>
                </c:pt>
                <c:pt idx="17">
                  <c:v>1.13</c:v>
                </c:pt>
                <c:pt idx="18">
                  <c:v>1.5</c:v>
                </c:pt>
                <c:pt idx="19">
                  <c:v>1.58</c:v>
                </c:pt>
                <c:pt idx="20">
                  <c:v>1.61</c:v>
                </c:pt>
                <c:pt idx="21">
                  <c:v>1.6</c:v>
                </c:pt>
                <c:pt idx="22">
                  <c:v>1.6</c:v>
                </c:pt>
                <c:pt idx="23">
                  <c:v>1.61</c:v>
                </c:pt>
                <c:pt idx="24">
                  <c:v>1.62</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6,299,07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4,748,63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6,375,53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6299074</c:v>
                </c:pt>
                <c:pt idx="1">
                  <c:v>4956703</c:v>
                </c:pt>
                <c:pt idx="2">
                  <c:v>4866488</c:v>
                </c:pt>
                <c:pt idx="3">
                  <c:v>5041196</c:v>
                </c:pt>
                <c:pt idx="4">
                  <c:v>6683495</c:v>
                </c:pt>
                <c:pt idx="5">
                  <c:v>4230062</c:v>
                </c:pt>
                <c:pt idx="6">
                  <c:v>4372087</c:v>
                </c:pt>
                <c:pt idx="7">
                  <c:v>5241407</c:v>
                </c:pt>
                <c:pt idx="8">
                  <c:v>5175471</c:v>
                </c:pt>
                <c:pt idx="9">
                  <c:v>5784112</c:v>
                </c:pt>
                <c:pt idx="10">
                  <c:v>5977357</c:v>
                </c:pt>
                <c:pt idx="11">
                  <c:v>6335112</c:v>
                </c:pt>
                <c:pt idx="12">
                  <c:v>5990894</c:v>
                </c:pt>
                <c:pt idx="13">
                  <c:v>4748635</c:v>
                </c:pt>
                <c:pt idx="14">
                  <c:v>4685867</c:v>
                </c:pt>
                <c:pt idx="15">
                  <c:v>5117303</c:v>
                </c:pt>
                <c:pt idx="16">
                  <c:v>8858012</c:v>
                </c:pt>
                <c:pt idx="17">
                  <c:v>4298513</c:v>
                </c:pt>
                <c:pt idx="18">
                  <c:v>5002854</c:v>
                </c:pt>
                <c:pt idx="19">
                  <c:v>5940861</c:v>
                </c:pt>
                <c:pt idx="20">
                  <c:v>5362156</c:v>
                </c:pt>
                <c:pt idx="21">
                  <c:v>5824008</c:v>
                </c:pt>
                <c:pt idx="22">
                  <c:v>6362214</c:v>
                </c:pt>
                <c:pt idx="23">
                  <c:v>6581903</c:v>
                </c:pt>
                <c:pt idx="24">
                  <c:v>6375534</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5.3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5.3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5.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5.32</c:v>
                </c:pt>
                <c:pt idx="1">
                  <c:v>5.36</c:v>
                </c:pt>
                <c:pt idx="2">
                  <c:v>5.02</c:v>
                </c:pt>
                <c:pt idx="3">
                  <c:v>4.4</c:v>
                </c:pt>
                <c:pt idx="4">
                  <c:v>3.71</c:v>
                </c:pt>
                <c:pt idx="5">
                  <c:v>5.05</c:v>
                </c:pt>
                <c:pt idx="6">
                  <c:v>5.4</c:v>
                </c:pt>
                <c:pt idx="7">
                  <c:v>5.41</c:v>
                </c:pt>
                <c:pt idx="8">
                  <c:v>5.39</c:v>
                </c:pt>
                <c:pt idx="9">
                  <c:v>5.45</c:v>
                </c:pt>
                <c:pt idx="10">
                  <c:v>5.41</c:v>
                </c:pt>
                <c:pt idx="11">
                  <c:v>5.29</c:v>
                </c:pt>
                <c:pt idx="12">
                  <c:v>5.32</c:v>
                </c:pt>
                <c:pt idx="13">
                  <c:v>5.32</c:v>
                </c:pt>
                <c:pt idx="14">
                  <c:v>5.17</c:v>
                </c:pt>
                <c:pt idx="15">
                  <c:v>4.94</c:v>
                </c:pt>
                <c:pt idx="16">
                  <c:v>4.18</c:v>
                </c:pt>
                <c:pt idx="17">
                  <c:v>5.04</c:v>
                </c:pt>
                <c:pt idx="18">
                  <c:v>5.1</c:v>
                </c:pt>
                <c:pt idx="19">
                  <c:v>5.05</c:v>
                </c:pt>
                <c:pt idx="20">
                  <c:v>5.03</c:v>
                </c:pt>
                <c:pt idx="21">
                  <c:v>5.08</c:v>
                </c:pt>
                <c:pt idx="22">
                  <c:v>5.2</c:v>
                </c:pt>
                <c:pt idx="23">
                  <c:v>5.16</c:v>
                </c:pt>
                <c:pt idx="24">
                  <c:v>5.07</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7,884,94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6,739,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7,821,34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7884941</c:v>
                </c:pt>
                <c:pt idx="1">
                  <c:v>6770459</c:v>
                </c:pt>
                <c:pt idx="2">
                  <c:v>6658606</c:v>
                </c:pt>
                <c:pt idx="3">
                  <c:v>5970181</c:v>
                </c:pt>
                <c:pt idx="4">
                  <c:v>6802177</c:v>
                </c:pt>
                <c:pt idx="5">
                  <c:v>6209445</c:v>
                </c:pt>
                <c:pt idx="6">
                  <c:v>5990351</c:v>
                </c:pt>
                <c:pt idx="7">
                  <c:v>6825809</c:v>
                </c:pt>
                <c:pt idx="8">
                  <c:v>6560367</c:v>
                </c:pt>
                <c:pt idx="9">
                  <c:v>7375819</c:v>
                </c:pt>
                <c:pt idx="10">
                  <c:v>7744547</c:v>
                </c:pt>
                <c:pt idx="11">
                  <c:v>8115011</c:v>
                </c:pt>
                <c:pt idx="12">
                  <c:v>8026068</c:v>
                </c:pt>
                <c:pt idx="13">
                  <c:v>6739864</c:v>
                </c:pt>
                <c:pt idx="14">
                  <c:v>6512026</c:v>
                </c:pt>
                <c:pt idx="15">
                  <c:v>6047781</c:v>
                </c:pt>
                <c:pt idx="16">
                  <c:v>6989826</c:v>
                </c:pt>
                <c:pt idx="17">
                  <c:v>6117841</c:v>
                </c:pt>
                <c:pt idx="18">
                  <c:v>6212563</c:v>
                </c:pt>
                <c:pt idx="19">
                  <c:v>6918300</c:v>
                </c:pt>
                <c:pt idx="20">
                  <c:v>6549640</c:v>
                </c:pt>
                <c:pt idx="21">
                  <c:v>7358045</c:v>
                </c:pt>
                <c:pt idx="22">
                  <c:v>7785021</c:v>
                </c:pt>
                <c:pt idx="23">
                  <c:v>7929450</c:v>
                </c:pt>
                <c:pt idx="24">
                  <c:v>7821340</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3.0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3.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11</c:v>
                </c:pt>
                <c:pt idx="1">
                  <c:v>3.11</c:v>
                </c:pt>
                <c:pt idx="2">
                  <c:v>3.12</c:v>
                </c:pt>
                <c:pt idx="3">
                  <c:v>3.12</c:v>
                </c:pt>
                <c:pt idx="4">
                  <c:v>3.12</c:v>
                </c:pt>
                <c:pt idx="5">
                  <c:v>3.02</c:v>
                </c:pt>
                <c:pt idx="6">
                  <c:v>3.02</c:v>
                </c:pt>
                <c:pt idx="7">
                  <c:v>3.05</c:v>
                </c:pt>
                <c:pt idx="8">
                  <c:v>3.07</c:v>
                </c:pt>
                <c:pt idx="9">
                  <c:v>3.09</c:v>
                </c:pt>
                <c:pt idx="10">
                  <c:v>3.07</c:v>
                </c:pt>
                <c:pt idx="11">
                  <c:v>3.05</c:v>
                </c:pt>
                <c:pt idx="12">
                  <c:v>3.04</c:v>
                </c:pt>
                <c:pt idx="13">
                  <c:v>3.04</c:v>
                </c:pt>
                <c:pt idx="14">
                  <c:v>3.04</c:v>
                </c:pt>
                <c:pt idx="15">
                  <c:v>3.03</c:v>
                </c:pt>
                <c:pt idx="16">
                  <c:v>3.01</c:v>
                </c:pt>
                <c:pt idx="17">
                  <c:v>2.94</c:v>
                </c:pt>
                <c:pt idx="18">
                  <c:v>2.99</c:v>
                </c:pt>
                <c:pt idx="19">
                  <c:v>3.0</c:v>
                </c:pt>
                <c:pt idx="20">
                  <c:v>3.01</c:v>
                </c:pt>
                <c:pt idx="21">
                  <c:v>3.0</c:v>
                </c:pt>
                <c:pt idx="22">
                  <c:v>3.0</c:v>
                </c:pt>
                <c:pt idx="23">
                  <c:v>3.0</c:v>
                </c:pt>
                <c:pt idx="24">
                  <c:v>3.0</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4,56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3,68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7,71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24565</c:v>
                </c:pt>
                <c:pt idx="1">
                  <c:v>41606</c:v>
                </c:pt>
                <c:pt idx="2">
                  <c:v>21521</c:v>
                </c:pt>
                <c:pt idx="3">
                  <c:v>20959</c:v>
                </c:pt>
                <c:pt idx="4">
                  <c:v>25510</c:v>
                </c:pt>
                <c:pt idx="5">
                  <c:v>31366</c:v>
                </c:pt>
                <c:pt idx="6">
                  <c:v>47644</c:v>
                </c:pt>
                <c:pt idx="7">
                  <c:v>30453</c:v>
                </c:pt>
                <c:pt idx="8">
                  <c:v>36128</c:v>
                </c:pt>
                <c:pt idx="9">
                  <c:v>85677</c:v>
                </c:pt>
                <c:pt idx="10">
                  <c:v>21495</c:v>
                </c:pt>
                <c:pt idx="11">
                  <c:v>22357</c:v>
                </c:pt>
                <c:pt idx="12">
                  <c:v>15347</c:v>
                </c:pt>
                <c:pt idx="13">
                  <c:v>13688</c:v>
                </c:pt>
                <c:pt idx="14">
                  <c:v>13933</c:v>
                </c:pt>
                <c:pt idx="15">
                  <c:v>11434</c:v>
                </c:pt>
                <c:pt idx="16">
                  <c:v>11128</c:v>
                </c:pt>
                <c:pt idx="17">
                  <c:v>10080</c:v>
                </c:pt>
                <c:pt idx="18">
                  <c:v>8639</c:v>
                </c:pt>
                <c:pt idx="19">
                  <c:v>11209</c:v>
                </c:pt>
                <c:pt idx="20">
                  <c:v>11821</c:v>
                </c:pt>
                <c:pt idx="21">
                  <c:v>10118</c:v>
                </c:pt>
                <c:pt idx="22">
                  <c:v>9496</c:v>
                </c:pt>
                <c:pt idx="23">
                  <c:v>8810</c:v>
                </c:pt>
                <c:pt idx="24">
                  <c:v>771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1.8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4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1.85</c:v>
                </c:pt>
                <c:pt idx="1">
                  <c:v>1.47</c:v>
                </c:pt>
                <c:pt idx="2">
                  <c:v>1.71</c:v>
                </c:pt>
                <c:pt idx="3">
                  <c:v>1.6</c:v>
                </c:pt>
                <c:pt idx="4">
                  <c:v>1.47</c:v>
                </c:pt>
                <c:pt idx="5">
                  <c:v>1.72</c:v>
                </c:pt>
                <c:pt idx="6">
                  <c:v>1.85</c:v>
                </c:pt>
                <c:pt idx="7">
                  <c:v>1.34</c:v>
                </c:pt>
                <c:pt idx="8">
                  <c:v>1.29</c:v>
                </c:pt>
                <c:pt idx="9">
                  <c:v>1.87</c:v>
                </c:pt>
                <c:pt idx="10">
                  <c:v>1.85</c:v>
                </c:pt>
                <c:pt idx="11">
                  <c:v>1.99</c:v>
                </c:pt>
                <c:pt idx="12">
                  <c:v>1.94</c:v>
                </c:pt>
                <c:pt idx="13">
                  <c:v>2.12</c:v>
                </c:pt>
                <c:pt idx="14">
                  <c:v>2.25</c:v>
                </c:pt>
                <c:pt idx="15">
                  <c:v>2.17</c:v>
                </c:pt>
                <c:pt idx="16">
                  <c:v>1.95</c:v>
                </c:pt>
                <c:pt idx="17">
                  <c:v>1.72</c:v>
                </c:pt>
                <c:pt idx="18">
                  <c:v>1.59</c:v>
                </c:pt>
                <c:pt idx="19">
                  <c:v>1.75</c:v>
                </c:pt>
                <c:pt idx="20">
                  <c:v>1.68</c:v>
                </c:pt>
                <c:pt idx="21">
                  <c:v>1.57</c:v>
                </c:pt>
                <c:pt idx="22">
                  <c:v>1.52</c:v>
                </c:pt>
                <c:pt idx="23">
                  <c:v>1.42</c:v>
                </c:pt>
                <c:pt idx="24">
                  <c:v>1.44</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234,08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088,18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156,61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1234086</c:v>
                </c:pt>
                <c:pt idx="1">
                  <c:v>1012301</c:v>
                </c:pt>
                <c:pt idx="2">
                  <c:v>959367</c:v>
                </c:pt>
                <c:pt idx="3">
                  <c:v>948322</c:v>
                </c:pt>
                <c:pt idx="4">
                  <c:v>1066077</c:v>
                </c:pt>
                <c:pt idx="5">
                  <c:v>1132388</c:v>
                </c:pt>
                <c:pt idx="6">
                  <c:v>1102107</c:v>
                </c:pt>
                <c:pt idx="7">
                  <c:v>1132289</c:v>
                </c:pt>
                <c:pt idx="8">
                  <c:v>1068989</c:v>
                </c:pt>
                <c:pt idx="9">
                  <c:v>1194947</c:v>
                </c:pt>
                <c:pt idx="10">
                  <c:v>1239597</c:v>
                </c:pt>
                <c:pt idx="11">
                  <c:v>1460516</c:v>
                </c:pt>
                <c:pt idx="12">
                  <c:v>1343912</c:v>
                </c:pt>
                <c:pt idx="13">
                  <c:v>1088183</c:v>
                </c:pt>
                <c:pt idx="14">
                  <c:v>1014149</c:v>
                </c:pt>
                <c:pt idx="15">
                  <c:v>1045739</c:v>
                </c:pt>
                <c:pt idx="16">
                  <c:v>1097140</c:v>
                </c:pt>
                <c:pt idx="17">
                  <c:v>1088034</c:v>
                </c:pt>
                <c:pt idx="18">
                  <c:v>1169605</c:v>
                </c:pt>
                <c:pt idx="19">
                  <c:v>1241242</c:v>
                </c:pt>
                <c:pt idx="20">
                  <c:v>1248117</c:v>
                </c:pt>
                <c:pt idx="21">
                  <c:v>1289434</c:v>
                </c:pt>
                <c:pt idx="22">
                  <c:v>1214806</c:v>
                </c:pt>
                <c:pt idx="23">
                  <c:v>1185796</c:v>
                </c:pt>
                <c:pt idx="24">
                  <c:v>1156612</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6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3.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24</c:v>
                </c:pt>
                <c:pt idx="1">
                  <c:v>3.2</c:v>
                </c:pt>
                <c:pt idx="2">
                  <c:v>3.04</c:v>
                </c:pt>
                <c:pt idx="3">
                  <c:v>3.08</c:v>
                </c:pt>
                <c:pt idx="4">
                  <c:v>3.32</c:v>
                </c:pt>
                <c:pt idx="5">
                  <c:v>3.37</c:v>
                </c:pt>
                <c:pt idx="6">
                  <c:v>3.38</c:v>
                </c:pt>
                <c:pt idx="7">
                  <c:v>3.03</c:v>
                </c:pt>
                <c:pt idx="8">
                  <c:v>3.01</c:v>
                </c:pt>
                <c:pt idx="9">
                  <c:v>2.9</c:v>
                </c:pt>
                <c:pt idx="10">
                  <c:v>2.95</c:v>
                </c:pt>
                <c:pt idx="11">
                  <c:v>2.87</c:v>
                </c:pt>
                <c:pt idx="12">
                  <c:v>2.86</c:v>
                </c:pt>
                <c:pt idx="13">
                  <c:v>2.69</c:v>
                </c:pt>
                <c:pt idx="14">
                  <c:v>2.57</c:v>
                </c:pt>
                <c:pt idx="15">
                  <c:v>2.55</c:v>
                </c:pt>
                <c:pt idx="16">
                  <c:v>2.59</c:v>
                </c:pt>
                <c:pt idx="17">
                  <c:v>2.54</c:v>
                </c:pt>
                <c:pt idx="18">
                  <c:v>2.72</c:v>
                </c:pt>
                <c:pt idx="19">
                  <c:v>3.05</c:v>
                </c:pt>
                <c:pt idx="20">
                  <c:v>2.94</c:v>
                </c:pt>
                <c:pt idx="21">
                  <c:v>2.9</c:v>
                </c:pt>
                <c:pt idx="22">
                  <c:v>3.04</c:v>
                </c:pt>
                <c:pt idx="23">
                  <c:v>3.06</c:v>
                </c:pt>
                <c:pt idx="24">
                  <c:v>3.07</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665,73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839,45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080,78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665731</c:v>
                </c:pt>
                <c:pt idx="1">
                  <c:v>615754</c:v>
                </c:pt>
                <c:pt idx="2">
                  <c:v>653686</c:v>
                </c:pt>
                <c:pt idx="3">
                  <c:v>681416</c:v>
                </c:pt>
                <c:pt idx="4">
                  <c:v>629505</c:v>
                </c:pt>
                <c:pt idx="5">
                  <c:v>680296</c:v>
                </c:pt>
                <c:pt idx="6">
                  <c:v>573716</c:v>
                </c:pt>
                <c:pt idx="7">
                  <c:v>683362</c:v>
                </c:pt>
                <c:pt idx="8">
                  <c:v>648174</c:v>
                </c:pt>
                <c:pt idx="9">
                  <c:v>673282</c:v>
                </c:pt>
                <c:pt idx="10">
                  <c:v>719619</c:v>
                </c:pt>
                <c:pt idx="11">
                  <c:v>916459</c:v>
                </c:pt>
                <c:pt idx="12">
                  <c:v>945325</c:v>
                </c:pt>
                <c:pt idx="13">
                  <c:v>839459</c:v>
                </c:pt>
                <c:pt idx="14">
                  <c:v>868852</c:v>
                </c:pt>
                <c:pt idx="15">
                  <c:v>847090</c:v>
                </c:pt>
                <c:pt idx="16">
                  <c:v>816978</c:v>
                </c:pt>
                <c:pt idx="17">
                  <c:v>843503</c:v>
                </c:pt>
                <c:pt idx="18">
                  <c:v>916331</c:v>
                </c:pt>
                <c:pt idx="19">
                  <c:v>1054768</c:v>
                </c:pt>
                <c:pt idx="20">
                  <c:v>1055637</c:v>
                </c:pt>
                <c:pt idx="21">
                  <c:v>1165716</c:v>
                </c:pt>
                <c:pt idx="22">
                  <c:v>1216757</c:v>
                </c:pt>
                <c:pt idx="23">
                  <c:v>1330602</c:v>
                </c:pt>
                <c:pt idx="24">
                  <c:v>1080783</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3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8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2.8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37</c:v>
                </c:pt>
                <c:pt idx="1">
                  <c:v>3.28</c:v>
                </c:pt>
                <c:pt idx="2">
                  <c:v>3.32</c:v>
                </c:pt>
                <c:pt idx="3">
                  <c:v>3.32</c:v>
                </c:pt>
                <c:pt idx="4">
                  <c:v>3.17</c:v>
                </c:pt>
                <c:pt idx="5">
                  <c:v>3.22</c:v>
                </c:pt>
                <c:pt idx="6">
                  <c:v>3.35</c:v>
                </c:pt>
                <c:pt idx="7">
                  <c:v>3.18</c:v>
                </c:pt>
                <c:pt idx="8">
                  <c:v>3.15</c:v>
                </c:pt>
                <c:pt idx="9">
                  <c:v>3.05</c:v>
                </c:pt>
                <c:pt idx="10">
                  <c:v>3.07</c:v>
                </c:pt>
                <c:pt idx="11">
                  <c:v>3.11</c:v>
                </c:pt>
                <c:pt idx="12">
                  <c:v>2.99</c:v>
                </c:pt>
                <c:pt idx="13">
                  <c:v>2.83</c:v>
                </c:pt>
                <c:pt idx="14">
                  <c:v>2.78</c:v>
                </c:pt>
                <c:pt idx="15">
                  <c:v>2.77</c:v>
                </c:pt>
                <c:pt idx="16">
                  <c:v>2.88</c:v>
                </c:pt>
                <c:pt idx="17">
                  <c:v>2.91</c:v>
                </c:pt>
                <c:pt idx="18">
                  <c:v>2.66</c:v>
                </c:pt>
                <c:pt idx="19">
                  <c:v>2.71</c:v>
                </c:pt>
                <c:pt idx="20">
                  <c:v>2.67</c:v>
                </c:pt>
                <c:pt idx="21">
                  <c:v>2.72</c:v>
                </c:pt>
                <c:pt idx="22">
                  <c:v>2.84</c:v>
                </c:pt>
                <c:pt idx="23">
                  <c:v>2.69</c:v>
                </c:pt>
                <c:pt idx="24">
                  <c:v>2.87</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6,026,59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5,969,15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7,112,48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6026594</c:v>
                </c:pt>
                <c:pt idx="1">
                  <c:v>5544589</c:v>
                </c:pt>
                <c:pt idx="2">
                  <c:v>5534192</c:v>
                </c:pt>
                <c:pt idx="3">
                  <c:v>5200976</c:v>
                </c:pt>
                <c:pt idx="4">
                  <c:v>6597330</c:v>
                </c:pt>
                <c:pt idx="5">
                  <c:v>5680951</c:v>
                </c:pt>
                <c:pt idx="6">
                  <c:v>5361574</c:v>
                </c:pt>
                <c:pt idx="7">
                  <c:v>6784635</c:v>
                </c:pt>
                <c:pt idx="8">
                  <c:v>6432059</c:v>
                </c:pt>
                <c:pt idx="9">
                  <c:v>6305167</c:v>
                </c:pt>
                <c:pt idx="10">
                  <c:v>5946912</c:v>
                </c:pt>
                <c:pt idx="11">
                  <c:v>6213469</c:v>
                </c:pt>
                <c:pt idx="12">
                  <c:v>6565932</c:v>
                </c:pt>
                <c:pt idx="13">
                  <c:v>5969150</c:v>
                </c:pt>
                <c:pt idx="14">
                  <c:v>6229326</c:v>
                </c:pt>
                <c:pt idx="15">
                  <c:v>5851240</c:v>
                </c:pt>
                <c:pt idx="16">
                  <c:v>6832900</c:v>
                </c:pt>
                <c:pt idx="17">
                  <c:v>6142354</c:v>
                </c:pt>
                <c:pt idx="18">
                  <c:v>6065853</c:v>
                </c:pt>
                <c:pt idx="19">
                  <c:v>6828473</c:v>
                </c:pt>
                <c:pt idx="20">
                  <c:v>6559724</c:v>
                </c:pt>
                <c:pt idx="21">
                  <c:v>7042402</c:v>
                </c:pt>
                <c:pt idx="22">
                  <c:v>6968744</c:v>
                </c:pt>
                <c:pt idx="23">
                  <c:v>7092064</c:v>
                </c:pt>
                <c:pt idx="24">
                  <c:v>7112486</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1.8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2.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1.86</c:v>
                </c:pt>
                <c:pt idx="1">
                  <c:v>1.86</c:v>
                </c:pt>
                <c:pt idx="2">
                  <c:v>1.86</c:v>
                </c:pt>
                <c:pt idx="3">
                  <c:v>1.85</c:v>
                </c:pt>
                <c:pt idx="4">
                  <c:v>1.89</c:v>
                </c:pt>
                <c:pt idx="5">
                  <c:v>1.88</c:v>
                </c:pt>
                <c:pt idx="6">
                  <c:v>1.86</c:v>
                </c:pt>
                <c:pt idx="7">
                  <c:v>1.96</c:v>
                </c:pt>
                <c:pt idx="8">
                  <c:v>1.98</c:v>
                </c:pt>
                <c:pt idx="9">
                  <c:v>1.97</c:v>
                </c:pt>
                <c:pt idx="10">
                  <c:v>1.95</c:v>
                </c:pt>
                <c:pt idx="11">
                  <c:v>1.92</c:v>
                </c:pt>
                <c:pt idx="12">
                  <c:v>1.97</c:v>
                </c:pt>
                <c:pt idx="13">
                  <c:v>1.98</c:v>
                </c:pt>
                <c:pt idx="14">
                  <c:v>1.98</c:v>
                </c:pt>
                <c:pt idx="15">
                  <c:v>2.0</c:v>
                </c:pt>
                <c:pt idx="16">
                  <c:v>2.0</c:v>
                </c:pt>
                <c:pt idx="17">
                  <c:v>1.99</c:v>
                </c:pt>
                <c:pt idx="18">
                  <c:v>1.96</c:v>
                </c:pt>
                <c:pt idx="19">
                  <c:v>2.02</c:v>
                </c:pt>
                <c:pt idx="20">
                  <c:v>2.07</c:v>
                </c:pt>
                <c:pt idx="21">
                  <c:v>2.09</c:v>
                </c:pt>
                <c:pt idx="22">
                  <c:v>2.09</c:v>
                </c:pt>
                <c:pt idx="23">
                  <c:v>2.07</c:v>
                </c:pt>
                <c:pt idx="24">
                  <c:v>2.06</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8,250,74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6,875,32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8,712,86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8250749</c:v>
                </c:pt>
                <c:pt idx="1">
                  <c:v>7304159</c:v>
                </c:pt>
                <c:pt idx="2">
                  <c:v>6773189</c:v>
                </c:pt>
                <c:pt idx="3">
                  <c:v>6073653</c:v>
                </c:pt>
                <c:pt idx="4">
                  <c:v>6459014</c:v>
                </c:pt>
                <c:pt idx="5">
                  <c:v>6359786</c:v>
                </c:pt>
                <c:pt idx="6">
                  <c:v>6192859</c:v>
                </c:pt>
                <c:pt idx="7">
                  <c:v>7167446</c:v>
                </c:pt>
                <c:pt idx="8">
                  <c:v>6886839</c:v>
                </c:pt>
                <c:pt idx="9">
                  <c:v>7474392</c:v>
                </c:pt>
                <c:pt idx="10">
                  <c:v>7783433</c:v>
                </c:pt>
                <c:pt idx="11">
                  <c:v>8176348</c:v>
                </c:pt>
                <c:pt idx="12">
                  <c:v>8038391</c:v>
                </c:pt>
                <c:pt idx="13">
                  <c:v>6875325</c:v>
                </c:pt>
                <c:pt idx="14">
                  <c:v>6509191</c:v>
                </c:pt>
                <c:pt idx="15">
                  <c:v>6045558</c:v>
                </c:pt>
                <c:pt idx="16">
                  <c:v>6490932</c:v>
                </c:pt>
                <c:pt idx="17">
                  <c:v>6431790</c:v>
                </c:pt>
                <c:pt idx="18">
                  <c:v>6802864</c:v>
                </c:pt>
                <c:pt idx="19">
                  <c:v>7885895</c:v>
                </c:pt>
                <c:pt idx="20">
                  <c:v>7656772</c:v>
                </c:pt>
                <c:pt idx="21">
                  <c:v>8258012</c:v>
                </c:pt>
                <c:pt idx="22">
                  <c:v>8617736</c:v>
                </c:pt>
                <c:pt idx="23">
                  <c:v>9224779</c:v>
                </c:pt>
                <c:pt idx="24">
                  <c:v>871286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0.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0.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0.5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0.51</c:v>
                </c:pt>
                <c:pt idx="1">
                  <c:v>0.52</c:v>
                </c:pt>
                <c:pt idx="2">
                  <c:v>0.49</c:v>
                </c:pt>
                <c:pt idx="3">
                  <c:v>0.48</c:v>
                </c:pt>
                <c:pt idx="4">
                  <c:v>0.48</c:v>
                </c:pt>
                <c:pt idx="5">
                  <c:v>0.49</c:v>
                </c:pt>
                <c:pt idx="6">
                  <c:v>0.5</c:v>
                </c:pt>
                <c:pt idx="7">
                  <c:v>0.51</c:v>
                </c:pt>
                <c:pt idx="8">
                  <c:v>0.52</c:v>
                </c:pt>
                <c:pt idx="9">
                  <c:v>0.52</c:v>
                </c:pt>
                <c:pt idx="10">
                  <c:v>0.53</c:v>
                </c:pt>
                <c:pt idx="11">
                  <c:v>0.53</c:v>
                </c:pt>
                <c:pt idx="12">
                  <c:v>0.54</c:v>
                </c:pt>
                <c:pt idx="13">
                  <c:v>0.53</c:v>
                </c:pt>
                <c:pt idx="14">
                  <c:v>0.49</c:v>
                </c:pt>
                <c:pt idx="15">
                  <c:v>0.5</c:v>
                </c:pt>
                <c:pt idx="16">
                  <c:v>0.51</c:v>
                </c:pt>
                <c:pt idx="17">
                  <c:v>0.52</c:v>
                </c:pt>
                <c:pt idx="18">
                  <c:v>0.54</c:v>
                </c:pt>
                <c:pt idx="19">
                  <c:v>0.56</c:v>
                </c:pt>
                <c:pt idx="20">
                  <c:v>0.55</c:v>
                </c:pt>
                <c:pt idx="21">
                  <c:v>0.56</c:v>
                </c:pt>
                <c:pt idx="22">
                  <c:v>0.56</c:v>
                </c:pt>
                <c:pt idx="23">
                  <c:v>0.57</c:v>
                </c:pt>
                <c:pt idx="24">
                  <c:v>0.56</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4,865,42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3,805,13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4,407,05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4865426</c:v>
                </c:pt>
                <c:pt idx="1">
                  <c:v>3919143</c:v>
                </c:pt>
                <c:pt idx="2">
                  <c:v>3946876</c:v>
                </c:pt>
                <c:pt idx="3">
                  <c:v>3764647</c:v>
                </c:pt>
                <c:pt idx="4">
                  <c:v>4500709</c:v>
                </c:pt>
                <c:pt idx="5">
                  <c:v>3443253</c:v>
                </c:pt>
                <c:pt idx="6">
                  <c:v>3287958</c:v>
                </c:pt>
                <c:pt idx="7">
                  <c:v>3797650</c:v>
                </c:pt>
                <c:pt idx="8">
                  <c:v>3926600</c:v>
                </c:pt>
                <c:pt idx="9">
                  <c:v>4235975</c:v>
                </c:pt>
                <c:pt idx="10">
                  <c:v>4502181</c:v>
                </c:pt>
                <c:pt idx="11">
                  <c:v>4852118</c:v>
                </c:pt>
                <c:pt idx="12">
                  <c:v>4683572</c:v>
                </c:pt>
                <c:pt idx="13">
                  <c:v>3805131</c:v>
                </c:pt>
                <c:pt idx="14">
                  <c:v>3792631</c:v>
                </c:pt>
                <c:pt idx="15">
                  <c:v>3619568</c:v>
                </c:pt>
                <c:pt idx="16">
                  <c:v>4546298</c:v>
                </c:pt>
                <c:pt idx="17">
                  <c:v>3319354</c:v>
                </c:pt>
                <c:pt idx="18">
                  <c:v>3362082</c:v>
                </c:pt>
                <c:pt idx="19">
                  <c:v>3816457</c:v>
                </c:pt>
                <c:pt idx="20">
                  <c:v>3689137</c:v>
                </c:pt>
                <c:pt idx="21">
                  <c:v>4027374</c:v>
                </c:pt>
                <c:pt idx="22">
                  <c:v>4505155</c:v>
                </c:pt>
                <c:pt idx="23">
                  <c:v>4629863</c:v>
                </c:pt>
                <c:pt idx="24">
                  <c:v>4407054</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1.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5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1.53</c:v>
                </c:pt>
                <c:pt idx="1">
                  <c:v>1.48</c:v>
                </c:pt>
                <c:pt idx="2">
                  <c:v>1.44</c:v>
                </c:pt>
                <c:pt idx="3">
                  <c:v>1.45</c:v>
                </c:pt>
                <c:pt idx="4">
                  <c:v>1.46</c:v>
                </c:pt>
                <c:pt idx="5">
                  <c:v>1.44</c:v>
                </c:pt>
                <c:pt idx="6">
                  <c:v>1.49</c:v>
                </c:pt>
                <c:pt idx="7">
                  <c:v>1.52</c:v>
                </c:pt>
                <c:pt idx="8">
                  <c:v>1.55</c:v>
                </c:pt>
                <c:pt idx="9">
                  <c:v>1.56</c:v>
                </c:pt>
                <c:pt idx="10">
                  <c:v>1.57</c:v>
                </c:pt>
                <c:pt idx="11">
                  <c:v>1.58</c:v>
                </c:pt>
                <c:pt idx="12">
                  <c:v>1.57</c:v>
                </c:pt>
                <c:pt idx="13">
                  <c:v>1.54</c:v>
                </c:pt>
                <c:pt idx="14">
                  <c:v>1.5</c:v>
                </c:pt>
                <c:pt idx="15">
                  <c:v>1.51</c:v>
                </c:pt>
                <c:pt idx="16">
                  <c:v>1.56</c:v>
                </c:pt>
                <c:pt idx="17">
                  <c:v>1.46</c:v>
                </c:pt>
                <c:pt idx="18">
                  <c:v>1.48</c:v>
                </c:pt>
                <c:pt idx="19">
                  <c:v>1.5</c:v>
                </c:pt>
                <c:pt idx="20">
                  <c:v>1.49</c:v>
                </c:pt>
                <c:pt idx="21">
                  <c:v>1.5</c:v>
                </c:pt>
                <c:pt idx="22">
                  <c:v>1.53</c:v>
                </c:pt>
                <c:pt idx="23">
                  <c:v>1.53</c:v>
                </c:pt>
                <c:pt idx="24">
                  <c:v>1.51</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34,153,20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8,962,8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35,621,37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34153200</c:v>
                </c:pt>
                <c:pt idx="1">
                  <c:v>28670102</c:v>
                </c:pt>
                <c:pt idx="2">
                  <c:v>27183703</c:v>
                </c:pt>
                <c:pt idx="3">
                  <c:v>26266388</c:v>
                </c:pt>
                <c:pt idx="4">
                  <c:v>30022397</c:v>
                </c:pt>
                <c:pt idx="5">
                  <c:v>26838299</c:v>
                </c:pt>
                <c:pt idx="6">
                  <c:v>25769268</c:v>
                </c:pt>
                <c:pt idx="7">
                  <c:v>29443463</c:v>
                </c:pt>
                <c:pt idx="8">
                  <c:v>28979419</c:v>
                </c:pt>
                <c:pt idx="9">
                  <c:v>33456474</c:v>
                </c:pt>
                <c:pt idx="10">
                  <c:v>33940662</c:v>
                </c:pt>
                <c:pt idx="11">
                  <c:v>35825859</c:v>
                </c:pt>
                <c:pt idx="12">
                  <c:v>34417189</c:v>
                </c:pt>
                <c:pt idx="13">
                  <c:v>28962882</c:v>
                </c:pt>
                <c:pt idx="14">
                  <c:v>26791435</c:v>
                </c:pt>
                <c:pt idx="15">
                  <c:v>26102586</c:v>
                </c:pt>
                <c:pt idx="16">
                  <c:v>29808663</c:v>
                </c:pt>
                <c:pt idx="17">
                  <c:v>26006565</c:v>
                </c:pt>
                <c:pt idx="18">
                  <c:v>26053222</c:v>
                </c:pt>
                <c:pt idx="19">
                  <c:v>29423274</c:v>
                </c:pt>
                <c:pt idx="20">
                  <c:v>29846922</c:v>
                </c:pt>
                <c:pt idx="21">
                  <c:v>32695468</c:v>
                </c:pt>
                <c:pt idx="22">
                  <c:v>33934835</c:v>
                </c:pt>
                <c:pt idx="23">
                  <c:v>36240637</c:v>
                </c:pt>
                <c:pt idx="24">
                  <c:v>35621375</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1.8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0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2.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1.89</c:v>
                </c:pt>
                <c:pt idx="1">
                  <c:v>1.82</c:v>
                </c:pt>
                <c:pt idx="2">
                  <c:v>1.86</c:v>
                </c:pt>
                <c:pt idx="3">
                  <c:v>1.8</c:v>
                </c:pt>
                <c:pt idx="4">
                  <c:v>1.86</c:v>
                </c:pt>
                <c:pt idx="5">
                  <c:v>1.91</c:v>
                </c:pt>
                <c:pt idx="6">
                  <c:v>1.9</c:v>
                </c:pt>
                <c:pt idx="7">
                  <c:v>1.97</c:v>
                </c:pt>
                <c:pt idx="8">
                  <c:v>2.05</c:v>
                </c:pt>
                <c:pt idx="9">
                  <c:v>2.01</c:v>
                </c:pt>
                <c:pt idx="10">
                  <c:v>2.03</c:v>
                </c:pt>
                <c:pt idx="11">
                  <c:v>2.0</c:v>
                </c:pt>
                <c:pt idx="12">
                  <c:v>2.06</c:v>
                </c:pt>
                <c:pt idx="13">
                  <c:v>2.01</c:v>
                </c:pt>
                <c:pt idx="14">
                  <c:v>2.02</c:v>
                </c:pt>
                <c:pt idx="15">
                  <c:v>1.97</c:v>
                </c:pt>
                <c:pt idx="16">
                  <c:v>2.02</c:v>
                </c:pt>
                <c:pt idx="17">
                  <c:v>1.96</c:v>
                </c:pt>
                <c:pt idx="18">
                  <c:v>1.98</c:v>
                </c:pt>
                <c:pt idx="19">
                  <c:v>1.97</c:v>
                </c:pt>
                <c:pt idx="20">
                  <c:v>2.04</c:v>
                </c:pt>
                <c:pt idx="21">
                  <c:v>2.0</c:v>
                </c:pt>
                <c:pt idx="22">
                  <c:v>2.04</c:v>
                </c:pt>
                <c:pt idx="23">
                  <c:v>2.02</c:v>
                </c:pt>
                <c:pt idx="24">
                  <c:v>2.02</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3,830,78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1,861,73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2,979,59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13830789</c:v>
                </c:pt>
                <c:pt idx="1">
                  <c:v>12007985</c:v>
                </c:pt>
                <c:pt idx="2">
                  <c:v>12199362</c:v>
                </c:pt>
                <c:pt idx="3">
                  <c:v>11452073</c:v>
                </c:pt>
                <c:pt idx="4">
                  <c:v>12453985</c:v>
                </c:pt>
                <c:pt idx="5">
                  <c:v>10407722</c:v>
                </c:pt>
                <c:pt idx="6">
                  <c:v>11145215</c:v>
                </c:pt>
                <c:pt idx="7">
                  <c:v>14046131</c:v>
                </c:pt>
                <c:pt idx="8">
                  <c:v>13610622</c:v>
                </c:pt>
                <c:pt idx="9">
                  <c:v>14414392</c:v>
                </c:pt>
                <c:pt idx="10">
                  <c:v>16315156</c:v>
                </c:pt>
                <c:pt idx="11">
                  <c:v>15912716</c:v>
                </c:pt>
                <c:pt idx="12">
                  <c:v>14552034</c:v>
                </c:pt>
                <c:pt idx="13">
                  <c:v>11861739</c:v>
                </c:pt>
                <c:pt idx="14">
                  <c:v>12349996</c:v>
                </c:pt>
                <c:pt idx="15">
                  <c:v>10461345</c:v>
                </c:pt>
                <c:pt idx="16">
                  <c:v>12752561</c:v>
                </c:pt>
                <c:pt idx="17">
                  <c:v>9805504</c:v>
                </c:pt>
                <c:pt idx="18">
                  <c:v>10278762</c:v>
                </c:pt>
                <c:pt idx="19">
                  <c:v>12121429</c:v>
                </c:pt>
                <c:pt idx="20">
                  <c:v>11762810</c:v>
                </c:pt>
                <c:pt idx="21">
                  <c:v>12578442</c:v>
                </c:pt>
                <c:pt idx="22">
                  <c:v>13526173</c:v>
                </c:pt>
                <c:pt idx="23">
                  <c:v>14232911</c:v>
                </c:pt>
                <c:pt idx="24">
                  <c:v>12979594</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2.6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2.5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2.61</c:v>
                </c:pt>
                <c:pt idx="1">
                  <c:v>2.62</c:v>
                </c:pt>
                <c:pt idx="2">
                  <c:v>2.61</c:v>
                </c:pt>
                <c:pt idx="3">
                  <c:v>2.68</c:v>
                </c:pt>
                <c:pt idx="4">
                  <c:v>2.65</c:v>
                </c:pt>
                <c:pt idx="5">
                  <c:v>2.64</c:v>
                </c:pt>
                <c:pt idx="6">
                  <c:v>2.61</c:v>
                </c:pt>
                <c:pt idx="7">
                  <c:v>2.62</c:v>
                </c:pt>
                <c:pt idx="8">
                  <c:v>2.69</c:v>
                </c:pt>
                <c:pt idx="9">
                  <c:v>2.76</c:v>
                </c:pt>
                <c:pt idx="10">
                  <c:v>2.62</c:v>
                </c:pt>
                <c:pt idx="11">
                  <c:v>2.72</c:v>
                </c:pt>
                <c:pt idx="12">
                  <c:v>2.73</c:v>
                </c:pt>
                <c:pt idx="13">
                  <c:v>2.74</c:v>
                </c:pt>
                <c:pt idx="14">
                  <c:v>2.56</c:v>
                </c:pt>
                <c:pt idx="15">
                  <c:v>2.54</c:v>
                </c:pt>
                <c:pt idx="16">
                  <c:v>2.29</c:v>
                </c:pt>
                <c:pt idx="17">
                  <c:v>2.6</c:v>
                </c:pt>
                <c:pt idx="18">
                  <c:v>2.63</c:v>
                </c:pt>
                <c:pt idx="19">
                  <c:v>2.56</c:v>
                </c:pt>
                <c:pt idx="20">
                  <c:v>2.56</c:v>
                </c:pt>
                <c:pt idx="21">
                  <c:v>2.6</c:v>
                </c:pt>
                <c:pt idx="22">
                  <c:v>2.54</c:v>
                </c:pt>
                <c:pt idx="23">
                  <c:v>2.51</c:v>
                </c:pt>
                <c:pt idx="24">
                  <c:v>2.57</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48,292,77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41,139,43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52,347,72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48292778</c:v>
                </c:pt>
                <c:pt idx="1">
                  <c:v>40173825</c:v>
                </c:pt>
                <c:pt idx="2">
                  <c:v>38088749</c:v>
                </c:pt>
                <c:pt idx="3">
                  <c:v>35209421</c:v>
                </c:pt>
                <c:pt idx="4">
                  <c:v>41564507</c:v>
                </c:pt>
                <c:pt idx="5">
                  <c:v>36938181</c:v>
                </c:pt>
                <c:pt idx="6">
                  <c:v>34950543</c:v>
                </c:pt>
                <c:pt idx="7">
                  <c:v>41229828</c:v>
                </c:pt>
                <c:pt idx="8">
                  <c:v>41092481</c:v>
                </c:pt>
                <c:pt idx="9">
                  <c:v>45679233</c:v>
                </c:pt>
                <c:pt idx="10">
                  <c:v>48316435</c:v>
                </c:pt>
                <c:pt idx="11">
                  <c:v>51825748</c:v>
                </c:pt>
                <c:pt idx="12">
                  <c:v>50327114</c:v>
                </c:pt>
                <c:pt idx="13">
                  <c:v>41139433</c:v>
                </c:pt>
                <c:pt idx="14">
                  <c:v>39547902</c:v>
                </c:pt>
                <c:pt idx="15">
                  <c:v>36307579</c:v>
                </c:pt>
                <c:pt idx="16">
                  <c:v>42974534</c:v>
                </c:pt>
                <c:pt idx="17">
                  <c:v>36818456</c:v>
                </c:pt>
                <c:pt idx="18">
                  <c:v>36931110</c:v>
                </c:pt>
                <c:pt idx="19">
                  <c:v>43492714</c:v>
                </c:pt>
                <c:pt idx="20">
                  <c:v>41496249</c:v>
                </c:pt>
                <c:pt idx="21">
                  <c:v>47430856</c:v>
                </c:pt>
                <c:pt idx="22">
                  <c:v>50529551</c:v>
                </c:pt>
                <c:pt idx="23">
                  <c:v>52927532</c:v>
                </c:pt>
                <c:pt idx="24">
                  <c:v>52347726</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5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3.3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3.3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58</c:v>
                </c:pt>
                <c:pt idx="1">
                  <c:v>3.49</c:v>
                </c:pt>
                <c:pt idx="2">
                  <c:v>3.37</c:v>
                </c:pt>
                <c:pt idx="3">
                  <c:v>3.31</c:v>
                </c:pt>
                <c:pt idx="4">
                  <c:v>3.22</c:v>
                </c:pt>
                <c:pt idx="5">
                  <c:v>3.44</c:v>
                </c:pt>
                <c:pt idx="6">
                  <c:v>3.41</c:v>
                </c:pt>
                <c:pt idx="7">
                  <c:v>3.5</c:v>
                </c:pt>
                <c:pt idx="8">
                  <c:v>3.54</c:v>
                </c:pt>
                <c:pt idx="9">
                  <c:v>3.52</c:v>
                </c:pt>
                <c:pt idx="10">
                  <c:v>3.51</c:v>
                </c:pt>
                <c:pt idx="11">
                  <c:v>3.45</c:v>
                </c:pt>
                <c:pt idx="12">
                  <c:v>3.44</c:v>
                </c:pt>
                <c:pt idx="13">
                  <c:v>3.39</c:v>
                </c:pt>
                <c:pt idx="14">
                  <c:v>3.28</c:v>
                </c:pt>
                <c:pt idx="15">
                  <c:v>3.23</c:v>
                </c:pt>
                <c:pt idx="16">
                  <c:v>3.22</c:v>
                </c:pt>
                <c:pt idx="17">
                  <c:v>3.31</c:v>
                </c:pt>
                <c:pt idx="18">
                  <c:v>3.36</c:v>
                </c:pt>
                <c:pt idx="19">
                  <c:v>3.4</c:v>
                </c:pt>
                <c:pt idx="20">
                  <c:v>3.36</c:v>
                </c:pt>
                <c:pt idx="21">
                  <c:v>3.37</c:v>
                </c:pt>
                <c:pt idx="22">
                  <c:v>3.4</c:v>
                </c:pt>
                <c:pt idx="23">
                  <c:v>3.39</c:v>
                </c:pt>
                <c:pt idx="24">
                  <c:v>3.39</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01,68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46,43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37,55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201686</c:v>
                </c:pt>
                <c:pt idx="1">
                  <c:v>154994</c:v>
                </c:pt>
                <c:pt idx="2">
                  <c:v>179441</c:v>
                </c:pt>
                <c:pt idx="3">
                  <c:v>142865</c:v>
                </c:pt>
                <c:pt idx="4">
                  <c:v>159374</c:v>
                </c:pt>
                <c:pt idx="5">
                  <c:v>154534</c:v>
                </c:pt>
                <c:pt idx="6">
                  <c:v>154682</c:v>
                </c:pt>
                <c:pt idx="7">
                  <c:v>192111</c:v>
                </c:pt>
                <c:pt idx="8">
                  <c:v>151765</c:v>
                </c:pt>
                <c:pt idx="9">
                  <c:v>172309</c:v>
                </c:pt>
                <c:pt idx="10">
                  <c:v>157233</c:v>
                </c:pt>
                <c:pt idx="11">
                  <c:v>200259</c:v>
                </c:pt>
                <c:pt idx="12">
                  <c:v>161931</c:v>
                </c:pt>
                <c:pt idx="13">
                  <c:v>146430</c:v>
                </c:pt>
                <c:pt idx="14">
                  <c:v>152634</c:v>
                </c:pt>
                <c:pt idx="15">
                  <c:v>130712</c:v>
                </c:pt>
                <c:pt idx="16">
                  <c:v>150633</c:v>
                </c:pt>
                <c:pt idx="17">
                  <c:v>130255</c:v>
                </c:pt>
                <c:pt idx="18">
                  <c:v>132282</c:v>
                </c:pt>
                <c:pt idx="19">
                  <c:v>123908</c:v>
                </c:pt>
                <c:pt idx="20">
                  <c:v>121427</c:v>
                </c:pt>
                <c:pt idx="21">
                  <c:v>149025</c:v>
                </c:pt>
                <c:pt idx="22">
                  <c:v>142986</c:v>
                </c:pt>
                <c:pt idx="23">
                  <c:v>153483</c:v>
                </c:pt>
                <c:pt idx="24">
                  <c:v>137551</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2.1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8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7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2.18</c:v>
                </c:pt>
                <c:pt idx="1">
                  <c:v>2.06</c:v>
                </c:pt>
                <c:pt idx="2">
                  <c:v>2.2</c:v>
                </c:pt>
                <c:pt idx="3">
                  <c:v>2.06</c:v>
                </c:pt>
                <c:pt idx="4">
                  <c:v>2.13</c:v>
                </c:pt>
                <c:pt idx="5">
                  <c:v>2.18</c:v>
                </c:pt>
                <c:pt idx="6">
                  <c:v>2.3</c:v>
                </c:pt>
                <c:pt idx="7">
                  <c:v>2.26</c:v>
                </c:pt>
                <c:pt idx="8">
                  <c:v>2.15</c:v>
                </c:pt>
                <c:pt idx="9">
                  <c:v>2.21</c:v>
                </c:pt>
                <c:pt idx="10">
                  <c:v>2.14</c:v>
                </c:pt>
                <c:pt idx="11">
                  <c:v>1.98</c:v>
                </c:pt>
                <c:pt idx="12">
                  <c:v>1.77</c:v>
                </c:pt>
                <c:pt idx="13">
                  <c:v>1.89</c:v>
                </c:pt>
                <c:pt idx="14">
                  <c:v>1.82</c:v>
                </c:pt>
                <c:pt idx="15">
                  <c:v>1.93</c:v>
                </c:pt>
                <c:pt idx="16">
                  <c:v>1.98</c:v>
                </c:pt>
                <c:pt idx="17">
                  <c:v>1.77</c:v>
                </c:pt>
                <c:pt idx="18">
                  <c:v>2.01</c:v>
                </c:pt>
                <c:pt idx="19">
                  <c:v>1.8</c:v>
                </c:pt>
                <c:pt idx="20">
                  <c:v>1.8</c:v>
                </c:pt>
                <c:pt idx="21">
                  <c:v>1.86</c:v>
                </c:pt>
                <c:pt idx="22">
                  <c:v>1.84</c:v>
                </c:pt>
                <c:pt idx="23">
                  <c:v>1.85</c:v>
                </c:pt>
                <c:pt idx="24">
                  <c:v>1.78</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809,60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858,02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338,82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809609</c:v>
                </c:pt>
                <c:pt idx="1">
                  <c:v>662233</c:v>
                </c:pt>
                <c:pt idx="2">
                  <c:v>1121456</c:v>
                </c:pt>
                <c:pt idx="3">
                  <c:v>1406384</c:v>
                </c:pt>
                <c:pt idx="4">
                  <c:v>1523420</c:v>
                </c:pt>
                <c:pt idx="5">
                  <c:v>669487</c:v>
                </c:pt>
                <c:pt idx="6">
                  <c:v>688722</c:v>
                </c:pt>
                <c:pt idx="7">
                  <c:v>748980</c:v>
                </c:pt>
                <c:pt idx="8">
                  <c:v>687257</c:v>
                </c:pt>
                <c:pt idx="9">
                  <c:v>742442</c:v>
                </c:pt>
                <c:pt idx="10">
                  <c:v>924554</c:v>
                </c:pt>
                <c:pt idx="11">
                  <c:v>1158118</c:v>
                </c:pt>
                <c:pt idx="12">
                  <c:v>998619</c:v>
                </c:pt>
                <c:pt idx="13">
                  <c:v>858022</c:v>
                </c:pt>
                <c:pt idx="14">
                  <c:v>996648</c:v>
                </c:pt>
                <c:pt idx="15">
                  <c:v>1938193</c:v>
                </c:pt>
                <c:pt idx="16">
                  <c:v>5028866</c:v>
                </c:pt>
                <c:pt idx="17">
                  <c:v>980939</c:v>
                </c:pt>
                <c:pt idx="18">
                  <c:v>838760</c:v>
                </c:pt>
                <c:pt idx="19">
                  <c:v>977156</c:v>
                </c:pt>
                <c:pt idx="20">
                  <c:v>971450</c:v>
                </c:pt>
                <c:pt idx="21">
                  <c:v>1145374</c:v>
                </c:pt>
                <c:pt idx="22">
                  <c:v>1185848</c:v>
                </c:pt>
                <c:pt idx="23">
                  <c:v>1499406</c:v>
                </c:pt>
                <c:pt idx="24">
                  <c:v>1338828</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5.8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5.0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3.2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5.86</c:v>
                </c:pt>
                <c:pt idx="1">
                  <c:v>6.17</c:v>
                </c:pt>
                <c:pt idx="2">
                  <c:v>2.27</c:v>
                </c:pt>
                <c:pt idx="3">
                  <c:v>1.5</c:v>
                </c:pt>
                <c:pt idx="4">
                  <c:v>1.34</c:v>
                </c:pt>
                <c:pt idx="5">
                  <c:v>4.58</c:v>
                </c:pt>
                <c:pt idx="6">
                  <c:v>6.37</c:v>
                </c:pt>
                <c:pt idx="7">
                  <c:v>7.16</c:v>
                </c:pt>
                <c:pt idx="8">
                  <c:v>7.55</c:v>
                </c:pt>
                <c:pt idx="9">
                  <c:v>6.83</c:v>
                </c:pt>
                <c:pt idx="10">
                  <c:v>6.63</c:v>
                </c:pt>
                <c:pt idx="11">
                  <c:v>5.33</c:v>
                </c:pt>
                <c:pt idx="12">
                  <c:v>5.53</c:v>
                </c:pt>
                <c:pt idx="13">
                  <c:v>5.03</c:v>
                </c:pt>
                <c:pt idx="14">
                  <c:v>4.56</c:v>
                </c:pt>
                <c:pt idx="15">
                  <c:v>4.19</c:v>
                </c:pt>
                <c:pt idx="16">
                  <c:v>3.19</c:v>
                </c:pt>
                <c:pt idx="17">
                  <c:v>4.59</c:v>
                </c:pt>
                <c:pt idx="18">
                  <c:v>5.97</c:v>
                </c:pt>
                <c:pt idx="19">
                  <c:v>5.4</c:v>
                </c:pt>
                <c:pt idx="20">
                  <c:v>5.47</c:v>
                </c:pt>
                <c:pt idx="21">
                  <c:v>5.39</c:v>
                </c:pt>
                <c:pt idx="22">
                  <c:v>5.87</c:v>
                </c:pt>
                <c:pt idx="23">
                  <c:v>4.04</c:v>
                </c:pt>
                <c:pt idx="24">
                  <c:v>3.2</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6,76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4,66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4,70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16760</c:v>
                </c:pt>
                <c:pt idx="1">
                  <c:v>12451</c:v>
                </c:pt>
                <c:pt idx="2">
                  <c:v>9121</c:v>
                </c:pt>
                <c:pt idx="3">
                  <c:v>9823</c:v>
                </c:pt>
                <c:pt idx="4">
                  <c:v>10070</c:v>
                </c:pt>
                <c:pt idx="5">
                  <c:v>11333</c:v>
                </c:pt>
                <c:pt idx="6">
                  <c:v>9469</c:v>
                </c:pt>
                <c:pt idx="7">
                  <c:v>9725</c:v>
                </c:pt>
                <c:pt idx="8">
                  <c:v>13375</c:v>
                </c:pt>
                <c:pt idx="9">
                  <c:v>12980</c:v>
                </c:pt>
                <c:pt idx="10">
                  <c:v>8911</c:v>
                </c:pt>
                <c:pt idx="11">
                  <c:v>7871</c:v>
                </c:pt>
                <c:pt idx="12">
                  <c:v>6553</c:v>
                </c:pt>
                <c:pt idx="13">
                  <c:v>4665</c:v>
                </c:pt>
                <c:pt idx="14">
                  <c:v>5177</c:v>
                </c:pt>
                <c:pt idx="15">
                  <c:v>7756</c:v>
                </c:pt>
                <c:pt idx="16">
                  <c:v>9550</c:v>
                </c:pt>
                <c:pt idx="17">
                  <c:v>8788</c:v>
                </c:pt>
                <c:pt idx="18">
                  <c:v>16981</c:v>
                </c:pt>
                <c:pt idx="19">
                  <c:v>12624</c:v>
                </c:pt>
                <c:pt idx="20">
                  <c:v>18980</c:v>
                </c:pt>
                <c:pt idx="21">
                  <c:v>16247</c:v>
                </c:pt>
                <c:pt idx="22">
                  <c:v>14318</c:v>
                </c:pt>
                <c:pt idx="23">
                  <c:v>20557</c:v>
                </c:pt>
                <c:pt idx="24">
                  <c:v>14702</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1.5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0.7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3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1.54</c:v>
                </c:pt>
                <c:pt idx="1">
                  <c:v>1.25</c:v>
                </c:pt>
                <c:pt idx="2">
                  <c:v>1.01</c:v>
                </c:pt>
                <c:pt idx="3">
                  <c:v>0.78</c:v>
                </c:pt>
                <c:pt idx="4">
                  <c:v>1.01</c:v>
                </c:pt>
                <c:pt idx="5">
                  <c:v>1.02</c:v>
                </c:pt>
                <c:pt idx="6">
                  <c:v>1.0</c:v>
                </c:pt>
                <c:pt idx="7">
                  <c:v>0.91</c:v>
                </c:pt>
                <c:pt idx="8">
                  <c:v>0.9</c:v>
                </c:pt>
                <c:pt idx="9">
                  <c:v>0.84</c:v>
                </c:pt>
                <c:pt idx="10">
                  <c:v>0.79</c:v>
                </c:pt>
                <c:pt idx="11">
                  <c:v>0.75</c:v>
                </c:pt>
                <c:pt idx="12">
                  <c:v>0.69</c:v>
                </c:pt>
                <c:pt idx="13">
                  <c:v>0.76</c:v>
                </c:pt>
                <c:pt idx="14">
                  <c:v>0.9</c:v>
                </c:pt>
                <c:pt idx="15">
                  <c:v>1.55</c:v>
                </c:pt>
                <c:pt idx="16">
                  <c:v>1.58</c:v>
                </c:pt>
                <c:pt idx="17">
                  <c:v>1.19</c:v>
                </c:pt>
                <c:pt idx="18">
                  <c:v>1.72</c:v>
                </c:pt>
                <c:pt idx="19">
                  <c:v>1.34</c:v>
                </c:pt>
                <c:pt idx="20">
                  <c:v>1.75</c:v>
                </c:pt>
                <c:pt idx="21">
                  <c:v>1.54</c:v>
                </c:pt>
                <c:pt idx="22">
                  <c:v>1.37</c:v>
                </c:pt>
                <c:pt idx="23">
                  <c:v>1.43</c:v>
                </c:pt>
                <c:pt idx="24">
                  <c:v>1.32</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560,00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499,42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730,03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560009</c:v>
                </c:pt>
                <c:pt idx="1">
                  <c:v>483095</c:v>
                </c:pt>
                <c:pt idx="2">
                  <c:v>498685</c:v>
                </c:pt>
                <c:pt idx="3">
                  <c:v>420395</c:v>
                </c:pt>
                <c:pt idx="4">
                  <c:v>428351</c:v>
                </c:pt>
                <c:pt idx="5">
                  <c:v>465459</c:v>
                </c:pt>
                <c:pt idx="6">
                  <c:v>490049</c:v>
                </c:pt>
                <c:pt idx="7">
                  <c:v>482780</c:v>
                </c:pt>
                <c:pt idx="8">
                  <c:v>445253</c:v>
                </c:pt>
                <c:pt idx="9">
                  <c:v>554451</c:v>
                </c:pt>
                <c:pt idx="10">
                  <c:v>555202</c:v>
                </c:pt>
                <c:pt idx="11">
                  <c:v>550675</c:v>
                </c:pt>
                <c:pt idx="12">
                  <c:v>547466</c:v>
                </c:pt>
                <c:pt idx="13">
                  <c:v>499427</c:v>
                </c:pt>
                <c:pt idx="14">
                  <c:v>465332</c:v>
                </c:pt>
                <c:pt idx="15">
                  <c:v>466168</c:v>
                </c:pt>
                <c:pt idx="16">
                  <c:v>452875</c:v>
                </c:pt>
                <c:pt idx="17">
                  <c:v>497800</c:v>
                </c:pt>
                <c:pt idx="18">
                  <c:v>570018</c:v>
                </c:pt>
                <c:pt idx="19">
                  <c:v>703626</c:v>
                </c:pt>
                <c:pt idx="20">
                  <c:v>709372</c:v>
                </c:pt>
                <c:pt idx="21">
                  <c:v>744295</c:v>
                </c:pt>
                <c:pt idx="22">
                  <c:v>752398</c:v>
                </c:pt>
                <c:pt idx="23">
                  <c:v>772101</c:v>
                </c:pt>
                <c:pt idx="24">
                  <c:v>730035</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0.8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0.8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0.8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0.85</c:v>
                </c:pt>
                <c:pt idx="1">
                  <c:v>0.85</c:v>
                </c:pt>
                <c:pt idx="2">
                  <c:v>0.66</c:v>
                </c:pt>
                <c:pt idx="3">
                  <c:v>0.58</c:v>
                </c:pt>
                <c:pt idx="4">
                  <c:v>0.72</c:v>
                </c:pt>
                <c:pt idx="5">
                  <c:v>0.79</c:v>
                </c:pt>
                <c:pt idx="6">
                  <c:v>0.75</c:v>
                </c:pt>
                <c:pt idx="7">
                  <c:v>0.76</c:v>
                </c:pt>
                <c:pt idx="8">
                  <c:v>0.75</c:v>
                </c:pt>
                <c:pt idx="9">
                  <c:v>0.74</c:v>
                </c:pt>
                <c:pt idx="10">
                  <c:v>0.82</c:v>
                </c:pt>
                <c:pt idx="11">
                  <c:v>0.75</c:v>
                </c:pt>
                <c:pt idx="12">
                  <c:v>0.87</c:v>
                </c:pt>
                <c:pt idx="13">
                  <c:v>0.81</c:v>
                </c:pt>
                <c:pt idx="14">
                  <c:v>0.72</c:v>
                </c:pt>
                <c:pt idx="15">
                  <c:v>0.66</c:v>
                </c:pt>
                <c:pt idx="16">
                  <c:v>0.74</c:v>
                </c:pt>
                <c:pt idx="17">
                  <c:v>0.74</c:v>
                </c:pt>
                <c:pt idx="18">
                  <c:v>0.85</c:v>
                </c:pt>
                <c:pt idx="19">
                  <c:v>0.89</c:v>
                </c:pt>
                <c:pt idx="20">
                  <c:v>0.94</c:v>
                </c:pt>
                <c:pt idx="21">
                  <c:v>0.94</c:v>
                </c:pt>
                <c:pt idx="22">
                  <c:v>0.84</c:v>
                </c:pt>
                <c:pt idx="23">
                  <c:v>0.8</c:v>
                </c:pt>
                <c:pt idx="24">
                  <c:v>0.87</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219,54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253,97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3,020,89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2219547</c:v>
                </c:pt>
                <c:pt idx="1">
                  <c:v>2077524</c:v>
                </c:pt>
                <c:pt idx="2">
                  <c:v>2103143</c:v>
                </c:pt>
                <c:pt idx="3">
                  <c:v>2129566</c:v>
                </c:pt>
                <c:pt idx="4">
                  <c:v>2548254</c:v>
                </c:pt>
                <c:pt idx="5">
                  <c:v>2503887</c:v>
                </c:pt>
                <c:pt idx="6">
                  <c:v>2444160</c:v>
                </c:pt>
                <c:pt idx="7">
                  <c:v>2407774</c:v>
                </c:pt>
                <c:pt idx="8">
                  <c:v>2466164</c:v>
                </c:pt>
                <c:pt idx="9">
                  <c:v>2618509</c:v>
                </c:pt>
                <c:pt idx="10">
                  <c:v>2625586</c:v>
                </c:pt>
                <c:pt idx="11">
                  <c:v>3101665</c:v>
                </c:pt>
                <c:pt idx="12">
                  <c:v>2496834</c:v>
                </c:pt>
                <c:pt idx="13">
                  <c:v>2253970</c:v>
                </c:pt>
                <c:pt idx="14">
                  <c:v>2328602</c:v>
                </c:pt>
                <c:pt idx="15">
                  <c:v>2288820</c:v>
                </c:pt>
                <c:pt idx="16">
                  <c:v>2199523</c:v>
                </c:pt>
                <c:pt idx="17">
                  <c:v>2212474</c:v>
                </c:pt>
                <c:pt idx="18">
                  <c:v>2229430</c:v>
                </c:pt>
                <c:pt idx="19">
                  <c:v>2553347</c:v>
                </c:pt>
                <c:pt idx="20">
                  <c:v>2744929</c:v>
                </c:pt>
                <c:pt idx="21">
                  <c:v>2820767</c:v>
                </c:pt>
                <c:pt idx="22">
                  <c:v>3046326</c:v>
                </c:pt>
                <c:pt idx="23">
                  <c:v>3567498</c:v>
                </c:pt>
                <c:pt idx="24">
                  <c:v>3020893</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2.0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3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2.2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2.08</c:v>
                </c:pt>
                <c:pt idx="1">
                  <c:v>2.04</c:v>
                </c:pt>
                <c:pt idx="2">
                  <c:v>2.08</c:v>
                </c:pt>
                <c:pt idx="3">
                  <c:v>2.1</c:v>
                </c:pt>
                <c:pt idx="4">
                  <c:v>2.25</c:v>
                </c:pt>
                <c:pt idx="5">
                  <c:v>2.3</c:v>
                </c:pt>
                <c:pt idx="6">
                  <c:v>1.92</c:v>
                </c:pt>
                <c:pt idx="7">
                  <c:v>2.34</c:v>
                </c:pt>
                <c:pt idx="8">
                  <c:v>2.43</c:v>
                </c:pt>
                <c:pt idx="9">
                  <c:v>2.22</c:v>
                </c:pt>
                <c:pt idx="10">
                  <c:v>2.28</c:v>
                </c:pt>
                <c:pt idx="11">
                  <c:v>2.02</c:v>
                </c:pt>
                <c:pt idx="12">
                  <c:v>2.36</c:v>
                </c:pt>
                <c:pt idx="13">
                  <c:v>2.36</c:v>
                </c:pt>
                <c:pt idx="14">
                  <c:v>2.25</c:v>
                </c:pt>
                <c:pt idx="15">
                  <c:v>2.18</c:v>
                </c:pt>
                <c:pt idx="16">
                  <c:v>2.23</c:v>
                </c:pt>
                <c:pt idx="17">
                  <c:v>2.32</c:v>
                </c:pt>
                <c:pt idx="18">
                  <c:v>2.29</c:v>
                </c:pt>
                <c:pt idx="19">
                  <c:v>2.12</c:v>
                </c:pt>
                <c:pt idx="20">
                  <c:v>2.34</c:v>
                </c:pt>
                <c:pt idx="21">
                  <c:v>2.39</c:v>
                </c:pt>
                <c:pt idx="22">
                  <c:v>2.38</c:v>
                </c:pt>
                <c:pt idx="23">
                  <c:v>2.06</c:v>
                </c:pt>
                <c:pt idx="24">
                  <c:v>2.29</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031,15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004,30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146,19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1031155</c:v>
                </c:pt>
                <c:pt idx="1">
                  <c:v>977061</c:v>
                </c:pt>
                <c:pt idx="2">
                  <c:v>956129</c:v>
                </c:pt>
                <c:pt idx="3">
                  <c:v>883232</c:v>
                </c:pt>
                <c:pt idx="4">
                  <c:v>952084</c:v>
                </c:pt>
                <c:pt idx="5">
                  <c:v>943678</c:v>
                </c:pt>
                <c:pt idx="6">
                  <c:v>859963</c:v>
                </c:pt>
                <c:pt idx="7">
                  <c:v>957237</c:v>
                </c:pt>
                <c:pt idx="8">
                  <c:v>947759</c:v>
                </c:pt>
                <c:pt idx="9">
                  <c:v>1063147</c:v>
                </c:pt>
                <c:pt idx="10">
                  <c:v>1308840</c:v>
                </c:pt>
                <c:pt idx="11">
                  <c:v>1426413</c:v>
                </c:pt>
                <c:pt idx="12">
                  <c:v>1143300</c:v>
                </c:pt>
                <c:pt idx="13">
                  <c:v>1004302</c:v>
                </c:pt>
                <c:pt idx="14">
                  <c:v>1082596</c:v>
                </c:pt>
                <c:pt idx="15">
                  <c:v>954622</c:v>
                </c:pt>
                <c:pt idx="16">
                  <c:v>977181</c:v>
                </c:pt>
                <c:pt idx="17">
                  <c:v>931954</c:v>
                </c:pt>
                <c:pt idx="18">
                  <c:v>1013038</c:v>
                </c:pt>
                <c:pt idx="19">
                  <c:v>1353221</c:v>
                </c:pt>
                <c:pt idx="20">
                  <c:v>1181924</c:v>
                </c:pt>
                <c:pt idx="21">
                  <c:v>1166439</c:v>
                </c:pt>
                <c:pt idx="22">
                  <c:v>1210042</c:v>
                </c:pt>
                <c:pt idx="23">
                  <c:v>1414181</c:v>
                </c:pt>
                <c:pt idx="24">
                  <c:v>1146193</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2.6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4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2.6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2.68</c:v>
                </c:pt>
                <c:pt idx="1">
                  <c:v>2.77</c:v>
                </c:pt>
                <c:pt idx="2">
                  <c:v>2.8</c:v>
                </c:pt>
                <c:pt idx="3">
                  <c:v>2.77</c:v>
                </c:pt>
                <c:pt idx="4">
                  <c:v>2.88</c:v>
                </c:pt>
                <c:pt idx="5">
                  <c:v>2.92</c:v>
                </c:pt>
                <c:pt idx="6">
                  <c:v>2.67</c:v>
                </c:pt>
                <c:pt idx="7">
                  <c:v>2.84</c:v>
                </c:pt>
                <c:pt idx="8">
                  <c:v>2.84</c:v>
                </c:pt>
                <c:pt idx="9">
                  <c:v>2.7</c:v>
                </c:pt>
                <c:pt idx="10">
                  <c:v>2.51</c:v>
                </c:pt>
                <c:pt idx="11">
                  <c:v>2.51</c:v>
                </c:pt>
                <c:pt idx="12">
                  <c:v>2.59</c:v>
                </c:pt>
                <c:pt idx="13">
                  <c:v>2.48</c:v>
                </c:pt>
                <c:pt idx="14">
                  <c:v>2.25</c:v>
                </c:pt>
                <c:pt idx="15">
                  <c:v>2.37</c:v>
                </c:pt>
                <c:pt idx="16">
                  <c:v>2.37</c:v>
                </c:pt>
                <c:pt idx="17">
                  <c:v>2.34</c:v>
                </c:pt>
                <c:pt idx="18">
                  <c:v>2.42</c:v>
                </c:pt>
                <c:pt idx="19">
                  <c:v>2.17</c:v>
                </c:pt>
                <c:pt idx="20">
                  <c:v>2.28</c:v>
                </c:pt>
                <c:pt idx="21">
                  <c:v>2.36</c:v>
                </c:pt>
                <c:pt idx="22">
                  <c:v>2.48</c:v>
                </c:pt>
                <c:pt idx="23">
                  <c:v>2.56</c:v>
                </c:pt>
                <c:pt idx="24">
                  <c:v>2.69</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4,130,80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4,517,28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5,973,97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4130808</c:v>
                </c:pt>
                <c:pt idx="1">
                  <c:v>3814805</c:v>
                </c:pt>
                <c:pt idx="2">
                  <c:v>3877721</c:v>
                </c:pt>
                <c:pt idx="3">
                  <c:v>3771687</c:v>
                </c:pt>
                <c:pt idx="4">
                  <c:v>3758108</c:v>
                </c:pt>
                <c:pt idx="5">
                  <c:v>4092945</c:v>
                </c:pt>
                <c:pt idx="6">
                  <c:v>3863803</c:v>
                </c:pt>
                <c:pt idx="7">
                  <c:v>4187577</c:v>
                </c:pt>
                <c:pt idx="8">
                  <c:v>4122257</c:v>
                </c:pt>
                <c:pt idx="9">
                  <c:v>4548698</c:v>
                </c:pt>
                <c:pt idx="10">
                  <c:v>4770897</c:v>
                </c:pt>
                <c:pt idx="11">
                  <c:v>5744507</c:v>
                </c:pt>
                <c:pt idx="12">
                  <c:v>4997167</c:v>
                </c:pt>
                <c:pt idx="13">
                  <c:v>4517288</c:v>
                </c:pt>
                <c:pt idx="14">
                  <c:v>4608627</c:v>
                </c:pt>
                <c:pt idx="15">
                  <c:v>4462849</c:v>
                </c:pt>
                <c:pt idx="16">
                  <c:v>4295761</c:v>
                </c:pt>
                <c:pt idx="17">
                  <c:v>4480186</c:v>
                </c:pt>
                <c:pt idx="18">
                  <c:v>4407364</c:v>
                </c:pt>
                <c:pt idx="19">
                  <c:v>5141571</c:v>
                </c:pt>
                <c:pt idx="20">
                  <c:v>5245460</c:v>
                </c:pt>
                <c:pt idx="21">
                  <c:v>5618522</c:v>
                </c:pt>
                <c:pt idx="22">
                  <c:v>5710580</c:v>
                </c:pt>
                <c:pt idx="23">
                  <c:v>6805011</c:v>
                </c:pt>
                <c:pt idx="24">
                  <c:v>5973977</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2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7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2.7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22</c:v>
                </c:pt>
                <c:pt idx="1">
                  <c:v>3.0</c:v>
                </c:pt>
                <c:pt idx="2">
                  <c:v>2.98</c:v>
                </c:pt>
                <c:pt idx="3">
                  <c:v>3.03</c:v>
                </c:pt>
                <c:pt idx="4">
                  <c:v>3.15</c:v>
                </c:pt>
                <c:pt idx="5">
                  <c:v>3.17</c:v>
                </c:pt>
                <c:pt idx="6">
                  <c:v>3.09</c:v>
                </c:pt>
                <c:pt idx="7">
                  <c:v>3.01</c:v>
                </c:pt>
                <c:pt idx="8">
                  <c:v>2.97</c:v>
                </c:pt>
                <c:pt idx="9">
                  <c:v>2.9</c:v>
                </c:pt>
                <c:pt idx="10">
                  <c:v>2.98</c:v>
                </c:pt>
                <c:pt idx="11">
                  <c:v>2.71</c:v>
                </c:pt>
                <c:pt idx="12">
                  <c:v>2.81</c:v>
                </c:pt>
                <c:pt idx="13">
                  <c:v>2.79</c:v>
                </c:pt>
                <c:pt idx="14">
                  <c:v>2.78</c:v>
                </c:pt>
                <c:pt idx="15">
                  <c:v>2.75</c:v>
                </c:pt>
                <c:pt idx="16">
                  <c:v>2.73</c:v>
                </c:pt>
                <c:pt idx="17">
                  <c:v>2.59</c:v>
                </c:pt>
                <c:pt idx="18">
                  <c:v>2.63</c:v>
                </c:pt>
                <c:pt idx="19">
                  <c:v>2.79</c:v>
                </c:pt>
                <c:pt idx="20">
                  <c:v>2.74</c:v>
                </c:pt>
                <c:pt idx="21">
                  <c:v>2.69</c:v>
                </c:pt>
                <c:pt idx="22">
                  <c:v>2.75</c:v>
                </c:pt>
                <c:pt idx="23">
                  <c:v>2.62</c:v>
                </c:pt>
                <c:pt idx="24">
                  <c:v>2.72</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519,67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386,75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509,89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1519677</c:v>
                </c:pt>
                <c:pt idx="1">
                  <c:v>1395359</c:v>
                </c:pt>
                <c:pt idx="2">
                  <c:v>1374335</c:v>
                </c:pt>
                <c:pt idx="3">
                  <c:v>1293169</c:v>
                </c:pt>
                <c:pt idx="4">
                  <c:v>1381743</c:v>
                </c:pt>
                <c:pt idx="5">
                  <c:v>1365494</c:v>
                </c:pt>
                <c:pt idx="6">
                  <c:v>1261320</c:v>
                </c:pt>
                <c:pt idx="7">
                  <c:v>1480056</c:v>
                </c:pt>
                <c:pt idx="8">
                  <c:v>1464624</c:v>
                </c:pt>
                <c:pt idx="9">
                  <c:v>1549555</c:v>
                </c:pt>
                <c:pt idx="10">
                  <c:v>1557712</c:v>
                </c:pt>
                <c:pt idx="11">
                  <c:v>1596156</c:v>
                </c:pt>
                <c:pt idx="12">
                  <c:v>1524210</c:v>
                </c:pt>
                <c:pt idx="13">
                  <c:v>1386758</c:v>
                </c:pt>
                <c:pt idx="14">
                  <c:v>1347867</c:v>
                </c:pt>
                <c:pt idx="15">
                  <c:v>1266851</c:v>
                </c:pt>
                <c:pt idx="16">
                  <c:v>1461131</c:v>
                </c:pt>
                <c:pt idx="17">
                  <c:v>1298271</c:v>
                </c:pt>
                <c:pt idx="18">
                  <c:v>1293565</c:v>
                </c:pt>
                <c:pt idx="19">
                  <c:v>1474448</c:v>
                </c:pt>
                <c:pt idx="20">
                  <c:v>1449672</c:v>
                </c:pt>
                <c:pt idx="21">
                  <c:v>1540280</c:v>
                </c:pt>
                <c:pt idx="22">
                  <c:v>1599747</c:v>
                </c:pt>
                <c:pt idx="23">
                  <c:v>1598650</c:v>
                </c:pt>
                <c:pt idx="24">
                  <c:v>1509894</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1.4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4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1.41</c:v>
                </c:pt>
                <c:pt idx="1">
                  <c:v>1.4</c:v>
                </c:pt>
                <c:pt idx="2">
                  <c:v>1.39</c:v>
                </c:pt>
                <c:pt idx="3">
                  <c:v>1.37</c:v>
                </c:pt>
                <c:pt idx="4">
                  <c:v>1.36</c:v>
                </c:pt>
                <c:pt idx="5">
                  <c:v>1.34</c:v>
                </c:pt>
                <c:pt idx="6">
                  <c:v>1.37</c:v>
                </c:pt>
                <c:pt idx="7">
                  <c:v>1.41</c:v>
                </c:pt>
                <c:pt idx="8">
                  <c:v>1.43</c:v>
                </c:pt>
                <c:pt idx="9">
                  <c:v>1.44</c:v>
                </c:pt>
                <c:pt idx="10">
                  <c:v>1.45</c:v>
                </c:pt>
                <c:pt idx="11">
                  <c:v>1.45</c:v>
                </c:pt>
                <c:pt idx="12">
                  <c:v>1.43</c:v>
                </c:pt>
                <c:pt idx="13">
                  <c:v>1.42</c:v>
                </c:pt>
                <c:pt idx="14">
                  <c:v>1.4</c:v>
                </c:pt>
                <c:pt idx="15">
                  <c:v>1.42</c:v>
                </c:pt>
                <c:pt idx="16">
                  <c:v>1.43</c:v>
                </c:pt>
                <c:pt idx="17">
                  <c:v>1.38</c:v>
                </c:pt>
                <c:pt idx="18">
                  <c:v>1.39</c:v>
                </c:pt>
                <c:pt idx="19">
                  <c:v>1.43</c:v>
                </c:pt>
                <c:pt idx="20">
                  <c:v>1.42</c:v>
                </c:pt>
                <c:pt idx="21">
                  <c:v>1.43</c:v>
                </c:pt>
                <c:pt idx="22">
                  <c:v>1.45</c:v>
                </c:pt>
                <c:pt idx="23">
                  <c:v>1.43</c:v>
                </c:pt>
                <c:pt idx="24">
                  <c:v>1.4</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65,80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58,72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36,02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65805</c:v>
                </c:pt>
                <c:pt idx="1">
                  <c:v>42663</c:v>
                </c:pt>
                <c:pt idx="2">
                  <c:v>66809</c:v>
                </c:pt>
                <c:pt idx="3">
                  <c:v>43981</c:v>
                </c:pt>
                <c:pt idx="4">
                  <c:v>57321</c:v>
                </c:pt>
                <c:pt idx="5">
                  <c:v>56400</c:v>
                </c:pt>
                <c:pt idx="6">
                  <c:v>62815</c:v>
                </c:pt>
                <c:pt idx="7">
                  <c:v>81377</c:v>
                </c:pt>
                <c:pt idx="8">
                  <c:v>53197</c:v>
                </c:pt>
                <c:pt idx="9">
                  <c:v>68572</c:v>
                </c:pt>
                <c:pt idx="10">
                  <c:v>52919</c:v>
                </c:pt>
                <c:pt idx="11">
                  <c:v>76888</c:v>
                </c:pt>
                <c:pt idx="12">
                  <c:v>59008</c:v>
                </c:pt>
                <c:pt idx="13">
                  <c:v>58727</c:v>
                </c:pt>
                <c:pt idx="14">
                  <c:v>63391</c:v>
                </c:pt>
                <c:pt idx="15">
                  <c:v>51184</c:v>
                </c:pt>
                <c:pt idx="16">
                  <c:v>72034</c:v>
                </c:pt>
                <c:pt idx="17">
                  <c:v>52447</c:v>
                </c:pt>
                <c:pt idx="18">
                  <c:v>58757</c:v>
                </c:pt>
                <c:pt idx="19">
                  <c:v>39230</c:v>
                </c:pt>
                <c:pt idx="20">
                  <c:v>41843</c:v>
                </c:pt>
                <c:pt idx="21">
                  <c:v>53278</c:v>
                </c:pt>
                <c:pt idx="22">
                  <c:v>46728</c:v>
                </c:pt>
                <c:pt idx="23">
                  <c:v>38532</c:v>
                </c:pt>
                <c:pt idx="24">
                  <c:v>36027</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0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4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08</c:v>
                </c:pt>
                <c:pt idx="1">
                  <c:v>2.31</c:v>
                </c:pt>
                <c:pt idx="2">
                  <c:v>2.82</c:v>
                </c:pt>
                <c:pt idx="3">
                  <c:v>2.29</c:v>
                </c:pt>
                <c:pt idx="4">
                  <c:v>2.57</c:v>
                </c:pt>
                <c:pt idx="5">
                  <c:v>2.67</c:v>
                </c:pt>
                <c:pt idx="6">
                  <c:v>3.06</c:v>
                </c:pt>
                <c:pt idx="7">
                  <c:v>2.82</c:v>
                </c:pt>
                <c:pt idx="8">
                  <c:v>2.67</c:v>
                </c:pt>
                <c:pt idx="9">
                  <c:v>2.56</c:v>
                </c:pt>
                <c:pt idx="10">
                  <c:v>2.59</c:v>
                </c:pt>
                <c:pt idx="11">
                  <c:v>2.02</c:v>
                </c:pt>
                <c:pt idx="12">
                  <c:v>1.54</c:v>
                </c:pt>
                <c:pt idx="13">
                  <c:v>1.77</c:v>
                </c:pt>
                <c:pt idx="14">
                  <c:v>1.66</c:v>
                </c:pt>
                <c:pt idx="15">
                  <c:v>1.97</c:v>
                </c:pt>
                <c:pt idx="16">
                  <c:v>1.97</c:v>
                </c:pt>
                <c:pt idx="17">
                  <c:v>1.5</c:v>
                </c:pt>
                <c:pt idx="18">
                  <c:v>2.03</c:v>
                </c:pt>
                <c:pt idx="19">
                  <c:v>1.5</c:v>
                </c:pt>
                <c:pt idx="20">
                  <c:v>1.61</c:v>
                </c:pt>
                <c:pt idx="21">
                  <c:v>1.74</c:v>
                </c:pt>
                <c:pt idx="22">
                  <c:v>1.75</c:v>
                </c:pt>
                <c:pt idx="23">
                  <c:v>1.69</c:v>
                </c:pt>
                <c:pt idx="24">
                  <c:v>1.49</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474,20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353,60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594,16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474205</c:v>
                </c:pt>
                <c:pt idx="1">
                  <c:v>371480</c:v>
                </c:pt>
                <c:pt idx="2">
                  <c:v>473746</c:v>
                </c:pt>
                <c:pt idx="3">
                  <c:v>321611</c:v>
                </c:pt>
                <c:pt idx="4">
                  <c:v>318698</c:v>
                </c:pt>
                <c:pt idx="5">
                  <c:v>329359</c:v>
                </c:pt>
                <c:pt idx="6">
                  <c:v>352474</c:v>
                </c:pt>
                <c:pt idx="7">
                  <c:v>314544</c:v>
                </c:pt>
                <c:pt idx="8">
                  <c:v>238466</c:v>
                </c:pt>
                <c:pt idx="9">
                  <c:v>265286</c:v>
                </c:pt>
                <c:pt idx="10">
                  <c:v>284113</c:v>
                </c:pt>
                <c:pt idx="11">
                  <c:v>524486</c:v>
                </c:pt>
                <c:pt idx="12">
                  <c:v>366970</c:v>
                </c:pt>
                <c:pt idx="13">
                  <c:v>353608</c:v>
                </c:pt>
                <c:pt idx="14">
                  <c:v>411214</c:v>
                </c:pt>
                <c:pt idx="15">
                  <c:v>386695</c:v>
                </c:pt>
                <c:pt idx="16">
                  <c:v>458123</c:v>
                </c:pt>
                <c:pt idx="17">
                  <c:v>408252</c:v>
                </c:pt>
                <c:pt idx="18">
                  <c:v>405842</c:v>
                </c:pt>
                <c:pt idx="19">
                  <c:v>515672</c:v>
                </c:pt>
                <c:pt idx="20">
                  <c:v>525650</c:v>
                </c:pt>
                <c:pt idx="21">
                  <c:v>598279</c:v>
                </c:pt>
                <c:pt idx="22">
                  <c:v>578677</c:v>
                </c:pt>
                <c:pt idx="23">
                  <c:v>819877</c:v>
                </c:pt>
                <c:pt idx="24">
                  <c:v>594162</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4.0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3.4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3.5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4.05</c:v>
                </c:pt>
                <c:pt idx="1">
                  <c:v>4.27</c:v>
                </c:pt>
                <c:pt idx="2">
                  <c:v>4.06</c:v>
                </c:pt>
                <c:pt idx="3">
                  <c:v>4.54</c:v>
                </c:pt>
                <c:pt idx="4">
                  <c:v>4.82</c:v>
                </c:pt>
                <c:pt idx="5">
                  <c:v>4.81</c:v>
                </c:pt>
                <c:pt idx="6">
                  <c:v>4.2</c:v>
                </c:pt>
                <c:pt idx="7">
                  <c:v>4.01</c:v>
                </c:pt>
                <c:pt idx="8">
                  <c:v>3.72</c:v>
                </c:pt>
                <c:pt idx="9">
                  <c:v>3.33</c:v>
                </c:pt>
                <c:pt idx="10">
                  <c:v>3.54</c:v>
                </c:pt>
                <c:pt idx="11">
                  <c:v>3.53</c:v>
                </c:pt>
                <c:pt idx="12">
                  <c:v>3.52</c:v>
                </c:pt>
                <c:pt idx="13">
                  <c:v>3.43</c:v>
                </c:pt>
                <c:pt idx="14">
                  <c:v>3.23</c:v>
                </c:pt>
                <c:pt idx="15">
                  <c:v>3.61</c:v>
                </c:pt>
                <c:pt idx="16">
                  <c:v>4.15</c:v>
                </c:pt>
                <c:pt idx="17">
                  <c:v>4.03</c:v>
                </c:pt>
                <c:pt idx="18">
                  <c:v>3.89</c:v>
                </c:pt>
                <c:pt idx="19">
                  <c:v>3.53</c:v>
                </c:pt>
                <c:pt idx="20">
                  <c:v>3.66</c:v>
                </c:pt>
                <c:pt idx="21">
                  <c:v>3.64</c:v>
                </c:pt>
                <c:pt idx="22">
                  <c:v>3.96</c:v>
                </c:pt>
                <c:pt idx="23">
                  <c:v>3.45</c:v>
                </c:pt>
                <c:pt idx="24">
                  <c:v>3.59</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503,56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435,51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549,92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503563</c:v>
                </c:pt>
                <c:pt idx="1">
                  <c:v>483616</c:v>
                </c:pt>
                <c:pt idx="2">
                  <c:v>479453</c:v>
                </c:pt>
                <c:pt idx="3">
                  <c:v>441226</c:v>
                </c:pt>
                <c:pt idx="4">
                  <c:v>569960</c:v>
                </c:pt>
                <c:pt idx="5">
                  <c:v>504070</c:v>
                </c:pt>
                <c:pt idx="6">
                  <c:v>442229</c:v>
                </c:pt>
                <c:pt idx="7">
                  <c:v>544377</c:v>
                </c:pt>
                <c:pt idx="8">
                  <c:v>463737</c:v>
                </c:pt>
                <c:pt idx="9">
                  <c:v>412118</c:v>
                </c:pt>
                <c:pt idx="10">
                  <c:v>441688</c:v>
                </c:pt>
                <c:pt idx="11">
                  <c:v>477047</c:v>
                </c:pt>
                <c:pt idx="12">
                  <c:v>428909</c:v>
                </c:pt>
                <c:pt idx="13">
                  <c:v>435519</c:v>
                </c:pt>
                <c:pt idx="14">
                  <c:v>437287</c:v>
                </c:pt>
                <c:pt idx="15">
                  <c:v>365822</c:v>
                </c:pt>
                <c:pt idx="16">
                  <c:v>412027</c:v>
                </c:pt>
                <c:pt idx="17">
                  <c:v>375545</c:v>
                </c:pt>
                <c:pt idx="18">
                  <c:v>411722</c:v>
                </c:pt>
                <c:pt idx="19">
                  <c:v>469890</c:v>
                </c:pt>
                <c:pt idx="20">
                  <c:v>480731</c:v>
                </c:pt>
                <c:pt idx="21">
                  <c:v>482534</c:v>
                </c:pt>
                <c:pt idx="22">
                  <c:v>504813</c:v>
                </c:pt>
                <c:pt idx="23">
                  <c:v>554490</c:v>
                </c:pt>
                <c:pt idx="24">
                  <c:v>549926</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2.5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5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2.5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2.55</c:v>
                </c:pt>
                <c:pt idx="1">
                  <c:v>2.58</c:v>
                </c:pt>
                <c:pt idx="2">
                  <c:v>2.53</c:v>
                </c:pt>
                <c:pt idx="3">
                  <c:v>2.42</c:v>
                </c:pt>
                <c:pt idx="4">
                  <c:v>2.51</c:v>
                </c:pt>
                <c:pt idx="5">
                  <c:v>2.44</c:v>
                </c:pt>
                <c:pt idx="6">
                  <c:v>2.39</c:v>
                </c:pt>
                <c:pt idx="7">
                  <c:v>2.53</c:v>
                </c:pt>
                <c:pt idx="8">
                  <c:v>2.37</c:v>
                </c:pt>
                <c:pt idx="9">
                  <c:v>2.43</c:v>
                </c:pt>
                <c:pt idx="10">
                  <c:v>2.51</c:v>
                </c:pt>
                <c:pt idx="11">
                  <c:v>2.49</c:v>
                </c:pt>
                <c:pt idx="12">
                  <c:v>2.45</c:v>
                </c:pt>
                <c:pt idx="13">
                  <c:v>2.5</c:v>
                </c:pt>
                <c:pt idx="14">
                  <c:v>2.44</c:v>
                </c:pt>
                <c:pt idx="15">
                  <c:v>2.41</c:v>
                </c:pt>
                <c:pt idx="16">
                  <c:v>2.35</c:v>
                </c:pt>
                <c:pt idx="17">
                  <c:v>2.39</c:v>
                </c:pt>
                <c:pt idx="18">
                  <c:v>2.53</c:v>
                </c:pt>
                <c:pt idx="19">
                  <c:v>2.58</c:v>
                </c:pt>
                <c:pt idx="20">
                  <c:v>2.59</c:v>
                </c:pt>
                <c:pt idx="21">
                  <c:v>2.58</c:v>
                </c:pt>
                <c:pt idx="22">
                  <c:v>2.65</c:v>
                </c:pt>
                <c:pt idx="23">
                  <c:v>2.63</c:v>
                </c:pt>
                <c:pt idx="24">
                  <c:v>2.59</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336,16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303,57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399,52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336167</c:v>
                </c:pt>
                <c:pt idx="1">
                  <c:v>294472</c:v>
                </c:pt>
                <c:pt idx="2">
                  <c:v>261992</c:v>
                </c:pt>
                <c:pt idx="3">
                  <c:v>280764</c:v>
                </c:pt>
                <c:pt idx="4">
                  <c:v>263051</c:v>
                </c:pt>
                <c:pt idx="5">
                  <c:v>263271</c:v>
                </c:pt>
                <c:pt idx="6">
                  <c:v>268241</c:v>
                </c:pt>
                <c:pt idx="7">
                  <c:v>294752</c:v>
                </c:pt>
                <c:pt idx="8">
                  <c:v>306637</c:v>
                </c:pt>
                <c:pt idx="9">
                  <c:v>351708</c:v>
                </c:pt>
                <c:pt idx="10">
                  <c:v>443581</c:v>
                </c:pt>
                <c:pt idx="11">
                  <c:v>355954</c:v>
                </c:pt>
                <c:pt idx="12">
                  <c:v>314209</c:v>
                </c:pt>
                <c:pt idx="13">
                  <c:v>303574</c:v>
                </c:pt>
                <c:pt idx="14">
                  <c:v>270449</c:v>
                </c:pt>
                <c:pt idx="15">
                  <c:v>245262</c:v>
                </c:pt>
                <c:pt idx="16">
                  <c:v>259979</c:v>
                </c:pt>
                <c:pt idx="17">
                  <c:v>231896</c:v>
                </c:pt>
                <c:pt idx="18">
                  <c:v>291292</c:v>
                </c:pt>
                <c:pt idx="19">
                  <c:v>362836</c:v>
                </c:pt>
                <c:pt idx="20">
                  <c:v>395856</c:v>
                </c:pt>
                <c:pt idx="21">
                  <c:v>423313</c:v>
                </c:pt>
                <c:pt idx="22">
                  <c:v>468562</c:v>
                </c:pt>
                <c:pt idx="23">
                  <c:v>476029</c:v>
                </c:pt>
                <c:pt idx="24">
                  <c:v>399521</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1.5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0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2.4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1.56</c:v>
                </c:pt>
                <c:pt idx="1">
                  <c:v>1.51</c:v>
                </c:pt>
                <c:pt idx="2">
                  <c:v>1.37</c:v>
                </c:pt>
                <c:pt idx="3">
                  <c:v>1.04</c:v>
                </c:pt>
                <c:pt idx="4">
                  <c:v>1.34</c:v>
                </c:pt>
                <c:pt idx="5">
                  <c:v>1.23</c:v>
                </c:pt>
                <c:pt idx="6">
                  <c:v>1.2</c:v>
                </c:pt>
                <c:pt idx="7">
                  <c:v>1.72</c:v>
                </c:pt>
                <c:pt idx="8">
                  <c:v>1.77</c:v>
                </c:pt>
                <c:pt idx="9">
                  <c:v>1.83</c:v>
                </c:pt>
                <c:pt idx="10">
                  <c:v>2.02</c:v>
                </c:pt>
                <c:pt idx="11">
                  <c:v>1.93</c:v>
                </c:pt>
                <c:pt idx="12">
                  <c:v>2.02</c:v>
                </c:pt>
                <c:pt idx="13">
                  <c:v>2.09</c:v>
                </c:pt>
                <c:pt idx="14">
                  <c:v>1.66</c:v>
                </c:pt>
                <c:pt idx="15">
                  <c:v>2.07</c:v>
                </c:pt>
                <c:pt idx="16">
                  <c:v>1.9</c:v>
                </c:pt>
                <c:pt idx="17">
                  <c:v>2.22</c:v>
                </c:pt>
                <c:pt idx="18">
                  <c:v>2.49</c:v>
                </c:pt>
                <c:pt idx="19">
                  <c:v>2.54</c:v>
                </c:pt>
                <c:pt idx="20">
                  <c:v>2.56</c:v>
                </c:pt>
                <c:pt idx="21">
                  <c:v>2.47</c:v>
                </c:pt>
                <c:pt idx="22">
                  <c:v>2.59</c:v>
                </c:pt>
                <c:pt idx="23">
                  <c:v>2.7</c:v>
                </c:pt>
                <c:pt idx="24">
                  <c:v>2.46</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242,73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015,13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3,667,16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2242734</c:v>
                </c:pt>
                <c:pt idx="1">
                  <c:v>1872387</c:v>
                </c:pt>
                <c:pt idx="2">
                  <c:v>1724223</c:v>
                </c:pt>
                <c:pt idx="3">
                  <c:v>1737857</c:v>
                </c:pt>
                <c:pt idx="4">
                  <c:v>2065864</c:v>
                </c:pt>
                <c:pt idx="5">
                  <c:v>1684288</c:v>
                </c:pt>
                <c:pt idx="6">
                  <c:v>1919957</c:v>
                </c:pt>
                <c:pt idx="7">
                  <c:v>2339045</c:v>
                </c:pt>
                <c:pt idx="8">
                  <c:v>2181072</c:v>
                </c:pt>
                <c:pt idx="9">
                  <c:v>3254542</c:v>
                </c:pt>
                <c:pt idx="10">
                  <c:v>2726861</c:v>
                </c:pt>
                <c:pt idx="11">
                  <c:v>2524118</c:v>
                </c:pt>
                <c:pt idx="12">
                  <c:v>2338300</c:v>
                </c:pt>
                <c:pt idx="13">
                  <c:v>2015139</c:v>
                </c:pt>
                <c:pt idx="14">
                  <c:v>1773054</c:v>
                </c:pt>
                <c:pt idx="15">
                  <c:v>1889367</c:v>
                </c:pt>
                <c:pt idx="16">
                  <c:v>2055030</c:v>
                </c:pt>
                <c:pt idx="17">
                  <c:v>1710231</c:v>
                </c:pt>
                <c:pt idx="18">
                  <c:v>1837168</c:v>
                </c:pt>
                <c:pt idx="19">
                  <c:v>2040129</c:v>
                </c:pt>
                <c:pt idx="20">
                  <c:v>2602895</c:v>
                </c:pt>
                <c:pt idx="21">
                  <c:v>2659275</c:v>
                </c:pt>
                <c:pt idx="22">
                  <c:v>2571666</c:v>
                </c:pt>
                <c:pt idx="23">
                  <c:v>2808470</c:v>
                </c:pt>
                <c:pt idx="24">
                  <c:v>3667167</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6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4.1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2.7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66</c:v>
                </c:pt>
                <c:pt idx="1">
                  <c:v>3.66</c:v>
                </c:pt>
                <c:pt idx="2">
                  <c:v>3.57</c:v>
                </c:pt>
                <c:pt idx="3">
                  <c:v>3.63</c:v>
                </c:pt>
                <c:pt idx="4">
                  <c:v>3.93</c:v>
                </c:pt>
                <c:pt idx="5">
                  <c:v>3.74</c:v>
                </c:pt>
                <c:pt idx="6">
                  <c:v>3.52</c:v>
                </c:pt>
                <c:pt idx="7">
                  <c:v>3.9</c:v>
                </c:pt>
                <c:pt idx="8">
                  <c:v>3.65</c:v>
                </c:pt>
                <c:pt idx="9">
                  <c:v>3.58</c:v>
                </c:pt>
                <c:pt idx="10">
                  <c:v>3.78</c:v>
                </c:pt>
                <c:pt idx="11">
                  <c:v>3.82</c:v>
                </c:pt>
                <c:pt idx="12">
                  <c:v>3.85</c:v>
                </c:pt>
                <c:pt idx="13">
                  <c:v>4.1</c:v>
                </c:pt>
                <c:pt idx="14">
                  <c:v>3.82</c:v>
                </c:pt>
                <c:pt idx="15">
                  <c:v>3.45</c:v>
                </c:pt>
                <c:pt idx="16">
                  <c:v>3.87</c:v>
                </c:pt>
                <c:pt idx="17">
                  <c:v>3.46</c:v>
                </c:pt>
                <c:pt idx="18">
                  <c:v>3.29</c:v>
                </c:pt>
                <c:pt idx="19">
                  <c:v>3.49</c:v>
                </c:pt>
                <c:pt idx="20">
                  <c:v>2.97</c:v>
                </c:pt>
                <c:pt idx="21">
                  <c:v>2.98</c:v>
                </c:pt>
                <c:pt idx="22">
                  <c:v>3.47</c:v>
                </c:pt>
                <c:pt idx="23">
                  <c:v>3.53</c:v>
                </c:pt>
                <c:pt idx="24">
                  <c:v>2.71</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303,06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147,50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397,83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1303060</c:v>
                </c:pt>
                <c:pt idx="1">
                  <c:v>1159449</c:v>
                </c:pt>
                <c:pt idx="2">
                  <c:v>1431958</c:v>
                </c:pt>
                <c:pt idx="3">
                  <c:v>1036110</c:v>
                </c:pt>
                <c:pt idx="4">
                  <c:v>1124658</c:v>
                </c:pt>
                <c:pt idx="5">
                  <c:v>967190</c:v>
                </c:pt>
                <c:pt idx="6">
                  <c:v>1260329</c:v>
                </c:pt>
                <c:pt idx="7">
                  <c:v>1946139</c:v>
                </c:pt>
                <c:pt idx="8">
                  <c:v>1539928</c:v>
                </c:pt>
                <c:pt idx="9">
                  <c:v>1459709</c:v>
                </c:pt>
                <c:pt idx="10">
                  <c:v>2002431</c:v>
                </c:pt>
                <c:pt idx="11">
                  <c:v>1734186</c:v>
                </c:pt>
                <c:pt idx="12">
                  <c:v>1450057</c:v>
                </c:pt>
                <c:pt idx="13">
                  <c:v>1147505</c:v>
                </c:pt>
                <c:pt idx="14">
                  <c:v>1434440</c:v>
                </c:pt>
                <c:pt idx="15">
                  <c:v>1005808</c:v>
                </c:pt>
                <c:pt idx="16">
                  <c:v>1194246</c:v>
                </c:pt>
                <c:pt idx="17">
                  <c:v>822411</c:v>
                </c:pt>
                <c:pt idx="18">
                  <c:v>785893</c:v>
                </c:pt>
                <c:pt idx="19">
                  <c:v>963298</c:v>
                </c:pt>
                <c:pt idx="20">
                  <c:v>1010875</c:v>
                </c:pt>
                <c:pt idx="21">
                  <c:v>1082127</c:v>
                </c:pt>
                <c:pt idx="22">
                  <c:v>1425326</c:v>
                </c:pt>
                <c:pt idx="23">
                  <c:v>1570582</c:v>
                </c:pt>
                <c:pt idx="24">
                  <c:v>1397833</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7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3.6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2.9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75</c:v>
                </c:pt>
                <c:pt idx="1">
                  <c:v>3.5</c:v>
                </c:pt>
                <c:pt idx="2">
                  <c:v>3.06</c:v>
                </c:pt>
                <c:pt idx="3">
                  <c:v>3.27</c:v>
                </c:pt>
                <c:pt idx="4">
                  <c:v>3.49</c:v>
                </c:pt>
                <c:pt idx="5">
                  <c:v>3.66</c:v>
                </c:pt>
                <c:pt idx="6">
                  <c:v>2.92</c:v>
                </c:pt>
                <c:pt idx="7">
                  <c:v>3.12</c:v>
                </c:pt>
                <c:pt idx="8">
                  <c:v>3.18</c:v>
                </c:pt>
                <c:pt idx="9">
                  <c:v>3.38</c:v>
                </c:pt>
                <c:pt idx="10">
                  <c:v>3.03</c:v>
                </c:pt>
                <c:pt idx="11">
                  <c:v>3.25</c:v>
                </c:pt>
                <c:pt idx="12">
                  <c:v>3.48</c:v>
                </c:pt>
                <c:pt idx="13">
                  <c:v>3.65</c:v>
                </c:pt>
                <c:pt idx="14">
                  <c:v>3.07</c:v>
                </c:pt>
                <c:pt idx="15">
                  <c:v>3.33</c:v>
                </c:pt>
                <c:pt idx="16">
                  <c:v>3.38</c:v>
                </c:pt>
                <c:pt idx="17">
                  <c:v>3.91</c:v>
                </c:pt>
                <c:pt idx="18">
                  <c:v>3.82</c:v>
                </c:pt>
                <c:pt idx="19">
                  <c:v>3.75</c:v>
                </c:pt>
                <c:pt idx="20">
                  <c:v>3.49</c:v>
                </c:pt>
                <c:pt idx="21">
                  <c:v>3.55</c:v>
                </c:pt>
                <c:pt idx="22">
                  <c:v>3.04</c:v>
                </c:pt>
                <c:pt idx="23">
                  <c:v>3.0</c:v>
                </c:pt>
                <c:pt idx="24">
                  <c:v>2.95</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909,89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484,06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2,922,16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2909899</c:v>
                </c:pt>
                <c:pt idx="1">
                  <c:v>2388413</c:v>
                </c:pt>
                <c:pt idx="2">
                  <c:v>2211630</c:v>
                </c:pt>
                <c:pt idx="3">
                  <c:v>1889975</c:v>
                </c:pt>
                <c:pt idx="4">
                  <c:v>2299269</c:v>
                </c:pt>
                <c:pt idx="5">
                  <c:v>2138368</c:v>
                </c:pt>
                <c:pt idx="6">
                  <c:v>1986631</c:v>
                </c:pt>
                <c:pt idx="7">
                  <c:v>2785642</c:v>
                </c:pt>
                <c:pt idx="8">
                  <c:v>2617272</c:v>
                </c:pt>
                <c:pt idx="9">
                  <c:v>2881521</c:v>
                </c:pt>
                <c:pt idx="10">
                  <c:v>2996035</c:v>
                </c:pt>
                <c:pt idx="11">
                  <c:v>3135287</c:v>
                </c:pt>
                <c:pt idx="12">
                  <c:v>2836911</c:v>
                </c:pt>
                <c:pt idx="13">
                  <c:v>2484066</c:v>
                </c:pt>
                <c:pt idx="14">
                  <c:v>2245936</c:v>
                </c:pt>
                <c:pt idx="15">
                  <c:v>2005200</c:v>
                </c:pt>
                <c:pt idx="16">
                  <c:v>2399222</c:v>
                </c:pt>
                <c:pt idx="17">
                  <c:v>2058394</c:v>
                </c:pt>
                <c:pt idx="18">
                  <c:v>2044865</c:v>
                </c:pt>
                <c:pt idx="19">
                  <c:v>2381547</c:v>
                </c:pt>
                <c:pt idx="20">
                  <c:v>2359298</c:v>
                </c:pt>
                <c:pt idx="21">
                  <c:v>2678703</c:v>
                </c:pt>
                <c:pt idx="22">
                  <c:v>2965992</c:v>
                </c:pt>
                <c:pt idx="23">
                  <c:v>3000711</c:v>
                </c:pt>
                <c:pt idx="24">
                  <c:v>2922165</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5.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5.5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5.1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5.52</c:v>
                </c:pt>
                <c:pt idx="1">
                  <c:v>5.46</c:v>
                </c:pt>
                <c:pt idx="2">
                  <c:v>5.39</c:v>
                </c:pt>
                <c:pt idx="3">
                  <c:v>5.48</c:v>
                </c:pt>
                <c:pt idx="4">
                  <c:v>5.46</c:v>
                </c:pt>
                <c:pt idx="5">
                  <c:v>5.24</c:v>
                </c:pt>
                <c:pt idx="6">
                  <c:v>5.27</c:v>
                </c:pt>
                <c:pt idx="7">
                  <c:v>5.41</c:v>
                </c:pt>
                <c:pt idx="8">
                  <c:v>5.45</c:v>
                </c:pt>
                <c:pt idx="9">
                  <c:v>5.51</c:v>
                </c:pt>
                <c:pt idx="10">
                  <c:v>5.37</c:v>
                </c:pt>
                <c:pt idx="11">
                  <c:v>5.49</c:v>
                </c:pt>
                <c:pt idx="12">
                  <c:v>5.41</c:v>
                </c:pt>
                <c:pt idx="13">
                  <c:v>5.5</c:v>
                </c:pt>
                <c:pt idx="14">
                  <c:v>5.39</c:v>
                </c:pt>
                <c:pt idx="15">
                  <c:v>5.36</c:v>
                </c:pt>
                <c:pt idx="16">
                  <c:v>5.19</c:v>
                </c:pt>
                <c:pt idx="17">
                  <c:v>5.32</c:v>
                </c:pt>
                <c:pt idx="18">
                  <c:v>5.15</c:v>
                </c:pt>
                <c:pt idx="19">
                  <c:v>5.12</c:v>
                </c:pt>
                <c:pt idx="20">
                  <c:v>5.13</c:v>
                </c:pt>
                <c:pt idx="21">
                  <c:v>5.1</c:v>
                </c:pt>
                <c:pt idx="22">
                  <c:v>5.17</c:v>
                </c:pt>
                <c:pt idx="23">
                  <c:v>5.14</c:v>
                </c:pt>
                <c:pt idx="24">
                  <c:v>5.1</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2"/>
              <c:tx>
                <c:rich>
                  <a:bodyPr/>
                  <a:lstStyle/>
                  <a:p>
                    <a:r>
                      <a:t>Value Sales </a:t>
                    </a:r>
                  </a:p>
                  <a:p>
                    <a:r>
                      <a:t> 5</a:t>
                    </a:r>
                  </a:p>
                </c:rich>
              </c:tx>
              <c:dLblPos val="b"/>
              <c:showLegendKey val="0"/>
              <c:showVal val="1"/>
              <c:showCatName val="0"/>
              <c:showSerName val="0"/>
              <c:showPercent val="0"/>
              <c:showBubbleSize val="0"/>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4</c:f>
              <c:strCache>
                <c:ptCount val="3"/>
                <c:pt idx="0">
                  <c:v>Feb-22</c:v>
                </c:pt>
                <c:pt idx="1">
                  <c:v>May-22</c:v>
                </c:pt>
                <c:pt idx="2">
                  <c:v>Nov-22</c:v>
                </c:pt>
              </c:strCache>
            </c:strRef>
          </c:cat>
          <c:val>
            <c:numRef>
              <c:f>Sheet1!$B$2:$B$4</c:f>
              <c:numCache>
                <c:formatCode>General</c:formatCode>
                <c:ptCount val="3"/>
                <c:pt idx="0">
                  <c:v>12</c:v>
                </c:pt>
                <c:pt idx="1">
                  <c:v>5</c:v>
                </c:pt>
                <c:pt idx="2">
                  <c:v>5</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6.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2"/>
              <c:tx>
                <c:rich>
                  <a:bodyPr/>
                  <a:lstStyle/>
                  <a:p>
                    <a:r>
                      <a:t>Av Price/KG </a:t>
                    </a:r>
                  </a:p>
                  <a:p>
                    <a:r>
                      <a:t> $ 2.50</a:t>
                    </a:r>
                  </a:p>
                </c:rich>
              </c:tx>
              <c:dLblPos val="t"/>
              <c:showLegendKey val="0"/>
              <c:showVal val="1"/>
              <c:showCatName val="0"/>
              <c:showSerName val="0"/>
              <c:showPercent val="0"/>
              <c:showBubbleSize val="0"/>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4</c:f>
              <c:strCache>
                <c:ptCount val="3"/>
                <c:pt idx="0">
                  <c:v>Feb-22</c:v>
                </c:pt>
                <c:pt idx="1">
                  <c:v>May-22</c:v>
                </c:pt>
                <c:pt idx="2">
                  <c:v>Nov-22</c:v>
                </c:pt>
              </c:strCache>
            </c:strRef>
          </c:cat>
          <c:val>
            <c:numRef>
              <c:f>Sheet1!$C$2:$C$4</c:f>
              <c:numCache>
                <c:formatCode>General</c:formatCode>
                <c:ptCount val="3"/>
                <c:pt idx="0">
                  <c:v>6.0</c:v>
                </c:pt>
                <c:pt idx="1">
                  <c:v>1.67</c:v>
                </c:pt>
                <c:pt idx="2">
                  <c:v>2.5</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74,01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75,00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52,95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74012</c:v>
                </c:pt>
                <c:pt idx="1">
                  <c:v>67829</c:v>
                </c:pt>
                <c:pt idx="2">
                  <c:v>78962</c:v>
                </c:pt>
                <c:pt idx="3">
                  <c:v>66187</c:v>
                </c:pt>
                <c:pt idx="4">
                  <c:v>72029</c:v>
                </c:pt>
                <c:pt idx="5">
                  <c:v>74310</c:v>
                </c:pt>
                <c:pt idx="6">
                  <c:v>70759</c:v>
                </c:pt>
                <c:pt idx="7">
                  <c:v>83710</c:v>
                </c:pt>
                <c:pt idx="8">
                  <c:v>91141</c:v>
                </c:pt>
                <c:pt idx="9">
                  <c:v>93197</c:v>
                </c:pt>
                <c:pt idx="10">
                  <c:v>94330</c:v>
                </c:pt>
                <c:pt idx="11">
                  <c:v>88532</c:v>
                </c:pt>
                <c:pt idx="12">
                  <c:v>76366</c:v>
                </c:pt>
                <c:pt idx="13">
                  <c:v>75005</c:v>
                </c:pt>
                <c:pt idx="14">
                  <c:v>68541</c:v>
                </c:pt>
                <c:pt idx="15">
                  <c:v>68548</c:v>
                </c:pt>
                <c:pt idx="16">
                  <c:v>95474</c:v>
                </c:pt>
                <c:pt idx="17">
                  <c:v>91505</c:v>
                </c:pt>
                <c:pt idx="18">
                  <c:v>56161</c:v>
                </c:pt>
                <c:pt idx="19">
                  <c:v>56181</c:v>
                </c:pt>
                <c:pt idx="20">
                  <c:v>53310</c:v>
                </c:pt>
                <c:pt idx="21">
                  <c:v>54779</c:v>
                </c:pt>
                <c:pt idx="22">
                  <c:v>58188</c:v>
                </c:pt>
                <c:pt idx="23">
                  <c:v>51511</c:v>
                </c:pt>
                <c:pt idx="24">
                  <c:v>52950</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16.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9.3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4.3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16.12</c:v>
                </c:pt>
                <c:pt idx="1">
                  <c:v>10.76</c:v>
                </c:pt>
                <c:pt idx="2">
                  <c:v>21.18</c:v>
                </c:pt>
                <c:pt idx="3">
                  <c:v>27.97</c:v>
                </c:pt>
                <c:pt idx="4">
                  <c:v>28.82</c:v>
                </c:pt>
                <c:pt idx="5">
                  <c:v>29.3</c:v>
                </c:pt>
                <c:pt idx="6">
                  <c:v>29.36</c:v>
                </c:pt>
                <c:pt idx="7">
                  <c:v>28.32</c:v>
                </c:pt>
                <c:pt idx="8">
                  <c:v>23.8</c:v>
                </c:pt>
                <c:pt idx="9">
                  <c:v>21.68</c:v>
                </c:pt>
                <c:pt idx="10">
                  <c:v>20.59</c:v>
                </c:pt>
                <c:pt idx="11">
                  <c:v>19.1</c:v>
                </c:pt>
                <c:pt idx="12">
                  <c:v>19.33</c:v>
                </c:pt>
                <c:pt idx="13">
                  <c:v>19.32</c:v>
                </c:pt>
                <c:pt idx="14">
                  <c:v>18.73</c:v>
                </c:pt>
                <c:pt idx="15">
                  <c:v>18.29</c:v>
                </c:pt>
                <c:pt idx="16">
                  <c:v>12.55</c:v>
                </c:pt>
                <c:pt idx="17">
                  <c:v>7.13</c:v>
                </c:pt>
                <c:pt idx="18">
                  <c:v>18.04</c:v>
                </c:pt>
                <c:pt idx="19">
                  <c:v>17.78</c:v>
                </c:pt>
                <c:pt idx="20">
                  <c:v>16.82</c:v>
                </c:pt>
                <c:pt idx="21">
                  <c:v>17.32</c:v>
                </c:pt>
                <c:pt idx="22">
                  <c:v>15.76</c:v>
                </c:pt>
                <c:pt idx="23">
                  <c:v>14.21</c:v>
                </c:pt>
                <c:pt idx="24">
                  <c:v>14.34</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313,2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303,16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2,473,61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2313279</c:v>
                </c:pt>
                <c:pt idx="1">
                  <c:v>2075349</c:v>
                </c:pt>
                <c:pt idx="2">
                  <c:v>2033052</c:v>
                </c:pt>
                <c:pt idx="3">
                  <c:v>2007560</c:v>
                </c:pt>
                <c:pt idx="4">
                  <c:v>2528118</c:v>
                </c:pt>
                <c:pt idx="5">
                  <c:v>2059641</c:v>
                </c:pt>
                <c:pt idx="6">
                  <c:v>1975376</c:v>
                </c:pt>
                <c:pt idx="7">
                  <c:v>2447187</c:v>
                </c:pt>
                <c:pt idx="8">
                  <c:v>2277680</c:v>
                </c:pt>
                <c:pt idx="9">
                  <c:v>2242012</c:v>
                </c:pt>
                <c:pt idx="10">
                  <c:v>2213254</c:v>
                </c:pt>
                <c:pt idx="11">
                  <c:v>2375750</c:v>
                </c:pt>
                <c:pt idx="12">
                  <c:v>2531349</c:v>
                </c:pt>
                <c:pt idx="13">
                  <c:v>2303167</c:v>
                </c:pt>
                <c:pt idx="14">
                  <c:v>2390246</c:v>
                </c:pt>
                <c:pt idx="15">
                  <c:v>2227851</c:v>
                </c:pt>
                <c:pt idx="16">
                  <c:v>2529335</c:v>
                </c:pt>
                <c:pt idx="17">
                  <c:v>2246718</c:v>
                </c:pt>
                <c:pt idx="18">
                  <c:v>2221207</c:v>
                </c:pt>
                <c:pt idx="19">
                  <c:v>2373127</c:v>
                </c:pt>
                <c:pt idx="20">
                  <c:v>2267700</c:v>
                </c:pt>
                <c:pt idx="21">
                  <c:v>2413107</c:v>
                </c:pt>
                <c:pt idx="22">
                  <c:v>2422648</c:v>
                </c:pt>
                <c:pt idx="23">
                  <c:v>2512785</c:v>
                </c:pt>
                <c:pt idx="24">
                  <c:v>2473616</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1.5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6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1.54</c:v>
                </c:pt>
                <c:pt idx="1">
                  <c:v>1.55</c:v>
                </c:pt>
                <c:pt idx="2">
                  <c:v>1.55</c:v>
                </c:pt>
                <c:pt idx="3">
                  <c:v>1.55</c:v>
                </c:pt>
                <c:pt idx="4">
                  <c:v>1.57</c:v>
                </c:pt>
                <c:pt idx="5">
                  <c:v>1.54</c:v>
                </c:pt>
                <c:pt idx="6">
                  <c:v>1.61</c:v>
                </c:pt>
                <c:pt idx="7">
                  <c:v>1.65</c:v>
                </c:pt>
                <c:pt idx="8">
                  <c:v>1.66</c:v>
                </c:pt>
                <c:pt idx="9">
                  <c:v>1.64</c:v>
                </c:pt>
                <c:pt idx="10">
                  <c:v>1.63</c:v>
                </c:pt>
                <c:pt idx="11">
                  <c:v>1.63</c:v>
                </c:pt>
                <c:pt idx="12">
                  <c:v>1.65</c:v>
                </c:pt>
                <c:pt idx="13">
                  <c:v>1.65</c:v>
                </c:pt>
                <c:pt idx="14">
                  <c:v>1.65</c:v>
                </c:pt>
                <c:pt idx="15">
                  <c:v>1.65</c:v>
                </c:pt>
                <c:pt idx="16">
                  <c:v>1.64</c:v>
                </c:pt>
                <c:pt idx="17">
                  <c:v>1.61</c:v>
                </c:pt>
                <c:pt idx="18">
                  <c:v>1.64</c:v>
                </c:pt>
                <c:pt idx="19">
                  <c:v>1.65</c:v>
                </c:pt>
                <c:pt idx="20">
                  <c:v>1.66</c:v>
                </c:pt>
                <c:pt idx="21">
                  <c:v>1.67</c:v>
                </c:pt>
                <c:pt idx="22">
                  <c:v>1.68</c:v>
                </c:pt>
                <c:pt idx="23">
                  <c:v>1.67</c:v>
                </c:pt>
                <c:pt idx="24">
                  <c:v>1.64</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9,372,55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4,215,53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28,866,42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29372559</c:v>
                </c:pt>
                <c:pt idx="1">
                  <c:v>24763766</c:v>
                </c:pt>
                <c:pt idx="2">
                  <c:v>24760820</c:v>
                </c:pt>
                <c:pt idx="3">
                  <c:v>23575649</c:v>
                </c:pt>
                <c:pt idx="4">
                  <c:v>28079370</c:v>
                </c:pt>
                <c:pt idx="5">
                  <c:v>21824049</c:v>
                </c:pt>
                <c:pt idx="6">
                  <c:v>21555739</c:v>
                </c:pt>
                <c:pt idx="7">
                  <c:v>25287942</c:v>
                </c:pt>
                <c:pt idx="8">
                  <c:v>24826027</c:v>
                </c:pt>
                <c:pt idx="9">
                  <c:v>27651719</c:v>
                </c:pt>
                <c:pt idx="10">
                  <c:v>29032481</c:v>
                </c:pt>
                <c:pt idx="11">
                  <c:v>30095999</c:v>
                </c:pt>
                <c:pt idx="12">
                  <c:v>29049277</c:v>
                </c:pt>
                <c:pt idx="13">
                  <c:v>24215539</c:v>
                </c:pt>
                <c:pt idx="14">
                  <c:v>24237247</c:v>
                </c:pt>
                <c:pt idx="15">
                  <c:v>23778892</c:v>
                </c:pt>
                <c:pt idx="16">
                  <c:v>31476376</c:v>
                </c:pt>
                <c:pt idx="17">
                  <c:v>21786608</c:v>
                </c:pt>
                <c:pt idx="18">
                  <c:v>22768948</c:v>
                </c:pt>
                <c:pt idx="19">
                  <c:v>25854990</c:v>
                </c:pt>
                <c:pt idx="20">
                  <c:v>24767481</c:v>
                </c:pt>
                <c:pt idx="21">
                  <c:v>27405167</c:v>
                </c:pt>
                <c:pt idx="22">
                  <c:v>29514334</c:v>
                </c:pt>
                <c:pt idx="23">
                  <c:v>29926088</c:v>
                </c:pt>
                <c:pt idx="24">
                  <c:v>28866424</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1.6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7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6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1.66</c:v>
                </c:pt>
                <c:pt idx="1">
                  <c:v>1.63</c:v>
                </c:pt>
                <c:pt idx="2">
                  <c:v>1.59</c:v>
                </c:pt>
                <c:pt idx="3">
                  <c:v>1.57</c:v>
                </c:pt>
                <c:pt idx="4">
                  <c:v>1.58</c:v>
                </c:pt>
                <c:pt idx="5">
                  <c:v>1.59</c:v>
                </c:pt>
                <c:pt idx="6">
                  <c:v>1.64</c:v>
                </c:pt>
                <c:pt idx="7">
                  <c:v>1.68</c:v>
                </c:pt>
                <c:pt idx="8">
                  <c:v>1.7</c:v>
                </c:pt>
                <c:pt idx="9">
                  <c:v>1.72</c:v>
                </c:pt>
                <c:pt idx="10">
                  <c:v>1.72</c:v>
                </c:pt>
                <c:pt idx="11">
                  <c:v>1.73</c:v>
                </c:pt>
                <c:pt idx="12">
                  <c:v>1.72</c:v>
                </c:pt>
                <c:pt idx="13">
                  <c:v>1.7</c:v>
                </c:pt>
                <c:pt idx="14">
                  <c:v>1.66</c:v>
                </c:pt>
                <c:pt idx="15">
                  <c:v>1.68</c:v>
                </c:pt>
                <c:pt idx="16">
                  <c:v>1.76</c:v>
                </c:pt>
                <c:pt idx="17">
                  <c:v>1.62</c:v>
                </c:pt>
                <c:pt idx="18">
                  <c:v>1.66</c:v>
                </c:pt>
                <c:pt idx="19">
                  <c:v>1.69</c:v>
                </c:pt>
                <c:pt idx="20">
                  <c:v>1.67</c:v>
                </c:pt>
                <c:pt idx="21">
                  <c:v>1.69</c:v>
                </c:pt>
                <c:pt idx="22">
                  <c:v>1.71</c:v>
                </c:pt>
                <c:pt idx="23">
                  <c:v>1.71</c:v>
                </c:pt>
                <c:pt idx="24">
                  <c:v>1.69</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3,246,80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832,45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3,534,47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3246802</c:v>
                </c:pt>
                <c:pt idx="1">
                  <c:v>2860820</c:v>
                </c:pt>
                <c:pt idx="2">
                  <c:v>2694417</c:v>
                </c:pt>
                <c:pt idx="3">
                  <c:v>2489703</c:v>
                </c:pt>
                <c:pt idx="4">
                  <c:v>2715582</c:v>
                </c:pt>
                <c:pt idx="5">
                  <c:v>2565822</c:v>
                </c:pt>
                <c:pt idx="6">
                  <c:v>2543539</c:v>
                </c:pt>
                <c:pt idx="7">
                  <c:v>2911392</c:v>
                </c:pt>
                <c:pt idx="8">
                  <c:v>2785534</c:v>
                </c:pt>
                <c:pt idx="9">
                  <c:v>3026869</c:v>
                </c:pt>
                <c:pt idx="10">
                  <c:v>3142656</c:v>
                </c:pt>
                <c:pt idx="11">
                  <c:v>3341638</c:v>
                </c:pt>
                <c:pt idx="12">
                  <c:v>3363842</c:v>
                </c:pt>
                <c:pt idx="13">
                  <c:v>2832457</c:v>
                </c:pt>
                <c:pt idx="14">
                  <c:v>2754124</c:v>
                </c:pt>
                <c:pt idx="15">
                  <c:v>2579026</c:v>
                </c:pt>
                <c:pt idx="16">
                  <c:v>2813904</c:v>
                </c:pt>
                <c:pt idx="17">
                  <c:v>2684308</c:v>
                </c:pt>
                <c:pt idx="18">
                  <c:v>2909660</c:v>
                </c:pt>
                <c:pt idx="19">
                  <c:v>3300951</c:v>
                </c:pt>
                <c:pt idx="20">
                  <c:v>3142602</c:v>
                </c:pt>
                <c:pt idx="21">
                  <c:v>3415483</c:v>
                </c:pt>
                <c:pt idx="22">
                  <c:v>3560833</c:v>
                </c:pt>
                <c:pt idx="23">
                  <c:v>3821404</c:v>
                </c:pt>
                <c:pt idx="24">
                  <c:v>3534472</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0.4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0.4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0.4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0.41</c:v>
                </c:pt>
                <c:pt idx="1">
                  <c:v>0.41</c:v>
                </c:pt>
                <c:pt idx="2">
                  <c:v>0.4</c:v>
                </c:pt>
                <c:pt idx="3">
                  <c:v>0.4</c:v>
                </c:pt>
                <c:pt idx="4">
                  <c:v>0.4</c:v>
                </c:pt>
                <c:pt idx="5">
                  <c:v>0.41</c:v>
                </c:pt>
                <c:pt idx="6">
                  <c:v>0.42</c:v>
                </c:pt>
                <c:pt idx="7">
                  <c:v>0.42</c:v>
                </c:pt>
                <c:pt idx="8">
                  <c:v>0.42</c:v>
                </c:pt>
                <c:pt idx="9">
                  <c:v>0.42</c:v>
                </c:pt>
                <c:pt idx="10">
                  <c:v>0.42</c:v>
                </c:pt>
                <c:pt idx="11">
                  <c:v>0.43</c:v>
                </c:pt>
                <c:pt idx="12">
                  <c:v>0.44</c:v>
                </c:pt>
                <c:pt idx="13">
                  <c:v>0.44</c:v>
                </c:pt>
                <c:pt idx="14">
                  <c:v>0.42</c:v>
                </c:pt>
                <c:pt idx="15">
                  <c:v>0.42</c:v>
                </c:pt>
                <c:pt idx="16">
                  <c:v>0.42</c:v>
                </c:pt>
                <c:pt idx="17">
                  <c:v>0.43</c:v>
                </c:pt>
                <c:pt idx="18">
                  <c:v>0.43</c:v>
                </c:pt>
                <c:pt idx="19">
                  <c:v>0.45</c:v>
                </c:pt>
                <c:pt idx="20">
                  <c:v>0.44</c:v>
                </c:pt>
                <c:pt idx="21">
                  <c:v>0.45</c:v>
                </c:pt>
                <c:pt idx="22">
                  <c:v>0.44</c:v>
                </c:pt>
                <c:pt idx="23">
                  <c:v>0.46</c:v>
                </c:pt>
                <c:pt idx="24">
                  <c:v>0.44</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9,782,80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7,922,50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9,111,23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9782801</c:v>
                </c:pt>
                <c:pt idx="1">
                  <c:v>8303241</c:v>
                </c:pt>
                <c:pt idx="2">
                  <c:v>8225209</c:v>
                </c:pt>
                <c:pt idx="3">
                  <c:v>7736552</c:v>
                </c:pt>
                <c:pt idx="4">
                  <c:v>9179875</c:v>
                </c:pt>
                <c:pt idx="5">
                  <c:v>7324440</c:v>
                </c:pt>
                <c:pt idx="6">
                  <c:v>7088523</c:v>
                </c:pt>
                <c:pt idx="7">
                  <c:v>8166385</c:v>
                </c:pt>
                <c:pt idx="8">
                  <c:v>8293270</c:v>
                </c:pt>
                <c:pt idx="9">
                  <c:v>9149392</c:v>
                </c:pt>
                <c:pt idx="10">
                  <c:v>9725405</c:v>
                </c:pt>
                <c:pt idx="11">
                  <c:v>10107942</c:v>
                </c:pt>
                <c:pt idx="12">
                  <c:v>9668344</c:v>
                </c:pt>
                <c:pt idx="13">
                  <c:v>7922505</c:v>
                </c:pt>
                <c:pt idx="14">
                  <c:v>7574894</c:v>
                </c:pt>
                <c:pt idx="15">
                  <c:v>7496867</c:v>
                </c:pt>
                <c:pt idx="16">
                  <c:v>9349832</c:v>
                </c:pt>
                <c:pt idx="17">
                  <c:v>7136608</c:v>
                </c:pt>
                <c:pt idx="18">
                  <c:v>7043468</c:v>
                </c:pt>
                <c:pt idx="19">
                  <c:v>8033962</c:v>
                </c:pt>
                <c:pt idx="20">
                  <c:v>7795536</c:v>
                </c:pt>
                <c:pt idx="21">
                  <c:v>8609609</c:v>
                </c:pt>
                <c:pt idx="22">
                  <c:v>9306811</c:v>
                </c:pt>
                <c:pt idx="23">
                  <c:v>9532001</c:v>
                </c:pt>
                <c:pt idx="24">
                  <c:v>9111235</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1.7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8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1.8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1.7</c:v>
                </c:pt>
                <c:pt idx="1">
                  <c:v>1.69</c:v>
                </c:pt>
                <c:pt idx="2">
                  <c:v>1.67</c:v>
                </c:pt>
                <c:pt idx="3">
                  <c:v>1.64</c:v>
                </c:pt>
                <c:pt idx="4">
                  <c:v>1.58</c:v>
                </c:pt>
                <c:pt idx="5">
                  <c:v>1.7</c:v>
                </c:pt>
                <c:pt idx="6">
                  <c:v>1.78</c:v>
                </c:pt>
                <c:pt idx="7">
                  <c:v>1.82</c:v>
                </c:pt>
                <c:pt idx="8">
                  <c:v>1.85</c:v>
                </c:pt>
                <c:pt idx="9">
                  <c:v>1.85</c:v>
                </c:pt>
                <c:pt idx="10">
                  <c:v>1.85</c:v>
                </c:pt>
                <c:pt idx="11">
                  <c:v>1.87</c:v>
                </c:pt>
                <c:pt idx="12">
                  <c:v>1.88</c:v>
                </c:pt>
                <c:pt idx="13">
                  <c:v>1.87</c:v>
                </c:pt>
                <c:pt idx="14">
                  <c:v>1.86</c:v>
                </c:pt>
                <c:pt idx="15">
                  <c:v>1.9</c:v>
                </c:pt>
                <c:pt idx="16">
                  <c:v>1.87</c:v>
                </c:pt>
                <c:pt idx="17">
                  <c:v>1.81</c:v>
                </c:pt>
                <c:pt idx="18">
                  <c:v>1.84</c:v>
                </c:pt>
                <c:pt idx="19">
                  <c:v>1.87</c:v>
                </c:pt>
                <c:pt idx="20">
                  <c:v>1.87</c:v>
                </c:pt>
                <c:pt idx="21">
                  <c:v>1.86</c:v>
                </c:pt>
                <c:pt idx="22">
                  <c:v>1.88</c:v>
                </c:pt>
                <c:pt idx="23">
                  <c:v>1.88</c:v>
                </c:pt>
                <c:pt idx="24">
                  <c:v>1.87</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4,378,94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3,753,15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3,880,52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4378948</c:v>
                </c:pt>
                <c:pt idx="1">
                  <c:v>3750927</c:v>
                </c:pt>
                <c:pt idx="2">
                  <c:v>3834739</c:v>
                </c:pt>
                <c:pt idx="3">
                  <c:v>3767807</c:v>
                </c:pt>
                <c:pt idx="4">
                  <c:v>4301540</c:v>
                </c:pt>
                <c:pt idx="5">
                  <c:v>3222699</c:v>
                </c:pt>
                <c:pt idx="6">
                  <c:v>3449291</c:v>
                </c:pt>
                <c:pt idx="7">
                  <c:v>4184607</c:v>
                </c:pt>
                <c:pt idx="8">
                  <c:v>4277807</c:v>
                </c:pt>
                <c:pt idx="9">
                  <c:v>4699587</c:v>
                </c:pt>
                <c:pt idx="10">
                  <c:v>4779537</c:v>
                </c:pt>
                <c:pt idx="11">
                  <c:v>4734928</c:v>
                </c:pt>
                <c:pt idx="12">
                  <c:v>4625970</c:v>
                </c:pt>
                <c:pt idx="13">
                  <c:v>3753152</c:v>
                </c:pt>
                <c:pt idx="14">
                  <c:v>3736037</c:v>
                </c:pt>
                <c:pt idx="15">
                  <c:v>3557314</c:v>
                </c:pt>
                <c:pt idx="16">
                  <c:v>4588241</c:v>
                </c:pt>
                <c:pt idx="17">
                  <c:v>3084131</c:v>
                </c:pt>
                <c:pt idx="18">
                  <c:v>3230153</c:v>
                </c:pt>
                <c:pt idx="19">
                  <c:v>3629897</c:v>
                </c:pt>
                <c:pt idx="20">
                  <c:v>3743656</c:v>
                </c:pt>
                <c:pt idx="21">
                  <c:v>4040076</c:v>
                </c:pt>
                <c:pt idx="22">
                  <c:v>4215579</c:v>
                </c:pt>
                <c:pt idx="23">
                  <c:v>4204835</c:v>
                </c:pt>
                <c:pt idx="24">
                  <c:v>3880521</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2.3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5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2.5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2.37</c:v>
                </c:pt>
                <c:pt idx="1">
                  <c:v>2.37</c:v>
                </c:pt>
                <c:pt idx="2">
                  <c:v>2.44</c:v>
                </c:pt>
                <c:pt idx="3">
                  <c:v>2.51</c:v>
                </c:pt>
                <c:pt idx="4">
                  <c:v>2.47</c:v>
                </c:pt>
                <c:pt idx="5">
                  <c:v>2.32</c:v>
                </c:pt>
                <c:pt idx="6">
                  <c:v>2.52</c:v>
                </c:pt>
                <c:pt idx="7">
                  <c:v>2.6</c:v>
                </c:pt>
                <c:pt idx="8">
                  <c:v>2.59</c:v>
                </c:pt>
                <c:pt idx="9">
                  <c:v>2.63</c:v>
                </c:pt>
                <c:pt idx="10">
                  <c:v>2.59</c:v>
                </c:pt>
                <c:pt idx="11">
                  <c:v>2.66</c:v>
                </c:pt>
                <c:pt idx="12">
                  <c:v>2.6</c:v>
                </c:pt>
                <c:pt idx="13">
                  <c:v>2.59</c:v>
                </c:pt>
                <c:pt idx="14">
                  <c:v>2.48</c:v>
                </c:pt>
                <c:pt idx="15">
                  <c:v>2.34</c:v>
                </c:pt>
                <c:pt idx="16">
                  <c:v>2.12</c:v>
                </c:pt>
                <c:pt idx="17">
                  <c:v>2.45</c:v>
                </c:pt>
                <c:pt idx="18">
                  <c:v>2.66</c:v>
                </c:pt>
                <c:pt idx="19">
                  <c:v>2.69</c:v>
                </c:pt>
                <c:pt idx="20">
                  <c:v>2.61</c:v>
                </c:pt>
                <c:pt idx="21">
                  <c:v>2.61</c:v>
                </c:pt>
                <c:pt idx="22">
                  <c:v>2.54</c:v>
                </c:pt>
                <c:pt idx="23">
                  <c:v>2.57</c:v>
                </c:pt>
                <c:pt idx="24">
                  <c:v>2.57</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5,982,15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2,577,23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5,757,22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15982153</c:v>
                </c:pt>
                <c:pt idx="1">
                  <c:v>13036567</c:v>
                </c:pt>
                <c:pt idx="2">
                  <c:v>12955538</c:v>
                </c:pt>
                <c:pt idx="3">
                  <c:v>12024885</c:v>
                </c:pt>
                <c:pt idx="4">
                  <c:v>14675079</c:v>
                </c:pt>
                <c:pt idx="5">
                  <c:v>11404482</c:v>
                </c:pt>
                <c:pt idx="6">
                  <c:v>11016954</c:v>
                </c:pt>
                <c:pt idx="7">
                  <c:v>12832984</c:v>
                </c:pt>
                <c:pt idx="8">
                  <c:v>12563603</c:v>
                </c:pt>
                <c:pt idx="9">
                  <c:v>14299086</c:v>
                </c:pt>
                <c:pt idx="10">
                  <c:v>15210624</c:v>
                </c:pt>
                <c:pt idx="11">
                  <c:v>15963597</c:v>
                </c:pt>
                <c:pt idx="12">
                  <c:v>15045879</c:v>
                </c:pt>
                <c:pt idx="13">
                  <c:v>12577230</c:v>
                </c:pt>
                <c:pt idx="14">
                  <c:v>12694464</c:v>
                </c:pt>
                <c:pt idx="15">
                  <c:v>11927235</c:v>
                </c:pt>
                <c:pt idx="16">
                  <c:v>15111421</c:v>
                </c:pt>
                <c:pt idx="17">
                  <c:v>11152414</c:v>
                </c:pt>
                <c:pt idx="18">
                  <c:v>11997110</c:v>
                </c:pt>
                <c:pt idx="19">
                  <c:v>13785472</c:v>
                </c:pt>
                <c:pt idx="20">
                  <c:v>12935202</c:v>
                </c:pt>
                <c:pt idx="21">
                  <c:v>14471908</c:v>
                </c:pt>
                <c:pt idx="22">
                  <c:v>16086382</c:v>
                </c:pt>
                <c:pt idx="23">
                  <c:v>16062224</c:v>
                </c:pt>
                <c:pt idx="24">
                  <c:v>15757224</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3.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3.0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3.0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3.24</c:v>
                </c:pt>
                <c:pt idx="1">
                  <c:v>3.16</c:v>
                </c:pt>
                <c:pt idx="2">
                  <c:v>2.91</c:v>
                </c:pt>
                <c:pt idx="3">
                  <c:v>2.85</c:v>
                </c:pt>
                <c:pt idx="4">
                  <c:v>2.74</c:v>
                </c:pt>
                <c:pt idx="5">
                  <c:v>3.01</c:v>
                </c:pt>
                <c:pt idx="6">
                  <c:v>3.09</c:v>
                </c:pt>
                <c:pt idx="7">
                  <c:v>3.11</c:v>
                </c:pt>
                <c:pt idx="8">
                  <c:v>3.13</c:v>
                </c:pt>
                <c:pt idx="9">
                  <c:v>3.15</c:v>
                </c:pt>
                <c:pt idx="10">
                  <c:v>3.11</c:v>
                </c:pt>
                <c:pt idx="11">
                  <c:v>3.12</c:v>
                </c:pt>
                <c:pt idx="12">
                  <c:v>3.11</c:v>
                </c:pt>
                <c:pt idx="13">
                  <c:v>3.08</c:v>
                </c:pt>
                <c:pt idx="14">
                  <c:v>2.87</c:v>
                </c:pt>
                <c:pt idx="15">
                  <c:v>2.8</c:v>
                </c:pt>
                <c:pt idx="16">
                  <c:v>2.73</c:v>
                </c:pt>
                <c:pt idx="17">
                  <c:v>2.98</c:v>
                </c:pt>
                <c:pt idx="18">
                  <c:v>3.12</c:v>
                </c:pt>
                <c:pt idx="19">
                  <c:v>3.1</c:v>
                </c:pt>
                <c:pt idx="20">
                  <c:v>3.04</c:v>
                </c:pt>
                <c:pt idx="21">
                  <c:v>3.07</c:v>
                </c:pt>
                <c:pt idx="22">
                  <c:v>3.09</c:v>
                </c:pt>
                <c:pt idx="23">
                  <c:v>3.16</c:v>
                </c:pt>
                <c:pt idx="24">
                  <c:v>3.09</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4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14"/>
              <c:tx>
                <c:rich>
                  <a:bodyPr/>
                  <a:lstStyle/>
                  <a:p>
                    <a:r>
                      <a:t>Value Sales </a:t>
                    </a:r>
                  </a:p>
                  <a:p>
                    <a:r>
                      <a:t> 6</a:t>
                    </a:r>
                  </a:p>
                </c:rich>
              </c:tx>
              <c:dLblPos val="b"/>
              <c:showLegendKey val="0"/>
              <c:showVal val="1"/>
              <c:showCatName val="0"/>
              <c:showSerName val="0"/>
              <c:showPercent val="0"/>
              <c:showBubbleSize val="0"/>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16</c:f>
              <c:strCache>
                <c:ptCount val="15"/>
                <c:pt idx="0">
                  <c:v>Oct-21</c:v>
                </c:pt>
                <c:pt idx="1">
                  <c:v>Nov-21</c:v>
                </c:pt>
                <c:pt idx="2">
                  <c:v>Dec-21</c:v>
                </c:pt>
                <c:pt idx="3">
                  <c:v>Apr-22</c:v>
                </c:pt>
                <c:pt idx="4">
                  <c:v>May-22</c:v>
                </c:pt>
                <c:pt idx="5">
                  <c:v>Jun-22</c:v>
                </c:pt>
                <c:pt idx="6">
                  <c:v>Jul-22</c:v>
                </c:pt>
                <c:pt idx="7">
                  <c:v>Jan-23</c:v>
                </c:pt>
                <c:pt idx="8">
                  <c:v>May-23</c:v>
                </c:pt>
                <c:pt idx="9">
                  <c:v>Sep-23</c:v>
                </c:pt>
                <c:pt idx="10">
                  <c:v>Nov-23</c:v>
                </c:pt>
                <c:pt idx="11">
                  <c:v>Dec-23</c:v>
                </c:pt>
                <c:pt idx="12">
                  <c:v>Feb-24</c:v>
                </c:pt>
                <c:pt idx="13">
                  <c:v>Mar-24</c:v>
                </c:pt>
                <c:pt idx="14">
                  <c:v>Aug-24</c:v>
                </c:pt>
              </c:strCache>
            </c:strRef>
          </c:cat>
          <c:val>
            <c:numRef>
              <c:f>Sheet1!$B$2:$B$16</c:f>
              <c:numCache>
                <c:formatCode>General</c:formatCode>
                <c:ptCount val="15"/>
                <c:pt idx="0">
                  <c:v>146</c:v>
                </c:pt>
                <c:pt idx="1">
                  <c:v>2</c:v>
                </c:pt>
                <c:pt idx="2">
                  <c:v>6</c:v>
                </c:pt>
                <c:pt idx="3">
                  <c:v>12</c:v>
                </c:pt>
                <c:pt idx="4">
                  <c:v>1</c:v>
                </c:pt>
                <c:pt idx="5">
                  <c:v>3</c:v>
                </c:pt>
                <c:pt idx="6">
                  <c:v>10</c:v>
                </c:pt>
                <c:pt idx="7">
                  <c:v>10</c:v>
                </c:pt>
                <c:pt idx="8">
                  <c:v>2</c:v>
                </c:pt>
                <c:pt idx="9">
                  <c:v>6</c:v>
                </c:pt>
                <c:pt idx="10">
                  <c:v>2</c:v>
                </c:pt>
                <c:pt idx="11">
                  <c:v>2</c:v>
                </c:pt>
                <c:pt idx="12">
                  <c:v>6</c:v>
                </c:pt>
                <c:pt idx="13">
                  <c:v>8</c:v>
                </c:pt>
                <c:pt idx="14">
                  <c:v>6</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0.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1.6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14"/>
              <c:tx>
                <c:rich>
                  <a:bodyPr/>
                  <a:lstStyle/>
                  <a:p>
                    <a:r>
                      <a:t>Av Price/KG </a:t>
                    </a:r>
                  </a:p>
                  <a:p>
                    <a:r>
                      <a:t> $ 2.00</a:t>
                    </a:r>
                  </a:p>
                </c:rich>
              </c:tx>
              <c:dLblPos val="t"/>
              <c:showLegendKey val="0"/>
              <c:showVal val="1"/>
              <c:showCatName val="0"/>
              <c:showSerName val="0"/>
              <c:showPercent val="0"/>
              <c:showBubbleSize val="0"/>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16</c:f>
              <c:strCache>
                <c:ptCount val="15"/>
                <c:pt idx="0">
                  <c:v>Oct-21</c:v>
                </c:pt>
                <c:pt idx="1">
                  <c:v>Nov-21</c:v>
                </c:pt>
                <c:pt idx="2">
                  <c:v>Dec-21</c:v>
                </c:pt>
                <c:pt idx="3">
                  <c:v>Apr-22</c:v>
                </c:pt>
                <c:pt idx="4">
                  <c:v>May-22</c:v>
                </c:pt>
                <c:pt idx="5">
                  <c:v>Jun-22</c:v>
                </c:pt>
                <c:pt idx="6">
                  <c:v>Jul-22</c:v>
                </c:pt>
                <c:pt idx="7">
                  <c:v>Jan-23</c:v>
                </c:pt>
                <c:pt idx="8">
                  <c:v>May-23</c:v>
                </c:pt>
                <c:pt idx="9">
                  <c:v>Sep-23</c:v>
                </c:pt>
                <c:pt idx="10">
                  <c:v>Nov-23</c:v>
                </c:pt>
                <c:pt idx="11">
                  <c:v>Dec-23</c:v>
                </c:pt>
                <c:pt idx="12">
                  <c:v>Feb-24</c:v>
                </c:pt>
                <c:pt idx="13">
                  <c:v>Mar-24</c:v>
                </c:pt>
                <c:pt idx="14">
                  <c:v>Aug-24</c:v>
                </c:pt>
              </c:strCache>
            </c:strRef>
          </c:cat>
          <c:val>
            <c:numRef>
              <c:f>Sheet1!$C$2:$C$16</c:f>
              <c:numCache>
                <c:formatCode>General</c:formatCode>
                <c:ptCount val="15"/>
                <c:pt idx="0">
                  <c:v>0.42</c:v>
                </c:pt>
                <c:pt idx="1">
                  <c:v>0.33</c:v>
                </c:pt>
                <c:pt idx="2">
                  <c:v>2.0</c:v>
                </c:pt>
                <c:pt idx="3">
                  <c:v>2.0</c:v>
                </c:pt>
                <c:pt idx="4">
                  <c:v>0.0</c:v>
                </c:pt>
                <c:pt idx="5">
                  <c:v>1.5</c:v>
                </c:pt>
                <c:pt idx="6">
                  <c:v>1.67</c:v>
                </c:pt>
                <c:pt idx="7">
                  <c:v>3.33</c:v>
                </c:pt>
                <c:pt idx="8">
                  <c:v>0.67</c:v>
                </c:pt>
                <c:pt idx="9">
                  <c:v>2.0</c:v>
                </c:pt>
                <c:pt idx="10">
                  <c:v>2.0</c:v>
                </c:pt>
                <c:pt idx="11">
                  <c:v>2.0</c:v>
                </c:pt>
                <c:pt idx="12">
                  <c:v>3.0</c:v>
                </c:pt>
                <c:pt idx="13">
                  <c:v>1.6</c:v>
                </c:pt>
                <c:pt idx="14">
                  <c:v>2.0</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53,6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8,91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26,29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53679</c:v>
                </c:pt>
                <c:pt idx="1">
                  <c:v>51364</c:v>
                </c:pt>
                <c:pt idx="2">
                  <c:v>339076</c:v>
                </c:pt>
                <c:pt idx="3">
                  <c:v>606958</c:v>
                </c:pt>
                <c:pt idx="4">
                  <c:v>561628</c:v>
                </c:pt>
                <c:pt idx="5">
                  <c:v>55702</c:v>
                </c:pt>
                <c:pt idx="6">
                  <c:v>31334</c:v>
                </c:pt>
                <c:pt idx="7">
                  <c:v>23093</c:v>
                </c:pt>
                <c:pt idx="8">
                  <c:v>19357</c:v>
                </c:pt>
                <c:pt idx="9">
                  <c:v>20301</c:v>
                </c:pt>
                <c:pt idx="10">
                  <c:v>20898</c:v>
                </c:pt>
                <c:pt idx="11">
                  <c:v>20418</c:v>
                </c:pt>
                <c:pt idx="12">
                  <c:v>21675</c:v>
                </c:pt>
                <c:pt idx="13">
                  <c:v>18911</c:v>
                </c:pt>
                <c:pt idx="14">
                  <c:v>227980</c:v>
                </c:pt>
                <c:pt idx="15">
                  <c:v>877016</c:v>
                </c:pt>
                <c:pt idx="16">
                  <c:v>3091070</c:v>
                </c:pt>
                <c:pt idx="17">
                  <c:v>100054</c:v>
                </c:pt>
                <c:pt idx="18">
                  <c:v>22991</c:v>
                </c:pt>
                <c:pt idx="19">
                  <c:v>22478</c:v>
                </c:pt>
                <c:pt idx="20">
                  <c:v>21594</c:v>
                </c:pt>
                <c:pt idx="21">
                  <c:v>22638</c:v>
                </c:pt>
                <c:pt idx="22">
                  <c:v>26983</c:v>
                </c:pt>
                <c:pt idx="23">
                  <c:v>21352</c:v>
                </c:pt>
                <c:pt idx="24">
                  <c:v>26298</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29.8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3.6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3.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29.82</c:v>
                </c:pt>
                <c:pt idx="1">
                  <c:v>29.64</c:v>
                </c:pt>
                <c:pt idx="2">
                  <c:v>1.17</c:v>
                </c:pt>
                <c:pt idx="3">
                  <c:v>1.07</c:v>
                </c:pt>
                <c:pt idx="4">
                  <c:v>1.05</c:v>
                </c:pt>
                <c:pt idx="5">
                  <c:v>2.89</c:v>
                </c:pt>
                <c:pt idx="6">
                  <c:v>4.01</c:v>
                </c:pt>
                <c:pt idx="7">
                  <c:v>3.46</c:v>
                </c:pt>
                <c:pt idx="8">
                  <c:v>3.29</c:v>
                </c:pt>
                <c:pt idx="9">
                  <c:v>3.6</c:v>
                </c:pt>
                <c:pt idx="10">
                  <c:v>3.52</c:v>
                </c:pt>
                <c:pt idx="11">
                  <c:v>3.62</c:v>
                </c:pt>
                <c:pt idx="12">
                  <c:v>3.59</c:v>
                </c:pt>
                <c:pt idx="13">
                  <c:v>3.61</c:v>
                </c:pt>
                <c:pt idx="14">
                  <c:v>3.36</c:v>
                </c:pt>
                <c:pt idx="15">
                  <c:v>3.77</c:v>
                </c:pt>
                <c:pt idx="16">
                  <c:v>3.37</c:v>
                </c:pt>
                <c:pt idx="17">
                  <c:v>2.03</c:v>
                </c:pt>
                <c:pt idx="18">
                  <c:v>2.73</c:v>
                </c:pt>
                <c:pt idx="19">
                  <c:v>3.24</c:v>
                </c:pt>
                <c:pt idx="20">
                  <c:v>3.53</c:v>
                </c:pt>
                <c:pt idx="21">
                  <c:v>3.55</c:v>
                </c:pt>
                <c:pt idx="22">
                  <c:v>3.62</c:v>
                </c:pt>
                <c:pt idx="23">
                  <c:v>3.62</c:v>
                </c:pt>
                <c:pt idx="24">
                  <c:v>3.64</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3,18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75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3,31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3180</c:v>
                </c:pt>
                <c:pt idx="1">
                  <c:v>4679</c:v>
                </c:pt>
                <c:pt idx="2">
                  <c:v>4865</c:v>
                </c:pt>
                <c:pt idx="3">
                  <c:v>6605</c:v>
                </c:pt>
                <c:pt idx="4">
                  <c:v>5157</c:v>
                </c:pt>
                <c:pt idx="5">
                  <c:v>6365</c:v>
                </c:pt>
                <c:pt idx="6">
                  <c:v>5624</c:v>
                </c:pt>
                <c:pt idx="7">
                  <c:v>6755</c:v>
                </c:pt>
                <c:pt idx="8">
                  <c:v>6824</c:v>
                </c:pt>
                <c:pt idx="9">
                  <c:v>7051</c:v>
                </c:pt>
                <c:pt idx="10">
                  <c:v>6763</c:v>
                </c:pt>
                <c:pt idx="11">
                  <c:v>4500</c:v>
                </c:pt>
                <c:pt idx="12">
                  <c:v>3803</c:v>
                </c:pt>
                <c:pt idx="13">
                  <c:v>2751</c:v>
                </c:pt>
                <c:pt idx="14">
                  <c:v>2393</c:v>
                </c:pt>
                <c:pt idx="15">
                  <c:v>1854</c:v>
                </c:pt>
                <c:pt idx="16">
                  <c:v>1871</c:v>
                </c:pt>
                <c:pt idx="17">
                  <c:v>2197</c:v>
                </c:pt>
                <c:pt idx="18">
                  <c:v>2018</c:v>
                </c:pt>
                <c:pt idx="19">
                  <c:v>2392</c:v>
                </c:pt>
                <c:pt idx="20">
                  <c:v>2558</c:v>
                </c:pt>
                <c:pt idx="21">
                  <c:v>2977</c:v>
                </c:pt>
                <c:pt idx="22">
                  <c:v>3014</c:v>
                </c:pt>
                <c:pt idx="23">
                  <c:v>3385</c:v>
                </c:pt>
                <c:pt idx="24">
                  <c:v>3310</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0.5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0.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0.5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0.56</c:v>
                </c:pt>
                <c:pt idx="1">
                  <c:v>0.7</c:v>
                </c:pt>
                <c:pt idx="2">
                  <c:v>0.67</c:v>
                </c:pt>
                <c:pt idx="3">
                  <c:v>0.58</c:v>
                </c:pt>
                <c:pt idx="4">
                  <c:v>0.6</c:v>
                </c:pt>
                <c:pt idx="5">
                  <c:v>0.64</c:v>
                </c:pt>
                <c:pt idx="6">
                  <c:v>0.69</c:v>
                </c:pt>
                <c:pt idx="7">
                  <c:v>0.68</c:v>
                </c:pt>
                <c:pt idx="8">
                  <c:v>0.53</c:v>
                </c:pt>
                <c:pt idx="9">
                  <c:v>0.51</c:v>
                </c:pt>
                <c:pt idx="10">
                  <c:v>0.63</c:v>
                </c:pt>
                <c:pt idx="11">
                  <c:v>0.48</c:v>
                </c:pt>
                <c:pt idx="12">
                  <c:v>0.46</c:v>
                </c:pt>
                <c:pt idx="13">
                  <c:v>0.51</c:v>
                </c:pt>
                <c:pt idx="14">
                  <c:v>0.54</c:v>
                </c:pt>
                <c:pt idx="15">
                  <c:v>0.56</c:v>
                </c:pt>
                <c:pt idx="16">
                  <c:v>0.44</c:v>
                </c:pt>
                <c:pt idx="17">
                  <c:v>0.47</c:v>
                </c:pt>
                <c:pt idx="18">
                  <c:v>0.48</c:v>
                </c:pt>
                <c:pt idx="19">
                  <c:v>0.48</c:v>
                </c:pt>
                <c:pt idx="20">
                  <c:v>0.55</c:v>
                </c:pt>
                <c:pt idx="21">
                  <c:v>0.63</c:v>
                </c:pt>
                <c:pt idx="22">
                  <c:v>0.52</c:v>
                </c:pt>
                <c:pt idx="23">
                  <c:v>0.51</c:v>
                </c:pt>
                <c:pt idx="24">
                  <c:v>0.5</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62,66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312,1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583,92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262668</c:v>
                </c:pt>
                <c:pt idx="1">
                  <c:v>231203</c:v>
                </c:pt>
                <c:pt idx="2">
                  <c:v>343495</c:v>
                </c:pt>
                <c:pt idx="3">
                  <c:v>261601</c:v>
                </c:pt>
                <c:pt idx="4">
                  <c:v>242728</c:v>
                </c:pt>
                <c:pt idx="5">
                  <c:v>242375</c:v>
                </c:pt>
                <c:pt idx="6">
                  <c:v>244207</c:v>
                </c:pt>
                <c:pt idx="7">
                  <c:v>276869</c:v>
                </c:pt>
                <c:pt idx="8">
                  <c:v>256453</c:v>
                </c:pt>
                <c:pt idx="9">
                  <c:v>338622</c:v>
                </c:pt>
                <c:pt idx="10">
                  <c:v>332289</c:v>
                </c:pt>
                <c:pt idx="11">
                  <c:v>327229</c:v>
                </c:pt>
                <c:pt idx="12">
                  <c:v>326842</c:v>
                </c:pt>
                <c:pt idx="13">
                  <c:v>312164</c:v>
                </c:pt>
                <c:pt idx="14">
                  <c:v>329413</c:v>
                </c:pt>
                <c:pt idx="15">
                  <c:v>336121</c:v>
                </c:pt>
                <c:pt idx="16">
                  <c:v>329867</c:v>
                </c:pt>
                <c:pt idx="17">
                  <c:v>366793</c:v>
                </c:pt>
                <c:pt idx="18">
                  <c:v>403466</c:v>
                </c:pt>
                <c:pt idx="19">
                  <c:v>513816</c:v>
                </c:pt>
                <c:pt idx="20">
                  <c:v>539482</c:v>
                </c:pt>
                <c:pt idx="21">
                  <c:v>575314</c:v>
                </c:pt>
                <c:pt idx="22">
                  <c:v>585916</c:v>
                </c:pt>
                <c:pt idx="23">
                  <c:v>610005</c:v>
                </c:pt>
                <c:pt idx="24">
                  <c:v>583928</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0.4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0.5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0.7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0.45</c:v>
                </c:pt>
                <c:pt idx="1">
                  <c:v>0.46</c:v>
                </c:pt>
                <c:pt idx="2">
                  <c:v>0.49</c:v>
                </c:pt>
                <c:pt idx="3">
                  <c:v>0.39</c:v>
                </c:pt>
                <c:pt idx="4">
                  <c:v>0.45</c:v>
                </c:pt>
                <c:pt idx="5">
                  <c:v>0.46</c:v>
                </c:pt>
                <c:pt idx="6">
                  <c:v>0.41</c:v>
                </c:pt>
                <c:pt idx="7">
                  <c:v>0.49</c:v>
                </c:pt>
                <c:pt idx="8">
                  <c:v>0.48</c:v>
                </c:pt>
                <c:pt idx="9">
                  <c:v>0.49</c:v>
                </c:pt>
                <c:pt idx="10">
                  <c:v>0.54</c:v>
                </c:pt>
                <c:pt idx="11">
                  <c:v>0.49</c:v>
                </c:pt>
                <c:pt idx="12">
                  <c:v>0.57</c:v>
                </c:pt>
                <c:pt idx="13">
                  <c:v>0.56</c:v>
                </c:pt>
                <c:pt idx="14">
                  <c:v>0.55</c:v>
                </c:pt>
                <c:pt idx="15">
                  <c:v>0.51</c:v>
                </c:pt>
                <c:pt idx="16">
                  <c:v>0.59</c:v>
                </c:pt>
                <c:pt idx="17">
                  <c:v>0.59</c:v>
                </c:pt>
                <c:pt idx="18">
                  <c:v>0.65</c:v>
                </c:pt>
                <c:pt idx="19">
                  <c:v>0.7</c:v>
                </c:pt>
                <c:pt idx="20">
                  <c:v>0.78</c:v>
                </c:pt>
                <c:pt idx="21">
                  <c:v>0.79</c:v>
                </c:pt>
                <c:pt idx="22">
                  <c:v>0.71</c:v>
                </c:pt>
                <c:pt idx="23">
                  <c:v>0.67</c:v>
                </c:pt>
                <c:pt idx="24">
                  <c:v>0.75</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057,07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026,36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2,823,72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2057072</c:v>
                </c:pt>
                <c:pt idx="1">
                  <c:v>1950663</c:v>
                </c:pt>
                <c:pt idx="2">
                  <c:v>1965134</c:v>
                </c:pt>
                <c:pt idx="3">
                  <c:v>1998894</c:v>
                </c:pt>
                <c:pt idx="4">
                  <c:v>2394563</c:v>
                </c:pt>
                <c:pt idx="5">
                  <c:v>2294714</c:v>
                </c:pt>
                <c:pt idx="6">
                  <c:v>2284277</c:v>
                </c:pt>
                <c:pt idx="7">
                  <c:v>2214286</c:v>
                </c:pt>
                <c:pt idx="8">
                  <c:v>2267676</c:v>
                </c:pt>
                <c:pt idx="9">
                  <c:v>2396837</c:v>
                </c:pt>
                <c:pt idx="10">
                  <c:v>2343376</c:v>
                </c:pt>
                <c:pt idx="11">
                  <c:v>2862489</c:v>
                </c:pt>
                <c:pt idx="12">
                  <c:v>2255880</c:v>
                </c:pt>
                <c:pt idx="13">
                  <c:v>2026369</c:v>
                </c:pt>
                <c:pt idx="14">
                  <c:v>2081934</c:v>
                </c:pt>
                <c:pt idx="15">
                  <c:v>2061510</c:v>
                </c:pt>
                <c:pt idx="16">
                  <c:v>1994891</c:v>
                </c:pt>
                <c:pt idx="17">
                  <c:v>2002752</c:v>
                </c:pt>
                <c:pt idx="18">
                  <c:v>2041043</c:v>
                </c:pt>
                <c:pt idx="19">
                  <c:v>2317722</c:v>
                </c:pt>
                <c:pt idx="20">
                  <c:v>2503169</c:v>
                </c:pt>
                <c:pt idx="21">
                  <c:v>2605749</c:v>
                </c:pt>
                <c:pt idx="22">
                  <c:v>2824927</c:v>
                </c:pt>
                <c:pt idx="23">
                  <c:v>3358013</c:v>
                </c:pt>
                <c:pt idx="24">
                  <c:v>2823724</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2.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2.3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2.11</c:v>
                </c:pt>
                <c:pt idx="1">
                  <c:v>2.07</c:v>
                </c:pt>
                <c:pt idx="2">
                  <c:v>2.13</c:v>
                </c:pt>
                <c:pt idx="3">
                  <c:v>2.17</c:v>
                </c:pt>
                <c:pt idx="4">
                  <c:v>2.31</c:v>
                </c:pt>
                <c:pt idx="5">
                  <c:v>2.39</c:v>
                </c:pt>
                <c:pt idx="6">
                  <c:v>1.92</c:v>
                </c:pt>
                <c:pt idx="7">
                  <c:v>2.37</c:v>
                </c:pt>
                <c:pt idx="8">
                  <c:v>2.46</c:v>
                </c:pt>
                <c:pt idx="9">
                  <c:v>2.25</c:v>
                </c:pt>
                <c:pt idx="10">
                  <c:v>2.37</c:v>
                </c:pt>
                <c:pt idx="11">
                  <c:v>2.03</c:v>
                </c:pt>
                <c:pt idx="12">
                  <c:v>2.39</c:v>
                </c:pt>
                <c:pt idx="13">
                  <c:v>2.42</c:v>
                </c:pt>
                <c:pt idx="14">
                  <c:v>2.31</c:v>
                </c:pt>
                <c:pt idx="15">
                  <c:v>2.28</c:v>
                </c:pt>
                <c:pt idx="16">
                  <c:v>2.28</c:v>
                </c:pt>
                <c:pt idx="17">
                  <c:v>2.38</c:v>
                </c:pt>
                <c:pt idx="18">
                  <c:v>2.35</c:v>
                </c:pt>
                <c:pt idx="19">
                  <c:v>2.18</c:v>
                </c:pt>
                <c:pt idx="20">
                  <c:v>2.43</c:v>
                </c:pt>
                <c:pt idx="21">
                  <c:v>2.46</c:v>
                </c:pt>
                <c:pt idx="22">
                  <c:v>2.44</c:v>
                </c:pt>
                <c:pt idx="23">
                  <c:v>2.09</c:v>
                </c:pt>
                <c:pt idx="24">
                  <c:v>2.34</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575,74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493,81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689,88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B$2:$B$26</c:f>
              <c:numCache>
                <c:formatCode>General</c:formatCode>
                <c:ptCount val="25"/>
                <c:pt idx="0">
                  <c:v>575740</c:v>
                </c:pt>
                <c:pt idx="1">
                  <c:v>564486</c:v>
                </c:pt>
                <c:pt idx="2">
                  <c:v>550441</c:v>
                </c:pt>
                <c:pt idx="3">
                  <c:v>525651</c:v>
                </c:pt>
                <c:pt idx="4">
                  <c:v>559349</c:v>
                </c:pt>
                <c:pt idx="5">
                  <c:v>586411</c:v>
                </c:pt>
                <c:pt idx="6">
                  <c:v>517606</c:v>
                </c:pt>
                <c:pt idx="7">
                  <c:v>560876</c:v>
                </c:pt>
                <c:pt idx="8">
                  <c:v>572472</c:v>
                </c:pt>
                <c:pt idx="9">
                  <c:v>622115</c:v>
                </c:pt>
                <c:pt idx="10">
                  <c:v>698769</c:v>
                </c:pt>
                <c:pt idx="11">
                  <c:v>643837</c:v>
                </c:pt>
                <c:pt idx="12">
                  <c:v>559699</c:v>
                </c:pt>
                <c:pt idx="13">
                  <c:v>493810</c:v>
                </c:pt>
                <c:pt idx="14">
                  <c:v>498890</c:v>
                </c:pt>
                <c:pt idx="15">
                  <c:v>433583</c:v>
                </c:pt>
                <c:pt idx="16">
                  <c:v>494573</c:v>
                </c:pt>
                <c:pt idx="17">
                  <c:v>428971</c:v>
                </c:pt>
                <c:pt idx="18">
                  <c:v>453895</c:v>
                </c:pt>
                <c:pt idx="19">
                  <c:v>554012</c:v>
                </c:pt>
                <c:pt idx="20">
                  <c:v>572179</c:v>
                </c:pt>
                <c:pt idx="21">
                  <c:v>581044</c:v>
                </c:pt>
                <c:pt idx="22">
                  <c:v>563502</c:v>
                </c:pt>
                <c:pt idx="23">
                  <c:v>855745</c:v>
                </c:pt>
                <c:pt idx="24">
                  <c:v>68988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 2.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 2.6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KG </a:t>
                    </a:r>
                  </a:p>
                  <a:p>
                    <a:r>
                      <a:t> $ 2.7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strCache>
            </c:strRef>
          </c:cat>
          <c:val>
            <c:numRef>
              <c:f>Sheet1!$C$2:$C$26</c:f>
              <c:numCache>
                <c:formatCode>General</c:formatCode>
                <c:ptCount val="25"/>
                <c:pt idx="0">
                  <c:v>2.74</c:v>
                </c:pt>
                <c:pt idx="1">
                  <c:v>3.0</c:v>
                </c:pt>
                <c:pt idx="2">
                  <c:v>2.94</c:v>
                </c:pt>
                <c:pt idx="3">
                  <c:v>2.9</c:v>
                </c:pt>
                <c:pt idx="4">
                  <c:v>3.11</c:v>
                </c:pt>
                <c:pt idx="5">
                  <c:v>3.05</c:v>
                </c:pt>
                <c:pt idx="6">
                  <c:v>2.94</c:v>
                </c:pt>
                <c:pt idx="7">
                  <c:v>3.11</c:v>
                </c:pt>
                <c:pt idx="8">
                  <c:v>3.24</c:v>
                </c:pt>
                <c:pt idx="9">
                  <c:v>3.0</c:v>
                </c:pt>
                <c:pt idx="10">
                  <c:v>2.69</c:v>
                </c:pt>
                <c:pt idx="11">
                  <c:v>2.71</c:v>
                </c:pt>
                <c:pt idx="12">
                  <c:v>2.65</c:v>
                </c:pt>
                <c:pt idx="13">
                  <c:v>2.6</c:v>
                </c:pt>
                <c:pt idx="14">
                  <c:v>2.45</c:v>
                </c:pt>
                <c:pt idx="15">
                  <c:v>2.57</c:v>
                </c:pt>
                <c:pt idx="16">
                  <c:v>2.48</c:v>
                </c:pt>
                <c:pt idx="17">
                  <c:v>2.39</c:v>
                </c:pt>
                <c:pt idx="18">
                  <c:v>2.6</c:v>
                </c:pt>
                <c:pt idx="19">
                  <c:v>2.37</c:v>
                </c:pt>
                <c:pt idx="20">
                  <c:v>2.55</c:v>
                </c:pt>
                <c:pt idx="21">
                  <c:v>2.41</c:v>
                </c:pt>
                <c:pt idx="22">
                  <c:v>2.51</c:v>
                </c:pt>
                <c:pt idx="23">
                  <c:v>2.61</c:v>
                </c:pt>
                <c:pt idx="24">
                  <c:v>2.7</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US"/>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US"/>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1.xml><?xml version="1.0" encoding="utf-8"?>
<cs:colorStyle xmlns:cs="http://schemas.microsoft.com/office/drawing/2012/chartStyle" xmlns:a="http://schemas.openxmlformats.org/drawingml/2006/main" meth="cycle" id="20">
  <a:schemeClr val="dk1"/>
  <cs:variation>
    <a:tint val="88500"/>
  </cs:variation>
  <cs:variation>
    <a:tint val="55000"/>
  </cs:variation>
  <cs:variation>
    <a:tint val="75000"/>
  </cs:variation>
  <cs:variation>
    <a:tint val="98500"/>
  </cs:variation>
  <cs:variation>
    <a:tint val="30000"/>
  </cs:variation>
  <cs:variation>
    <a:tint val="60000"/>
  </cs:variation>
  <cs:variation>
    <a:tint val="80000"/>
  </cs:variation>
</cs:colorStyle>
</file>

<file path=ppt/charts/colors342.xml><?xml version="1.0" encoding="utf-8"?>
<cs:colorStyle xmlns:cs="http://schemas.microsoft.com/office/drawing/2012/chartStyle" xmlns:a="http://schemas.openxmlformats.org/drawingml/2006/main" meth="cycle" id="20">
  <a:schemeClr val="dk1"/>
  <cs:variation>
    <a:tint val="88500"/>
  </cs:variation>
  <cs:variation>
    <a:tint val="55000"/>
  </cs:variation>
  <cs:variation>
    <a:tint val="75000"/>
  </cs:variation>
  <cs:variation>
    <a:tint val="98500"/>
  </cs:variation>
  <cs:variation>
    <a:tint val="30000"/>
  </cs:variation>
  <cs:variation>
    <a:tint val="60000"/>
  </cs:variation>
  <cs:variation>
    <a:tint val="80000"/>
  </cs:variation>
</cs:colorStyle>
</file>

<file path=ppt/charts/colors343.xml><?xml version="1.0" encoding="utf-8"?>
<cs:colorStyle xmlns:cs="http://schemas.microsoft.com/office/drawing/2012/chartStyle" xmlns:a="http://schemas.openxmlformats.org/drawingml/2006/main" meth="cycle" id="20">
  <a:schemeClr val="dk1"/>
  <cs:variation>
    <a:tint val="88500"/>
  </cs:variation>
  <cs:variation>
    <a:tint val="55000"/>
  </cs:variation>
  <cs:variation>
    <a:tint val="75000"/>
  </cs:variation>
  <cs:variation>
    <a:tint val="98500"/>
  </cs:variation>
  <cs:variation>
    <a:tint val="30000"/>
  </cs:variation>
  <cs:variation>
    <a:tint val="60000"/>
  </cs:variation>
  <cs:variation>
    <a:tint val="80000"/>
  </cs:variation>
</cs:colorStyle>
</file>

<file path=ppt/charts/colors344.xml><?xml version="1.0" encoding="utf-8"?>
<cs:colorStyle xmlns:cs="http://schemas.microsoft.com/office/drawing/2012/chartStyle" xmlns:a="http://schemas.openxmlformats.org/drawingml/2006/main" meth="cycle" id="20">
  <a:schemeClr val="dk1"/>
  <cs:variation>
    <a:tint val="88500"/>
  </cs:variation>
  <cs:variation>
    <a:tint val="55000"/>
  </cs:variation>
  <cs:variation>
    <a:tint val="75000"/>
  </cs:variation>
  <cs:variation>
    <a:tint val="98500"/>
  </cs:variation>
  <cs:variation>
    <a:tint val="30000"/>
  </cs:variation>
  <cs:variation>
    <a:tint val="60000"/>
  </cs:variation>
  <cs:variation>
    <a:tint val="80000"/>
  </cs:variation>
</cs:colorStyle>
</file>

<file path=ppt/charts/colors345.xml><?xml version="1.0" encoding="utf-8"?>
<cs:colorStyle xmlns:cs="http://schemas.microsoft.com/office/drawing/2012/chartStyle" xmlns:a="http://schemas.openxmlformats.org/drawingml/2006/main" meth="cycle" id="20">
  <a:schemeClr val="dk1"/>
  <cs:variation>
    <a:tint val="88500"/>
  </cs:variation>
  <cs:variation>
    <a:tint val="55000"/>
  </cs:variation>
  <cs:variation>
    <a:tint val="75000"/>
  </cs:variation>
  <cs:variation>
    <a:tint val="98500"/>
  </cs:variation>
  <cs:variation>
    <a:tint val="30000"/>
  </cs:variation>
  <cs:variation>
    <a:tint val="60000"/>
  </cs:variation>
  <cs:variation>
    <a:tint val="80000"/>
  </cs:variation>
</cs:colorStyle>
</file>

<file path=ppt/charts/colors346.xml><?xml version="1.0" encoding="utf-8"?>
<cs:colorStyle xmlns:cs="http://schemas.microsoft.com/office/drawing/2012/chartStyle" xmlns:a="http://schemas.openxmlformats.org/drawingml/2006/main" meth="cycle" id="20">
  <a:schemeClr val="dk1"/>
  <cs:variation>
    <a:tint val="88500"/>
  </cs:variation>
  <cs:variation>
    <a:tint val="55000"/>
  </cs:variation>
  <cs:variation>
    <a:tint val="75000"/>
  </cs:variation>
  <cs:variation>
    <a:tint val="98500"/>
  </cs:variation>
  <cs:variation>
    <a:tint val="30000"/>
  </cs:variation>
  <cs:variation>
    <a:tint val="60000"/>
  </cs:variation>
  <cs:variation>
    <a:tint val="80000"/>
  </cs:variation>
</cs:colorStyle>
</file>

<file path=ppt/charts/colors347.xml><?xml version="1.0" encoding="utf-8"?>
<cs:colorStyle xmlns:cs="http://schemas.microsoft.com/office/drawing/2012/chartStyle" xmlns:a="http://schemas.openxmlformats.org/drawingml/2006/main" meth="cycle" id="20">
  <a:schemeClr val="dk1"/>
  <cs:variation>
    <a:tint val="88500"/>
  </cs:variation>
  <cs:variation>
    <a:tint val="55000"/>
  </cs:variation>
  <cs:variation>
    <a:tint val="75000"/>
  </cs:variation>
  <cs:variation>
    <a:tint val="98500"/>
  </cs:variation>
  <cs:variation>
    <a:tint val="30000"/>
  </cs:variation>
  <cs:variation>
    <a:tint val="60000"/>
  </cs:variation>
  <cs:variation>
    <a:tint val="80000"/>
  </cs:variation>
</cs:colorStyle>
</file>

<file path=ppt/charts/colors348.xml><?xml version="1.0" encoding="utf-8"?>
<cs:colorStyle xmlns:cs="http://schemas.microsoft.com/office/drawing/2012/chartStyle" xmlns:a="http://schemas.openxmlformats.org/drawingml/2006/main" meth="cycle" id="20">
  <a:schemeClr val="dk1"/>
  <cs:variation>
    <a:tint val="88500"/>
  </cs:variation>
  <cs:variation>
    <a:tint val="55000"/>
  </cs:variation>
  <cs:variation>
    <a:tint val="75000"/>
  </cs:variation>
  <cs:variation>
    <a:tint val="98500"/>
  </cs:variation>
  <cs:variation>
    <a:tint val="30000"/>
  </cs:variation>
  <cs:variation>
    <a:tint val="60000"/>
  </cs:variation>
  <cs:variation>
    <a:tint val="80000"/>
  </cs:variation>
</cs:colorStyle>
</file>

<file path=ppt/charts/colors349.xml><?xml version="1.0" encoding="utf-8"?>
<cs:colorStyle xmlns:cs="http://schemas.microsoft.com/office/drawing/2012/chartStyle" xmlns:a="http://schemas.openxmlformats.org/drawingml/2006/main" meth="cycle" id="20">
  <a:schemeClr val="dk1"/>
  <cs:variation>
    <a:tint val="88500"/>
  </cs:variation>
  <cs:variation>
    <a:tint val="55000"/>
  </cs:variation>
  <cs:variation>
    <a:tint val="75000"/>
  </cs:variation>
  <cs:variation>
    <a:tint val="98500"/>
  </cs:variation>
  <cs:variation>
    <a:tint val="30000"/>
  </cs:variation>
  <cs:variation>
    <a:tint val="60000"/>
  </cs:variation>
  <cs:variation>
    <a:tint val="8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0.xml><?xml version="1.0" encoding="utf-8"?>
<cs:colorStyle xmlns:cs="http://schemas.microsoft.com/office/drawing/2012/chartStyle" xmlns:a="http://schemas.openxmlformats.org/drawingml/2006/main" meth="cycle" id="20">
  <a:schemeClr val="dk1"/>
  <cs:variation>
    <a:tint val="88500"/>
  </cs:variation>
  <cs:variation>
    <a:tint val="55000"/>
  </cs:variation>
  <cs:variation>
    <a:tint val="75000"/>
  </cs:variation>
  <cs:variation>
    <a:tint val="98500"/>
  </cs:variation>
  <cs:variation>
    <a:tint val="30000"/>
  </cs:variation>
  <cs:variation>
    <a:tint val="60000"/>
  </cs:variation>
  <cs:variation>
    <a:tint val="8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1.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42.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43.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44.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45.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46.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47.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48.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49.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0.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3F5F7F6-F331-41A3-992E-AA52FE44B72F}" type="datetimeFigureOut">
              <a:rPr lang="en-AE" smtClean="0"/>
              <a:t>12/12/2024</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8D11946-C648-4AB1-BBAC-E03745FD1C4B}" type="slidenum">
              <a:rPr lang="en-AE" smtClean="0"/>
              <a:t>‹#›</a:t>
            </a:fld>
            <a:endParaRPr lang="en-AE"/>
          </a:p>
        </p:txBody>
      </p:sp>
    </p:spTree>
    <p:extLst>
      <p:ext uri="{BB962C8B-B14F-4D97-AF65-F5344CB8AC3E}">
        <p14:creationId xmlns:p14="http://schemas.microsoft.com/office/powerpoint/2010/main" val="14152614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6.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5.xml"/></Relationships>
</file>

<file path=ppt/notesSlides/_rels/notesSlide10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5.xml"/></Relationships>
</file>

<file path=ppt/notesSlides/_rels/notesSlide10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6.xml"/></Relationships>
</file>

<file path=ppt/notesSlides/_rels/notesSlide10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7.xml"/></Relationships>
</file>

<file path=ppt/notesSlides/_rels/notesSlide10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8.xml"/></Relationships>
</file>

<file path=ppt/notesSlides/_rels/notesSlide10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9.xml"/></Relationships>
</file>

<file path=ppt/notesSlides/_rels/notesSlide10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0.xml"/></Relationships>
</file>

<file path=ppt/notesSlides/_rels/notesSlide10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1.xml"/></Relationships>
</file>

<file path=ppt/notesSlides/_rels/notesSlide10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2.xml"/></Relationships>
</file>

<file path=ppt/notesSlides/_rels/notesSlide10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3.xml"/></Relationships>
</file>

<file path=ppt/notesSlides/_rels/notesSlide10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4.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6.xml"/></Relationships>
</file>

<file path=ppt/notesSlides/_rels/notesSlide1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5.xml"/></Relationships>
</file>

<file path=ppt/notesSlides/_rels/notesSlide1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6.xml"/></Relationships>
</file>

<file path=ppt/notesSlides/_rels/notesSlide1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7.xml"/></Relationships>
</file>

<file path=ppt/notesSlides/_rels/notesSlide1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8.xml"/></Relationships>
</file>

<file path=ppt/notesSlides/_rels/notesSlide1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9.xml"/></Relationships>
</file>

<file path=ppt/notesSlides/_rels/notesSlide1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0.xml"/></Relationships>
</file>

<file path=ppt/notesSlides/_rels/notesSlide1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1.xml"/></Relationships>
</file>

<file path=ppt/notesSlides/_rels/notesSlide1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2.xml"/></Relationships>
</file>

<file path=ppt/notesSlides/_rels/notesSlide1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3.xml"/></Relationships>
</file>

<file path=ppt/notesSlides/_rels/notesSlide1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4.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7.xml"/></Relationships>
</file>

<file path=ppt/notesSlides/_rels/notesSlide1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5.xml"/></Relationships>
</file>

<file path=ppt/notesSlides/_rels/notesSlide1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6.xml"/></Relationships>
</file>

<file path=ppt/notesSlides/_rels/notesSlide1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7.xml"/></Relationships>
</file>

<file path=ppt/notesSlides/_rels/notesSlide1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8.xml"/></Relationships>
</file>

<file path=ppt/notesSlides/_rels/notesSlide1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9.xml"/></Relationships>
</file>

<file path=ppt/notesSlides/_rels/notesSlide1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0.xml"/></Relationships>
</file>

<file path=ppt/notesSlides/_rels/notesSlide1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1.xml"/></Relationships>
</file>

<file path=ppt/notesSlides/_rels/notesSlide1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2.xml"/></Relationships>
</file>

<file path=ppt/notesSlides/_rels/notesSlide1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3.xml"/></Relationships>
</file>

<file path=ppt/notesSlides/_rels/notesSlide1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4.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8.xml"/></Relationships>
</file>

<file path=ppt/notesSlides/_rels/notesSlide1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5.xml"/></Relationships>
</file>

<file path=ppt/notesSlides/_rels/notesSlide1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6.xml"/></Relationships>
</file>

<file path=ppt/notesSlides/_rels/notesSlide1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7.xml"/></Relationships>
</file>

<file path=ppt/notesSlides/_rels/notesSlide1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8.xml"/></Relationships>
</file>

<file path=ppt/notesSlides/_rels/notesSlide1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9.xml"/></Relationships>
</file>

<file path=ppt/notesSlides/_rels/notesSlide1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0.xml"/></Relationships>
</file>

<file path=ppt/notesSlides/_rels/notesSlide1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1.xml"/></Relationships>
</file>

<file path=ppt/notesSlides/_rels/notesSlide1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2.xml"/></Relationships>
</file>

<file path=ppt/notesSlides/_rels/notesSlide1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3.xml"/></Relationships>
</file>

<file path=ppt/notesSlides/_rels/notesSlide1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4.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9.xml"/></Relationships>
</file>

<file path=ppt/notesSlides/_rels/notesSlide1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5.xml"/></Relationships>
</file>

<file path=ppt/notesSlides/_rels/notesSlide1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6.xml"/></Relationships>
</file>

<file path=ppt/notesSlides/_rels/notesSlide1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7.xml"/></Relationships>
</file>

<file path=ppt/notesSlides/_rels/notesSlide1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8.xml"/></Relationships>
</file>

<file path=ppt/notesSlides/_rels/notesSlide1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9.xml"/></Relationships>
</file>

<file path=ppt/notesSlides/_rels/notesSlide1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0.xml"/></Relationships>
</file>

<file path=ppt/notesSlides/_rels/notesSlide1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1.xml"/></Relationships>
</file>

<file path=ppt/notesSlides/_rels/notesSlide1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2.xml"/></Relationships>
</file>

<file path=ppt/notesSlides/_rels/notesSlide1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3.xml"/></Relationships>
</file>

<file path=ppt/notesSlides/_rels/notesSlide1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0.xml"/></Relationships>
</file>

<file path=ppt/notesSlides/_rels/notesSlide1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5.xml"/></Relationships>
</file>

<file path=ppt/notesSlides/_rels/notesSlide1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6.xml"/></Relationships>
</file>

<file path=ppt/notesSlides/_rels/notesSlide1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7.xml"/></Relationships>
</file>

<file path=ppt/notesSlides/_rels/notesSlide1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8.xml"/></Relationships>
</file>

<file path=ppt/notesSlides/_rels/notesSlide1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9.xml"/></Relationships>
</file>

<file path=ppt/notesSlides/_rels/notesSlide1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0.xml"/></Relationships>
</file>

<file path=ppt/notesSlides/_rels/notesSlide1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1.xml"/></Relationships>
</file>

<file path=ppt/notesSlides/_rels/notesSlide1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2.xml"/></Relationships>
</file>

<file path=ppt/notesSlides/_rels/notesSlide1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3.xml"/></Relationships>
</file>

<file path=ppt/notesSlides/_rels/notesSlide1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4.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1.xml"/></Relationships>
</file>

<file path=ppt/notesSlides/_rels/notesSlide1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5.xml"/></Relationships>
</file>

<file path=ppt/notesSlides/_rels/notesSlide16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6.xml"/></Relationships>
</file>

<file path=ppt/notesSlides/_rels/notesSlide16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7.xml"/></Relationships>
</file>

<file path=ppt/notesSlides/_rels/notesSlide1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8.xml"/></Relationships>
</file>

<file path=ppt/notesSlides/_rels/notesSlide1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9.xml"/></Relationships>
</file>

<file path=ppt/notesSlides/_rels/notesSlide16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0.xml"/></Relationships>
</file>

<file path=ppt/notesSlides/_rels/notesSlide1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1.xml"/></Relationships>
</file>

<file path=ppt/notesSlides/_rels/notesSlide16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2.xml"/></Relationships>
</file>

<file path=ppt/notesSlides/_rels/notesSlide16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3.xml"/></Relationships>
</file>

<file path=ppt/notesSlides/_rels/notesSlide16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4.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2.xml"/></Relationships>
</file>

<file path=ppt/notesSlides/_rels/notesSlide1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5.xml"/></Relationships>
</file>

<file path=ppt/notesSlides/_rels/notesSlide17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6.xml"/></Relationships>
</file>

<file path=ppt/notesSlides/_rels/notesSlide17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7.xml"/></Relationships>
</file>

<file path=ppt/notesSlides/_rels/notesSlide17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8.xml"/></Relationships>
</file>

<file path=ppt/notesSlides/_rels/notesSlide17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9.xml"/></Relationships>
</file>

<file path=ppt/notesSlides/_rels/notesSlide17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0.xml"/></Relationships>
</file>

<file path=ppt/notesSlides/_rels/notesSlide17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1.xml"/></Relationships>
</file>

<file path=ppt/notesSlides/_rels/notesSlide1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2.xml"/></Relationships>
</file>

<file path=ppt/notesSlides/_rels/notesSlide17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3.xml"/></Relationships>
</file>

<file path=ppt/notesSlides/_rels/notesSlide17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4.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3.xml"/></Relationships>
</file>

<file path=ppt/notesSlides/_rels/notesSlide18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5.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4.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7.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5.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6.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7.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8.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9.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0.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1.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2.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3.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4.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8.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5.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6.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7.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8.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9.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0.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1.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2.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3.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4.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9.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5.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6.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7.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8.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9.xml"/></Relationships>
</file>

<file path=ppt/notesSlides/_rels/notesSlide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0.xml"/></Relationships>
</file>

<file path=ppt/notesSlides/_rels/notesSlide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1.xml"/></Relationships>
</file>

<file path=ppt/notesSlides/_rels/notesSlide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2.xml"/></Relationships>
</file>

<file path=ppt/notesSlides/_rels/notesSlide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3.xml"/></Relationships>
</file>

<file path=ppt/notesSlides/_rels/notesSlide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0.xml"/></Relationships>
</file>

<file path=ppt/notesSlides/_rels/notesSlide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5.xml"/></Relationships>
</file>

<file path=ppt/notesSlides/_rels/notesSlide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6.xml"/></Relationships>
</file>

<file path=ppt/notesSlides/_rels/notesSlide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7.xml"/></Relationships>
</file>

<file path=ppt/notesSlides/_rels/notesSlide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8.xml"/></Relationships>
</file>

<file path=ppt/notesSlides/_rels/notesSlide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9.xml"/></Relationships>
</file>

<file path=ppt/notesSlides/_rels/notesSlide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0.xml"/></Relationships>
</file>

<file path=ppt/notesSlides/_rels/notesSlide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1.xml"/></Relationships>
</file>

<file path=ppt/notesSlides/_rels/notesSlide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2.xml"/></Relationships>
</file>

<file path=ppt/notesSlides/_rels/notesSlide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3.xml"/></Relationships>
</file>

<file path=ppt/notesSlides/_rels/notesSlide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4.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1.xml"/></Relationships>
</file>

<file path=ppt/notesSlides/_rels/notesSlide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5.xml"/></Relationships>
</file>

<file path=ppt/notesSlides/_rels/notesSlide6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6.xml"/></Relationships>
</file>

<file path=ppt/notesSlides/_rels/notesSlide6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7.xml"/></Relationships>
</file>

<file path=ppt/notesSlides/_rels/notesSlide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8.xml"/></Relationships>
</file>

<file path=ppt/notesSlides/_rels/notesSlide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9.xml"/></Relationships>
</file>

<file path=ppt/notesSlides/_rels/notesSlide6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0.xml"/></Relationships>
</file>

<file path=ppt/notesSlides/_rels/notesSlide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1.xml"/></Relationships>
</file>

<file path=ppt/notesSlides/_rels/notesSlide6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2.xml"/></Relationships>
</file>

<file path=ppt/notesSlides/_rels/notesSlide6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3.xml"/></Relationships>
</file>

<file path=ppt/notesSlides/_rels/notesSlide6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4.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2.xml"/></Relationships>
</file>

<file path=ppt/notesSlides/_rels/notesSlide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5.xml"/></Relationships>
</file>

<file path=ppt/notesSlides/_rels/notesSlide7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6.xml"/></Relationships>
</file>

<file path=ppt/notesSlides/_rels/notesSlide7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7.xml"/></Relationships>
</file>

<file path=ppt/notesSlides/_rels/notesSlide7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8.xml"/></Relationships>
</file>

<file path=ppt/notesSlides/_rels/notesSlide7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9.xml"/></Relationships>
</file>

<file path=ppt/notesSlides/_rels/notesSlide7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0.xml"/></Relationships>
</file>

<file path=ppt/notesSlides/_rels/notesSlide7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1.xml"/></Relationships>
</file>

<file path=ppt/notesSlides/_rels/notesSlide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2.xml"/></Relationships>
</file>

<file path=ppt/notesSlides/_rels/notesSlide7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3.xml"/></Relationships>
</file>

<file path=ppt/notesSlides/_rels/notesSlide7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4.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3.xml"/></Relationships>
</file>

<file path=ppt/notesSlides/_rels/notesSlide8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5.xml"/></Relationships>
</file>

<file path=ppt/notesSlides/_rels/notesSlide8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6.xml"/></Relationships>
</file>

<file path=ppt/notesSlides/_rels/notesSlide8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7.xml"/></Relationships>
</file>

<file path=ppt/notesSlides/_rels/notesSlide8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8.xml"/></Relationships>
</file>

<file path=ppt/notesSlides/_rels/notesSlide8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9.xml"/></Relationships>
</file>

<file path=ppt/notesSlides/_rels/notesSlide8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0.xml"/></Relationships>
</file>

<file path=ppt/notesSlides/_rels/notesSlide8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1.xml"/></Relationships>
</file>

<file path=ppt/notesSlides/_rels/notesSlide8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2.xml"/></Relationships>
</file>

<file path=ppt/notesSlides/_rels/notesSlide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3.xml"/></Relationships>
</file>

<file path=ppt/notesSlides/_rels/notesSlide8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4.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4.xml"/></Relationships>
</file>

<file path=ppt/notesSlides/_rels/notesSlide9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5.xml"/></Relationships>
</file>

<file path=ppt/notesSlides/_rels/notesSlide9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6.xml"/></Relationships>
</file>

<file path=ppt/notesSlides/_rels/notesSlide9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7.xml"/></Relationships>
</file>

<file path=ppt/notesSlides/_rels/notesSlide9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8.xml"/></Relationships>
</file>

<file path=ppt/notesSlides/_rels/notesSlide9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9.xml"/></Relationships>
</file>

<file path=ppt/notesSlides/_rels/notesSlide9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0.xml"/></Relationships>
</file>

<file path=ppt/notesSlides/_rels/notesSlide9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1.xml"/></Relationships>
</file>

<file path=ppt/notesSlides/_rels/notesSlide9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2.xml"/></Relationships>
</file>

<file path=ppt/notesSlides/_rels/notesSlide9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3.xml"/></Relationships>
</file>

<file path=ppt/notesSlides/_rels/notesSlide9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4.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B77A23-45BF-4838-9FB5-A0A7C626C9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6812931"/>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B77A23-45BF-4838-9FB5-A0A7C626C9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6812931"/>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B77A23-45BF-4838-9FB5-A0A7C626C9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6812931"/>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B77A23-45BF-4838-9FB5-A0A7C626C9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6812931"/>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B77A23-45BF-4838-9FB5-A0A7C626C9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6812931"/>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B77A23-45BF-4838-9FB5-A0A7C626C9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6812931"/>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B77A23-45BF-4838-9FB5-A0A7C626C9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6812931"/>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B77A23-45BF-4838-9FB5-A0A7C626C9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6812931"/>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B77A23-45BF-4838-9FB5-A0A7C626C9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681293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B77A23-45BF-4838-9FB5-A0A7C626C9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681293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41085331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AD88733-A950-4FD9-BB22-12C5F40A2B17}" type="datetime1">
              <a:rPr lang="en-US" smtClean="0"/>
              <a:t>12/12/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22955324"/>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D0D826C-3918-43B8-8876-8BF4AD49A296}" type="datetime1">
              <a:rPr lang="en-US" smtClean="0"/>
              <a:t>12/12/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40846785"/>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5BD8B8-06BA-4B5F-9200-6DA7BF53AEE1}" type="datetime1">
              <a:rPr lang="en-US" smtClean="0"/>
              <a:t>12/12/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168573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8DDD3F4-0D6F-47E6-8593-EBB56382158D}" type="datetime1">
              <a:rPr lang="en-US" smtClean="0"/>
              <a:t>12/12/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21797046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481EDE10-9189-495B-88A9-03D561B73E49}" type="datetime1">
              <a:rPr lang="en-US" smtClean="0"/>
              <a:t>12/12/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8665631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5B921D7A-97AA-4985-8FE0-49BBE088E6BB}" type="datetime1">
              <a:rPr lang="en-US" smtClean="0"/>
              <a:t>12/12/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5089182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24D81D-141B-465B-A842-D04818E8D5FB}" type="datetime1">
              <a:rPr lang="en-US" smtClean="0"/>
              <a:t>12/12/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777613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59209FE-0AC8-4D18-96D5-6E9638B202A2}" type="datetime1">
              <a:rPr lang="en-US" smtClean="0"/>
              <a:t>12/12/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2441942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E02F045-F5C7-4498-9217-73B05A860CC1}" type="datetime1">
              <a:rPr lang="en-US" smtClean="0"/>
              <a:t>12/12/2024</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223607700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E611D128-3D56-4D12-9102-5B8046DC7D49}" type="datetime1">
              <a:rPr lang="en-US" smtClean="0"/>
              <a:t>12/12/2024</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41299522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5E5FBACC-2EC0-48A4-B2D8-745D4C1642BC}" type="datetime1">
              <a:rPr lang="en-US" smtClean="0"/>
              <a:t>12/12/2024</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73821397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A24546CE-4E0A-4030-9BD9-0990FFC57DC8}" type="datetime1">
              <a:rPr lang="en-US" smtClean="0"/>
              <a:t>12/12/2024</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56369138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51329A59-9E64-4DFE-A7D9-256D04649A61}" type="datetime1">
              <a:rPr lang="en-US" smtClean="0"/>
              <a:t>12/12/2024</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473666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6F0DC129-0048-45FE-BBD5-D4D0DE1EF9FA}" type="datetime1">
              <a:rPr lang="en-US" smtClean="0"/>
              <a:t>12/12/2024</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0476795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835644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8BAF3DA6-6EB4-4243-982C-859B2894A60B}" type="datetime1">
              <a:rPr lang="en-US" smtClean="0"/>
              <a:t>12/12/2024</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21197683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F489141C-F318-4CF0-BFCD-4EC149E8EA4C}" type="datetime1">
              <a:rPr lang="en-US" smtClean="0"/>
              <a:t>12/12/2024</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40837398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B186165-B559-4ABC-B6D8-592E97CC6A4B}" type="datetime1">
              <a:rPr lang="en-US" smtClean="0"/>
              <a:t>12/12/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7178134"/>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3E2A59C-2832-41BC-9A21-812AF13E17D3}" type="datetime1">
              <a:rPr lang="en-US" smtClean="0"/>
              <a:t>12/12/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00747644"/>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1B8321AA-2433-4167-A1F9-283E2C3DC3B6}" type="datetime1">
              <a:rPr lang="en-US" smtClean="0"/>
              <a:t>12/12/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46938089"/>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1BEBE96-9371-4025-9EF2-371CDB24436C}" type="datetime1">
              <a:rPr lang="en-US" smtClean="0"/>
              <a:t>12/12/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94384708"/>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2FA37B67-A761-4DFE-B797-71C96E477701}" type="datetime1">
              <a:rPr lang="en-US" smtClean="0"/>
              <a:t>12/12/2024</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5112145"/>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CA15C64-AED6-4E75-9F70-581FD82EDF9D}" type="datetime1">
              <a:rPr lang="en-US" smtClean="0"/>
              <a:t>12/12/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94785864"/>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2AA3EA54-D3AC-4F40-B6D1-EC9E733A9166}" type="datetime1">
              <a:rPr lang="en-US" smtClean="0"/>
              <a:t>12/12/2024</a:t>
            </a:fld>
            <a:endParaRPr lang="en-US"/>
          </a:p>
        </p:txBody>
      </p:sp>
    </p:spTree>
    <p:extLst>
      <p:ext uri="{BB962C8B-B14F-4D97-AF65-F5344CB8AC3E}">
        <p14:creationId xmlns:p14="http://schemas.microsoft.com/office/powerpoint/2010/main" val="2146226508"/>
      </p:ext>
    </p:extLst>
  </p:cSld>
  <p:clrMap bg1="lt1" tx1="dk1" bg2="lt2" tx2="dk2" accent1="accent1" accent2="accent2" accent3="accent3" accent4="accent4" accent5="accent5" accent6="accent6" hlink="hlink" folHlink="folHlink"/>
  <p:sldLayoutIdLst>
    <p:sldLayoutId id="2147483843"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 id="2147483857" r:id="rId12"/>
    <p:sldLayoutId id="2147483858" r:id="rId13"/>
    <p:sldLayoutId id="2147483859" r:id="rId14"/>
    <p:sldLayoutId id="2147483860" r:id="rId15"/>
    <p:sldLayoutId id="2147483861" r:id="rId16"/>
    <p:sldLayoutId id="2147483862" r:id="rId17"/>
    <p:sldLayoutId id="2147483863" r:id="rId18"/>
    <p:sldLayoutId id="2147483864" r:id="rId19"/>
    <p:sldLayoutId id="2147483865" r:id="rId20"/>
    <p:sldLayoutId id="2147483866" r:id="rId21"/>
    <p:sldLayoutId id="2147483867" r:id="rId22"/>
    <p:sldLayoutId id="2147483902" r:id="rId23"/>
    <p:sldLayoutId id="2147483903"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0.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00.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01.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02.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03.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04.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05.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06.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07.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08.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0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1.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10.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11.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12.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13.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14.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15.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16.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17.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18.xml"/></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1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2.xml"/></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20.xml"/></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21.xml"/></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22.xml"/></Relationships>
</file>

<file path=ppt/slides/_rels/slide12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23.xml"/></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24.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25.xml"/></Relationships>
</file>

<file path=ppt/slides/_rels/slide12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26.xml"/></Relationships>
</file>

<file path=ppt/slides/_rels/slide12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27.xml"/></Relationships>
</file>

<file path=ppt/slides/_rels/slide12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28.xml"/></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2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xml"/></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0.xml"/></Relationships>
</file>

<file path=ppt/slides/_rels/slide13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1.xml"/></Relationships>
</file>

<file path=ppt/slides/_rels/slide13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2.xml"/></Relationships>
</file>

<file path=ppt/slides/_rels/slide13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3.xml"/></Relationships>
</file>

<file path=ppt/slides/_rels/slide13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4.xml"/></Relationships>
</file>

<file path=ppt/slides/_rels/slide13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5.xml"/></Relationships>
</file>

<file path=ppt/slides/_rels/slide13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6.xml"/></Relationships>
</file>

<file path=ppt/slides/_rels/slide13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7.xml"/></Relationships>
</file>

<file path=ppt/slides/_rels/slide13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8.xml"/></Relationships>
</file>

<file path=ppt/slides/_rels/slide13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xml"/></Relationships>
</file>

<file path=ppt/slides/_rels/slide14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0.xml"/></Relationships>
</file>

<file path=ppt/slides/_rels/slide14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1.xml"/></Relationships>
</file>

<file path=ppt/slides/_rels/slide14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2.xml"/></Relationships>
</file>

<file path=ppt/slides/_rels/slide14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3.xml"/></Relationships>
</file>

<file path=ppt/slides/_rels/slide14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4.xml"/></Relationships>
</file>

<file path=ppt/slides/_rels/slide14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5.xml"/></Relationships>
</file>

<file path=ppt/slides/_rels/slide14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6.xml"/></Relationships>
</file>

<file path=ppt/slides/_rels/slide14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7.xml"/></Relationships>
</file>

<file path=ppt/slides/_rels/slide14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8.xml"/></Relationships>
</file>

<file path=ppt/slides/_rels/slide14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xml"/></Relationships>
</file>

<file path=ppt/slides/_rels/slide15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0.xml"/></Relationships>
</file>

<file path=ppt/slides/_rels/slide15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1.xml"/></Relationships>
</file>

<file path=ppt/slides/_rels/slide15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2.xml"/></Relationships>
</file>

<file path=ppt/slides/_rels/slide15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3.xml"/></Relationships>
</file>

<file path=ppt/slides/_rels/slide15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4.xml"/></Relationships>
</file>

<file path=ppt/slides/_rels/slide15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5.xml"/></Relationships>
</file>

<file path=ppt/slides/_rels/slide15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6.xml"/></Relationships>
</file>

<file path=ppt/slides/_rels/slide15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7.xml"/></Relationships>
</file>

<file path=ppt/slides/_rels/slide15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8.xml"/></Relationships>
</file>

<file path=ppt/slides/_rels/slide15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9.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xml"/></Relationships>
</file>

<file path=ppt/slides/_rels/slide16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0.xml"/></Relationships>
</file>

<file path=ppt/slides/_rels/slide16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1.xml"/></Relationships>
</file>

<file path=ppt/slides/_rels/slide16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2.xml"/></Relationships>
</file>

<file path=ppt/slides/_rels/slide16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3.xml"/></Relationships>
</file>

<file path=ppt/slides/_rels/slide16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4.xml"/></Relationships>
</file>

<file path=ppt/slides/_rels/slide16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5.xml"/></Relationships>
</file>

<file path=ppt/slides/_rels/slide16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6.xml"/></Relationships>
</file>

<file path=ppt/slides/_rels/slide16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7.xml"/></Relationships>
</file>

<file path=ppt/slides/_rels/slide16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8.xml"/></Relationships>
</file>

<file path=ppt/slides/_rels/slide16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xml"/></Relationships>
</file>

<file path=ppt/slides/_rels/slide17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0.xml"/></Relationships>
</file>

<file path=ppt/slides/_rels/slide17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1.xml"/></Relationships>
</file>

<file path=ppt/slides/_rels/slide17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2.xml"/></Relationships>
</file>

<file path=ppt/slides/_rels/slide17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3.xml"/></Relationships>
</file>

<file path=ppt/slides/_rels/slide17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4.xml"/></Relationships>
</file>

<file path=ppt/slides/_rels/slide17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5.xml"/></Relationships>
</file>

<file path=ppt/slides/_rels/slide17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6.xml"/></Relationships>
</file>

<file path=ppt/slides/_rels/slide17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7.xml"/></Relationships>
</file>

<file path=ppt/slides/_rels/slide17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8.xml"/></Relationships>
</file>

<file path=ppt/slides/_rels/slide17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8.xml"/></Relationships>
</file>

<file path=ppt/slides/_rels/slide18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80.xml"/></Relationships>
</file>

<file path=ppt/slides/_rels/slide18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81.xml"/></Relationships>
</file>

<file path=ppt/slides/_rels/slide18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82.xml"/></Relationships>
</file>

<file path=ppt/slides/_rels/slide18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83.xml"/></Relationships>
</file>

<file path=ppt/slides/_rels/slide18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84.xml"/></Relationships>
</file>

<file path=ppt/slides/_rels/slide18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85.xml"/></Relationships>
</file>

<file path=ppt/slides/_rels/slide18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86.xml"/></Relationships>
</file>

<file path=ppt/slides/_rels/slide18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87.xml"/></Relationships>
</file>

<file path=ppt/slides/_rels/slide18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88.xml"/></Relationships>
</file>

<file path=ppt/slides/_rels/slide18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89.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9.xml"/></Relationships>
</file>

<file path=ppt/slides/_rels/slide19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90.xml"/></Relationships>
</file>

<file path=ppt/slides/_rels/slide19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91.xml"/></Relationships>
</file>

<file path=ppt/slides/_rels/slide19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92.xml"/></Relationships>
</file>

<file path=ppt/slides/_rels/slide19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93.xml"/></Relationships>
</file>

<file path=ppt/slides/_rels/slide19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94.xml"/></Relationships>
</file>

<file path=ppt/slides/_rels/slide19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95.xml"/></Relationships>
</file>

<file path=ppt/slides/_rels/slide19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96.xml"/></Relationships>
</file>

<file path=ppt/slides/_rels/slide19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97.xml"/></Relationships>
</file>

<file path=ppt/slides/_rels/slide19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98.xml"/></Relationships>
</file>

<file path=ppt/slides/_rels/slide19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9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0.xml"/></Relationships>
</file>

<file path=ppt/slides/_rels/slide20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00.xml"/></Relationships>
</file>

<file path=ppt/slides/_rels/slide20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01.xml"/></Relationships>
</file>

<file path=ppt/slides/_rels/slide20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02.xml"/></Relationships>
</file>

<file path=ppt/slides/_rels/slide20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03.xml"/></Relationships>
</file>

<file path=ppt/slides/_rels/slide20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04.xml"/></Relationships>
</file>

<file path=ppt/slides/_rels/slide20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05.xml"/></Relationships>
</file>

<file path=ppt/slides/_rels/slide20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06.xml"/></Relationships>
</file>

<file path=ppt/slides/_rels/slide20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07.xml"/></Relationships>
</file>

<file path=ppt/slides/_rels/slide20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08.xml"/></Relationships>
</file>

<file path=ppt/slides/_rels/slide20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09.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1.xml"/></Relationships>
</file>

<file path=ppt/slides/_rels/slide21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10.xml"/></Relationships>
</file>

<file path=ppt/slides/_rels/slide21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11.xml"/></Relationships>
</file>

<file path=ppt/slides/_rels/slide21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12.xml"/></Relationships>
</file>

<file path=ppt/slides/_rels/slide21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13.xml"/></Relationships>
</file>

<file path=ppt/slides/_rels/slide21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14.xml"/></Relationships>
</file>

<file path=ppt/slides/_rels/slide21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15.xml"/></Relationships>
</file>

<file path=ppt/slides/_rels/slide21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xml"/><Relationship Id="rId3" Type="http://schemas.openxmlformats.org/officeDocument/2006/relationships/chart" Target="../charts/chart216.xml"/><Relationship Id="rId4" Type="http://schemas.openxmlformats.org/officeDocument/2006/relationships/chart" Target="../charts/chart217.xml"/></Relationships>
</file>

<file path=ppt/slides/_rels/slide21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xml"/><Relationship Id="rId3" Type="http://schemas.openxmlformats.org/officeDocument/2006/relationships/chart" Target="../charts/chart218.xml"/><Relationship Id="rId4" Type="http://schemas.openxmlformats.org/officeDocument/2006/relationships/chart" Target="../charts/chart219.xml"/></Relationships>
</file>

<file path=ppt/slides/_rels/slide21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xml"/><Relationship Id="rId3" Type="http://schemas.openxmlformats.org/officeDocument/2006/relationships/chart" Target="../charts/chart220.xml"/><Relationship Id="rId4" Type="http://schemas.openxmlformats.org/officeDocument/2006/relationships/chart" Target="../charts/chart221.xml"/></Relationships>
</file>

<file path=ppt/slides/_rels/slide21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xml"/><Relationship Id="rId3" Type="http://schemas.openxmlformats.org/officeDocument/2006/relationships/chart" Target="../charts/chart222.xml"/><Relationship Id="rId4" Type="http://schemas.openxmlformats.org/officeDocument/2006/relationships/chart" Target="../charts/chart22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2.xml"/></Relationships>
</file>

<file path=ppt/slides/_rels/slide22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xml"/><Relationship Id="rId3" Type="http://schemas.openxmlformats.org/officeDocument/2006/relationships/chart" Target="../charts/chart224.xml"/><Relationship Id="rId4" Type="http://schemas.openxmlformats.org/officeDocument/2006/relationships/chart" Target="../charts/chart225.xml"/></Relationships>
</file>

<file path=ppt/slides/_rels/slide22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xml"/><Relationship Id="rId3" Type="http://schemas.openxmlformats.org/officeDocument/2006/relationships/chart" Target="../charts/chart226.xml"/><Relationship Id="rId4" Type="http://schemas.openxmlformats.org/officeDocument/2006/relationships/chart" Target="../charts/chart227.xml"/></Relationships>
</file>

<file path=ppt/slides/_rels/slide22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xml"/><Relationship Id="rId3" Type="http://schemas.openxmlformats.org/officeDocument/2006/relationships/chart" Target="../charts/chart228.xml"/><Relationship Id="rId4" Type="http://schemas.openxmlformats.org/officeDocument/2006/relationships/chart" Target="../charts/chart229.xml"/></Relationships>
</file>

<file path=ppt/slides/_rels/slide22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xml"/><Relationship Id="rId3" Type="http://schemas.openxmlformats.org/officeDocument/2006/relationships/chart" Target="../charts/chart230.xml"/><Relationship Id="rId4" Type="http://schemas.openxmlformats.org/officeDocument/2006/relationships/chart" Target="../charts/chart231.xml"/></Relationships>
</file>

<file path=ppt/slides/_rels/slide2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xml"/><Relationship Id="rId3" Type="http://schemas.openxmlformats.org/officeDocument/2006/relationships/chart" Target="../charts/chart232.xml"/><Relationship Id="rId4" Type="http://schemas.openxmlformats.org/officeDocument/2006/relationships/chart" Target="../charts/chart233.xml"/></Relationships>
</file>

<file path=ppt/slides/_rels/slide22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0.xml"/><Relationship Id="rId3" Type="http://schemas.openxmlformats.org/officeDocument/2006/relationships/chart" Target="../charts/chart234.xml"/><Relationship Id="rId4" Type="http://schemas.openxmlformats.org/officeDocument/2006/relationships/chart" Target="../charts/chart235.xml"/></Relationships>
</file>

<file path=ppt/slides/_rels/slide22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1.xml"/><Relationship Id="rId3" Type="http://schemas.openxmlformats.org/officeDocument/2006/relationships/chart" Target="../charts/chart236.xml"/><Relationship Id="rId4" Type="http://schemas.openxmlformats.org/officeDocument/2006/relationships/chart" Target="../charts/chart237.xml"/></Relationships>
</file>

<file path=ppt/slides/_rels/slide22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2.xml"/><Relationship Id="rId3" Type="http://schemas.openxmlformats.org/officeDocument/2006/relationships/chart" Target="../charts/chart238.xml"/><Relationship Id="rId4" Type="http://schemas.openxmlformats.org/officeDocument/2006/relationships/chart" Target="../charts/chart239.xml"/></Relationships>
</file>

<file path=ppt/slides/_rels/slide22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3.xml"/><Relationship Id="rId3" Type="http://schemas.openxmlformats.org/officeDocument/2006/relationships/chart" Target="../charts/chart240.xml"/><Relationship Id="rId4" Type="http://schemas.openxmlformats.org/officeDocument/2006/relationships/chart" Target="../charts/chart241.xml"/></Relationships>
</file>

<file path=ppt/slides/_rels/slide22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4.xml"/><Relationship Id="rId3" Type="http://schemas.openxmlformats.org/officeDocument/2006/relationships/chart" Target="../charts/chart242.xml"/><Relationship Id="rId4" Type="http://schemas.openxmlformats.org/officeDocument/2006/relationships/chart" Target="../charts/chart24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3.xml"/></Relationships>
</file>

<file path=ppt/slides/_rels/slide23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5.xml"/><Relationship Id="rId3" Type="http://schemas.openxmlformats.org/officeDocument/2006/relationships/chart" Target="../charts/chart244.xml"/><Relationship Id="rId4" Type="http://schemas.openxmlformats.org/officeDocument/2006/relationships/chart" Target="../charts/chart245.xml"/></Relationships>
</file>

<file path=ppt/slides/_rels/slide23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6.xml"/><Relationship Id="rId3" Type="http://schemas.openxmlformats.org/officeDocument/2006/relationships/chart" Target="../charts/chart246.xml"/><Relationship Id="rId4" Type="http://schemas.openxmlformats.org/officeDocument/2006/relationships/chart" Target="../charts/chart247.xml"/></Relationships>
</file>

<file path=ppt/slides/_rels/slide23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7.xml"/><Relationship Id="rId3" Type="http://schemas.openxmlformats.org/officeDocument/2006/relationships/chart" Target="../charts/chart248.xml"/><Relationship Id="rId4" Type="http://schemas.openxmlformats.org/officeDocument/2006/relationships/chart" Target="../charts/chart249.xml"/></Relationships>
</file>

<file path=ppt/slides/_rels/slide23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8.xml"/><Relationship Id="rId3" Type="http://schemas.openxmlformats.org/officeDocument/2006/relationships/chart" Target="../charts/chart250.xml"/><Relationship Id="rId4" Type="http://schemas.openxmlformats.org/officeDocument/2006/relationships/chart" Target="../charts/chart251.xml"/></Relationships>
</file>

<file path=ppt/slides/_rels/slide23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9.xml"/><Relationship Id="rId3" Type="http://schemas.openxmlformats.org/officeDocument/2006/relationships/chart" Target="../charts/chart252.xml"/><Relationship Id="rId4" Type="http://schemas.openxmlformats.org/officeDocument/2006/relationships/chart" Target="../charts/chart253.xml"/></Relationships>
</file>

<file path=ppt/slides/_rels/slide23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0.xml"/><Relationship Id="rId3" Type="http://schemas.openxmlformats.org/officeDocument/2006/relationships/chart" Target="../charts/chart254.xml"/><Relationship Id="rId4" Type="http://schemas.openxmlformats.org/officeDocument/2006/relationships/chart" Target="../charts/chart255.xml"/></Relationships>
</file>

<file path=ppt/slides/_rels/slide23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1.xml"/><Relationship Id="rId3" Type="http://schemas.openxmlformats.org/officeDocument/2006/relationships/chart" Target="../charts/chart256.xml"/><Relationship Id="rId4" Type="http://schemas.openxmlformats.org/officeDocument/2006/relationships/chart" Target="../charts/chart257.xml"/></Relationships>
</file>

<file path=ppt/slides/_rels/slide23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2.xml"/><Relationship Id="rId3" Type="http://schemas.openxmlformats.org/officeDocument/2006/relationships/chart" Target="../charts/chart258.xml"/><Relationship Id="rId4" Type="http://schemas.openxmlformats.org/officeDocument/2006/relationships/chart" Target="../charts/chart259.xml"/></Relationships>
</file>

<file path=ppt/slides/_rels/slide23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3.xml"/><Relationship Id="rId3" Type="http://schemas.openxmlformats.org/officeDocument/2006/relationships/chart" Target="../charts/chart260.xml"/><Relationship Id="rId4" Type="http://schemas.openxmlformats.org/officeDocument/2006/relationships/chart" Target="../charts/chart261.xml"/></Relationships>
</file>

<file path=ppt/slides/_rels/slide23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4.xml"/><Relationship Id="rId3" Type="http://schemas.openxmlformats.org/officeDocument/2006/relationships/chart" Target="../charts/chart262.xml"/><Relationship Id="rId4" Type="http://schemas.openxmlformats.org/officeDocument/2006/relationships/chart" Target="../charts/chart26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4.xml"/></Relationships>
</file>

<file path=ppt/slides/_rels/slide24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5.xml"/><Relationship Id="rId3" Type="http://schemas.openxmlformats.org/officeDocument/2006/relationships/chart" Target="../charts/chart264.xml"/><Relationship Id="rId4" Type="http://schemas.openxmlformats.org/officeDocument/2006/relationships/chart" Target="../charts/chart265.xml"/></Relationships>
</file>

<file path=ppt/slides/_rels/slide24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6.xml"/><Relationship Id="rId3" Type="http://schemas.openxmlformats.org/officeDocument/2006/relationships/chart" Target="../charts/chart266.xml"/><Relationship Id="rId4" Type="http://schemas.openxmlformats.org/officeDocument/2006/relationships/chart" Target="../charts/chart267.xml"/></Relationships>
</file>

<file path=ppt/slides/_rels/slide24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7.xml"/><Relationship Id="rId3" Type="http://schemas.openxmlformats.org/officeDocument/2006/relationships/chart" Target="../charts/chart268.xml"/><Relationship Id="rId4" Type="http://schemas.openxmlformats.org/officeDocument/2006/relationships/chart" Target="../charts/chart269.xml"/></Relationships>
</file>

<file path=ppt/slides/_rels/slide24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8.xml"/><Relationship Id="rId3" Type="http://schemas.openxmlformats.org/officeDocument/2006/relationships/chart" Target="../charts/chart270.xml"/><Relationship Id="rId4" Type="http://schemas.openxmlformats.org/officeDocument/2006/relationships/chart" Target="../charts/chart271.xml"/></Relationships>
</file>

<file path=ppt/slides/_rels/slide24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9.xml"/><Relationship Id="rId3" Type="http://schemas.openxmlformats.org/officeDocument/2006/relationships/chart" Target="../charts/chart272.xml"/><Relationship Id="rId4" Type="http://schemas.openxmlformats.org/officeDocument/2006/relationships/chart" Target="../charts/chart273.xml"/></Relationships>
</file>

<file path=ppt/slides/_rels/slide24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0.xml"/><Relationship Id="rId3" Type="http://schemas.openxmlformats.org/officeDocument/2006/relationships/chart" Target="../charts/chart274.xml"/><Relationship Id="rId4" Type="http://schemas.openxmlformats.org/officeDocument/2006/relationships/chart" Target="../charts/chart275.xml"/></Relationships>
</file>

<file path=ppt/slides/_rels/slide24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1.xml"/><Relationship Id="rId3" Type="http://schemas.openxmlformats.org/officeDocument/2006/relationships/chart" Target="../charts/chart276.xml"/><Relationship Id="rId4" Type="http://schemas.openxmlformats.org/officeDocument/2006/relationships/chart" Target="../charts/chart277.xml"/></Relationships>
</file>

<file path=ppt/slides/_rels/slide24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2.xml"/><Relationship Id="rId3" Type="http://schemas.openxmlformats.org/officeDocument/2006/relationships/chart" Target="../charts/chart278.xml"/><Relationship Id="rId4" Type="http://schemas.openxmlformats.org/officeDocument/2006/relationships/chart" Target="../charts/chart279.xml"/></Relationships>
</file>

<file path=ppt/slides/_rels/slide24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3.xml"/><Relationship Id="rId3" Type="http://schemas.openxmlformats.org/officeDocument/2006/relationships/chart" Target="../charts/chart280.xml"/><Relationship Id="rId4" Type="http://schemas.openxmlformats.org/officeDocument/2006/relationships/chart" Target="../charts/chart281.xml"/></Relationships>
</file>

<file path=ppt/slides/_rels/slide24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4.xml"/><Relationship Id="rId3" Type="http://schemas.openxmlformats.org/officeDocument/2006/relationships/chart" Target="../charts/chart282.xml"/><Relationship Id="rId4" Type="http://schemas.openxmlformats.org/officeDocument/2006/relationships/chart" Target="../charts/chart28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5.xml"/></Relationships>
</file>

<file path=ppt/slides/_rels/slide25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5.xml"/><Relationship Id="rId3" Type="http://schemas.openxmlformats.org/officeDocument/2006/relationships/chart" Target="../charts/chart284.xml"/><Relationship Id="rId4" Type="http://schemas.openxmlformats.org/officeDocument/2006/relationships/chart" Target="../charts/chart285.xml"/></Relationships>
</file>

<file path=ppt/slides/_rels/slide25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6.xml"/><Relationship Id="rId3" Type="http://schemas.openxmlformats.org/officeDocument/2006/relationships/chart" Target="../charts/chart286.xml"/><Relationship Id="rId4" Type="http://schemas.openxmlformats.org/officeDocument/2006/relationships/chart" Target="../charts/chart287.xml"/></Relationships>
</file>

<file path=ppt/slides/_rels/slide25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7.xml"/><Relationship Id="rId3" Type="http://schemas.openxmlformats.org/officeDocument/2006/relationships/chart" Target="../charts/chart288.xml"/><Relationship Id="rId4" Type="http://schemas.openxmlformats.org/officeDocument/2006/relationships/chart" Target="../charts/chart289.xml"/></Relationships>
</file>

<file path=ppt/slides/_rels/slide25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8.xml"/><Relationship Id="rId3" Type="http://schemas.openxmlformats.org/officeDocument/2006/relationships/chart" Target="../charts/chart290.xml"/><Relationship Id="rId4" Type="http://schemas.openxmlformats.org/officeDocument/2006/relationships/chart" Target="../charts/chart291.xml"/></Relationships>
</file>

<file path=ppt/slides/_rels/slide25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9.xml"/><Relationship Id="rId3" Type="http://schemas.openxmlformats.org/officeDocument/2006/relationships/chart" Target="../charts/chart292.xml"/><Relationship Id="rId4" Type="http://schemas.openxmlformats.org/officeDocument/2006/relationships/chart" Target="../charts/chart293.xml"/></Relationships>
</file>

<file path=ppt/slides/_rels/slide25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0.xml"/><Relationship Id="rId3" Type="http://schemas.openxmlformats.org/officeDocument/2006/relationships/chart" Target="../charts/chart294.xml"/><Relationship Id="rId4" Type="http://schemas.openxmlformats.org/officeDocument/2006/relationships/chart" Target="../charts/chart295.xml"/></Relationships>
</file>

<file path=ppt/slides/_rels/slide25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1.xml"/><Relationship Id="rId3" Type="http://schemas.openxmlformats.org/officeDocument/2006/relationships/chart" Target="../charts/chart296.xml"/><Relationship Id="rId4" Type="http://schemas.openxmlformats.org/officeDocument/2006/relationships/chart" Target="../charts/chart297.xml"/></Relationships>
</file>

<file path=ppt/slides/_rels/slide25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2.xml"/><Relationship Id="rId3" Type="http://schemas.openxmlformats.org/officeDocument/2006/relationships/chart" Target="../charts/chart298.xml"/><Relationship Id="rId4" Type="http://schemas.openxmlformats.org/officeDocument/2006/relationships/chart" Target="../charts/chart299.xml"/></Relationships>
</file>

<file path=ppt/slides/_rels/slide25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3.xml"/><Relationship Id="rId3" Type="http://schemas.openxmlformats.org/officeDocument/2006/relationships/chart" Target="../charts/chart300.xml"/><Relationship Id="rId4" Type="http://schemas.openxmlformats.org/officeDocument/2006/relationships/chart" Target="../charts/chart301.xml"/></Relationships>
</file>

<file path=ppt/slides/_rels/slide25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4.xml"/><Relationship Id="rId3" Type="http://schemas.openxmlformats.org/officeDocument/2006/relationships/chart" Target="../charts/chart302.xml"/><Relationship Id="rId4" Type="http://schemas.openxmlformats.org/officeDocument/2006/relationships/chart" Target="../charts/chart30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6.xml"/></Relationships>
</file>

<file path=ppt/slides/_rels/slide26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5.xml"/><Relationship Id="rId3" Type="http://schemas.openxmlformats.org/officeDocument/2006/relationships/chart" Target="../charts/chart304.xml"/><Relationship Id="rId4" Type="http://schemas.openxmlformats.org/officeDocument/2006/relationships/chart" Target="../charts/chart305.xml"/></Relationships>
</file>

<file path=ppt/slides/_rels/slide26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6.xml"/><Relationship Id="rId3" Type="http://schemas.openxmlformats.org/officeDocument/2006/relationships/chart" Target="../charts/chart306.xml"/><Relationship Id="rId4" Type="http://schemas.openxmlformats.org/officeDocument/2006/relationships/chart" Target="../charts/chart307.xml"/></Relationships>
</file>

<file path=ppt/slides/_rels/slide26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7.xml"/><Relationship Id="rId3" Type="http://schemas.openxmlformats.org/officeDocument/2006/relationships/chart" Target="../charts/chart308.xml"/><Relationship Id="rId4" Type="http://schemas.openxmlformats.org/officeDocument/2006/relationships/chart" Target="../charts/chart309.xml"/></Relationships>
</file>

<file path=ppt/slides/_rels/slide26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8.xml"/><Relationship Id="rId3" Type="http://schemas.openxmlformats.org/officeDocument/2006/relationships/chart" Target="../charts/chart310.xml"/><Relationship Id="rId4" Type="http://schemas.openxmlformats.org/officeDocument/2006/relationships/chart" Target="../charts/chart311.xml"/></Relationships>
</file>

<file path=ppt/slides/_rels/slide26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9.xml"/><Relationship Id="rId3" Type="http://schemas.openxmlformats.org/officeDocument/2006/relationships/chart" Target="../charts/chart312.xml"/><Relationship Id="rId4" Type="http://schemas.openxmlformats.org/officeDocument/2006/relationships/chart" Target="../charts/chart313.xml"/></Relationships>
</file>

<file path=ppt/slides/_rels/slide26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0.xml"/><Relationship Id="rId3" Type="http://schemas.openxmlformats.org/officeDocument/2006/relationships/chart" Target="../charts/chart314.xml"/><Relationship Id="rId4" Type="http://schemas.openxmlformats.org/officeDocument/2006/relationships/chart" Target="../charts/chart315.xml"/></Relationships>
</file>

<file path=ppt/slides/_rels/slide26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1.xml"/><Relationship Id="rId3" Type="http://schemas.openxmlformats.org/officeDocument/2006/relationships/chart" Target="../charts/chart316.xml"/><Relationship Id="rId4" Type="http://schemas.openxmlformats.org/officeDocument/2006/relationships/chart" Target="../charts/chart317.xml"/></Relationships>
</file>

<file path=ppt/slides/_rels/slide26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2.xml"/><Relationship Id="rId3" Type="http://schemas.openxmlformats.org/officeDocument/2006/relationships/chart" Target="../charts/chart318.xml"/><Relationship Id="rId4" Type="http://schemas.openxmlformats.org/officeDocument/2006/relationships/chart" Target="../charts/chart319.xml"/></Relationships>
</file>

<file path=ppt/slides/_rels/slide26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3.xml"/><Relationship Id="rId3" Type="http://schemas.openxmlformats.org/officeDocument/2006/relationships/chart" Target="../charts/chart320.xml"/><Relationship Id="rId4" Type="http://schemas.openxmlformats.org/officeDocument/2006/relationships/chart" Target="../charts/chart321.xml"/></Relationships>
</file>

<file path=ppt/slides/_rels/slide26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4.xml"/><Relationship Id="rId3" Type="http://schemas.openxmlformats.org/officeDocument/2006/relationships/chart" Target="../charts/chart322.xml"/><Relationship Id="rId4" Type="http://schemas.openxmlformats.org/officeDocument/2006/relationships/chart" Target="../charts/chart32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7.xml"/></Relationships>
</file>

<file path=ppt/slides/_rels/slide27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5.xml"/><Relationship Id="rId3" Type="http://schemas.openxmlformats.org/officeDocument/2006/relationships/chart" Target="../charts/chart324.xml"/><Relationship Id="rId4" Type="http://schemas.openxmlformats.org/officeDocument/2006/relationships/chart" Target="../charts/chart325.xml"/></Relationships>
</file>

<file path=ppt/slides/_rels/slide27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6.xml"/><Relationship Id="rId3" Type="http://schemas.openxmlformats.org/officeDocument/2006/relationships/chart" Target="../charts/chart326.xml"/><Relationship Id="rId4" Type="http://schemas.openxmlformats.org/officeDocument/2006/relationships/chart" Target="../charts/chart327.xml"/></Relationships>
</file>

<file path=ppt/slides/_rels/slide27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7.xml"/><Relationship Id="rId3" Type="http://schemas.openxmlformats.org/officeDocument/2006/relationships/chart" Target="../charts/chart328.xml"/><Relationship Id="rId4" Type="http://schemas.openxmlformats.org/officeDocument/2006/relationships/chart" Target="../charts/chart329.xml"/></Relationships>
</file>

<file path=ppt/slides/_rels/slide27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8.xml"/><Relationship Id="rId3" Type="http://schemas.openxmlformats.org/officeDocument/2006/relationships/chart" Target="../charts/chart330.xml"/><Relationship Id="rId4" Type="http://schemas.openxmlformats.org/officeDocument/2006/relationships/chart" Target="../charts/chart331.xml"/></Relationships>
</file>

<file path=ppt/slides/_rels/slide27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9.xml"/><Relationship Id="rId3" Type="http://schemas.openxmlformats.org/officeDocument/2006/relationships/chart" Target="../charts/chart332.xml"/><Relationship Id="rId4" Type="http://schemas.openxmlformats.org/officeDocument/2006/relationships/chart" Target="../charts/chart333.xml"/></Relationships>
</file>

<file path=ppt/slides/_rels/slide27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0.xml"/><Relationship Id="rId3" Type="http://schemas.openxmlformats.org/officeDocument/2006/relationships/chart" Target="../charts/chart334.xml"/><Relationship Id="rId4" Type="http://schemas.openxmlformats.org/officeDocument/2006/relationships/chart" Target="../charts/chart335.xml"/></Relationships>
</file>

<file path=ppt/slides/_rels/slide27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1.xml"/><Relationship Id="rId3" Type="http://schemas.openxmlformats.org/officeDocument/2006/relationships/chart" Target="../charts/chart336.xml"/><Relationship Id="rId4" Type="http://schemas.openxmlformats.org/officeDocument/2006/relationships/chart" Target="../charts/chart337.xml"/></Relationships>
</file>

<file path=ppt/slides/_rels/slide27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2.xml"/><Relationship Id="rId3" Type="http://schemas.openxmlformats.org/officeDocument/2006/relationships/chart" Target="../charts/chart338.xml"/><Relationship Id="rId4" Type="http://schemas.openxmlformats.org/officeDocument/2006/relationships/chart" Target="../charts/chart339.xml"/></Relationships>
</file>

<file path=ppt/slides/_rels/slide27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3.xml"/><Relationship Id="rId3" Type="http://schemas.openxmlformats.org/officeDocument/2006/relationships/chart" Target="../charts/chart340.xml"/><Relationship Id="rId4" Type="http://schemas.openxmlformats.org/officeDocument/2006/relationships/chart" Target="../charts/chart341.xml"/></Relationships>
</file>

<file path=ppt/slides/_rels/slide27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4.xml"/><Relationship Id="rId3" Type="http://schemas.openxmlformats.org/officeDocument/2006/relationships/chart" Target="../charts/chart342.xml"/><Relationship Id="rId4" Type="http://schemas.openxmlformats.org/officeDocument/2006/relationships/chart" Target="../charts/chart34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8.xml"/></Relationships>
</file>

<file path=ppt/slides/_rels/slide28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5.xml"/><Relationship Id="rId3" Type="http://schemas.openxmlformats.org/officeDocument/2006/relationships/chart" Target="../charts/chart344.xml"/><Relationship Id="rId4" Type="http://schemas.openxmlformats.org/officeDocument/2006/relationships/chart" Target="../charts/chart345.xml"/></Relationships>
</file>

<file path=ppt/slides/_rels/slide28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6.xml"/><Relationship Id="rId3" Type="http://schemas.openxmlformats.org/officeDocument/2006/relationships/chart" Target="../charts/chart346.xml"/><Relationship Id="rId4" Type="http://schemas.openxmlformats.org/officeDocument/2006/relationships/chart" Target="../charts/chart347.xml"/></Relationships>
</file>

<file path=ppt/slides/_rels/slide28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7.xml"/><Relationship Id="rId3" Type="http://schemas.openxmlformats.org/officeDocument/2006/relationships/chart" Target="../charts/chart348.xml"/><Relationship Id="rId4" Type="http://schemas.openxmlformats.org/officeDocument/2006/relationships/chart" Target="../charts/chart349.xml"/></Relationships>
</file>

<file path=ppt/slides/_rels/slide28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8.xml"/><Relationship Id="rId3" Type="http://schemas.openxmlformats.org/officeDocument/2006/relationships/chart" Target="../charts/chart350.xml"/><Relationship Id="rId4" Type="http://schemas.openxmlformats.org/officeDocument/2006/relationships/chart" Target="../charts/chart351.xml"/></Relationships>
</file>

<file path=ppt/slides/_rels/slide28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9.xml"/><Relationship Id="rId3" Type="http://schemas.openxmlformats.org/officeDocument/2006/relationships/chart" Target="../charts/chart352.xml"/><Relationship Id="rId4" Type="http://schemas.openxmlformats.org/officeDocument/2006/relationships/chart" Target="../charts/chart353.xml"/></Relationships>
</file>

<file path=ppt/slides/_rels/slide28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0.xml"/><Relationship Id="rId3" Type="http://schemas.openxmlformats.org/officeDocument/2006/relationships/chart" Target="../charts/chart354.xml"/><Relationship Id="rId4" Type="http://schemas.openxmlformats.org/officeDocument/2006/relationships/chart" Target="../charts/chart355.xml"/></Relationships>
</file>

<file path=ppt/slides/_rels/slide28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1.xml"/><Relationship Id="rId3" Type="http://schemas.openxmlformats.org/officeDocument/2006/relationships/chart" Target="../charts/chart356.xml"/><Relationship Id="rId4" Type="http://schemas.openxmlformats.org/officeDocument/2006/relationships/chart" Target="../charts/chart357.xml"/></Relationships>
</file>

<file path=ppt/slides/_rels/slide28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2.xml"/><Relationship Id="rId3" Type="http://schemas.openxmlformats.org/officeDocument/2006/relationships/chart" Target="../charts/chart358.xml"/><Relationship Id="rId4" Type="http://schemas.openxmlformats.org/officeDocument/2006/relationships/chart" Target="../charts/chart359.xml"/></Relationships>
</file>

<file path=ppt/slides/_rels/slide28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3.xml"/><Relationship Id="rId3" Type="http://schemas.openxmlformats.org/officeDocument/2006/relationships/chart" Target="../charts/chart360.xml"/><Relationship Id="rId4" Type="http://schemas.openxmlformats.org/officeDocument/2006/relationships/chart" Target="../charts/chart361.xml"/></Relationships>
</file>

<file path=ppt/slides/_rels/slide28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4.xml"/><Relationship Id="rId3" Type="http://schemas.openxmlformats.org/officeDocument/2006/relationships/chart" Target="../charts/chart362.xml"/><Relationship Id="rId4" Type="http://schemas.openxmlformats.org/officeDocument/2006/relationships/chart" Target="../charts/chart36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9.xml"/></Relationships>
</file>

<file path=ppt/slides/_rels/slide29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5.xml"/><Relationship Id="rId3" Type="http://schemas.openxmlformats.org/officeDocument/2006/relationships/chart" Target="../charts/chart364.xml"/><Relationship Id="rId4" Type="http://schemas.openxmlformats.org/officeDocument/2006/relationships/chart" Target="../charts/chart365.xml"/></Relationships>
</file>

<file path=ppt/slides/_rels/slide29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6.xml"/><Relationship Id="rId3" Type="http://schemas.openxmlformats.org/officeDocument/2006/relationships/chart" Target="../charts/chart366.xml"/><Relationship Id="rId4" Type="http://schemas.openxmlformats.org/officeDocument/2006/relationships/chart" Target="../charts/chart367.xml"/></Relationships>
</file>

<file path=ppt/slides/_rels/slide29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7.xml"/><Relationship Id="rId3" Type="http://schemas.openxmlformats.org/officeDocument/2006/relationships/chart" Target="../charts/chart368.xml"/><Relationship Id="rId4" Type="http://schemas.openxmlformats.org/officeDocument/2006/relationships/chart" Target="../charts/chart369.xml"/></Relationships>
</file>

<file path=ppt/slides/_rels/slide29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8.xml"/><Relationship Id="rId3" Type="http://schemas.openxmlformats.org/officeDocument/2006/relationships/chart" Target="../charts/chart370.xml"/><Relationship Id="rId4" Type="http://schemas.openxmlformats.org/officeDocument/2006/relationships/chart" Target="../charts/chart371.xml"/></Relationships>
</file>

<file path=ppt/slides/_rels/slide29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9.xml"/><Relationship Id="rId3" Type="http://schemas.openxmlformats.org/officeDocument/2006/relationships/chart" Target="../charts/chart372.xml"/><Relationship Id="rId4" Type="http://schemas.openxmlformats.org/officeDocument/2006/relationships/chart" Target="../charts/chart373.xml"/></Relationships>
</file>

<file path=ppt/slides/_rels/slide29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0.xml"/><Relationship Id="rId3" Type="http://schemas.openxmlformats.org/officeDocument/2006/relationships/chart" Target="../charts/chart374.xml"/><Relationship Id="rId4" Type="http://schemas.openxmlformats.org/officeDocument/2006/relationships/chart" Target="../charts/chart375.xml"/></Relationships>
</file>

<file path=ppt/slides/_rels/slide29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1.xml"/><Relationship Id="rId3" Type="http://schemas.openxmlformats.org/officeDocument/2006/relationships/chart" Target="../charts/chart376.xml"/><Relationship Id="rId4" Type="http://schemas.openxmlformats.org/officeDocument/2006/relationships/chart" Target="../charts/chart377.xml"/></Relationships>
</file>

<file path=ppt/slides/_rels/slide29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2.xml"/><Relationship Id="rId3" Type="http://schemas.openxmlformats.org/officeDocument/2006/relationships/chart" Target="../charts/chart378.xml"/><Relationship Id="rId4" Type="http://schemas.openxmlformats.org/officeDocument/2006/relationships/chart" Target="../charts/chart379.xml"/></Relationships>
</file>

<file path=ppt/slides/_rels/slide29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3.xml"/><Relationship Id="rId3" Type="http://schemas.openxmlformats.org/officeDocument/2006/relationships/chart" Target="../charts/chart380.xml"/><Relationship Id="rId4" Type="http://schemas.openxmlformats.org/officeDocument/2006/relationships/chart" Target="../charts/chart381.xml"/></Relationships>
</file>

<file path=ppt/slides/_rels/slide29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4.xml"/><Relationship Id="rId3" Type="http://schemas.openxmlformats.org/officeDocument/2006/relationships/chart" Target="../charts/chart382.xml"/><Relationship Id="rId4" Type="http://schemas.openxmlformats.org/officeDocument/2006/relationships/chart" Target="../charts/chart38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0.xml"/></Relationships>
</file>

<file path=ppt/slides/_rels/slide30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5.xml"/><Relationship Id="rId3" Type="http://schemas.openxmlformats.org/officeDocument/2006/relationships/chart" Target="../charts/chart384.xml"/><Relationship Id="rId4" Type="http://schemas.openxmlformats.org/officeDocument/2006/relationships/chart" Target="../charts/chart385.xml"/></Relationships>
</file>

<file path=ppt/slides/_rels/slide30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6.xml"/><Relationship Id="rId3" Type="http://schemas.openxmlformats.org/officeDocument/2006/relationships/chart" Target="../charts/chart386.xml"/><Relationship Id="rId4" Type="http://schemas.openxmlformats.org/officeDocument/2006/relationships/chart" Target="../charts/chart387.xml"/></Relationships>
</file>

<file path=ppt/slides/_rels/slide30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7.xml"/><Relationship Id="rId3" Type="http://schemas.openxmlformats.org/officeDocument/2006/relationships/chart" Target="../charts/chart388.xml"/><Relationship Id="rId4" Type="http://schemas.openxmlformats.org/officeDocument/2006/relationships/chart" Target="../charts/chart389.xml"/></Relationships>
</file>

<file path=ppt/slides/_rels/slide30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8.xml"/><Relationship Id="rId3" Type="http://schemas.openxmlformats.org/officeDocument/2006/relationships/chart" Target="../charts/chart390.xml"/><Relationship Id="rId4" Type="http://schemas.openxmlformats.org/officeDocument/2006/relationships/chart" Target="../charts/chart391.xml"/></Relationships>
</file>

<file path=ppt/slides/_rels/slide30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9.xml"/><Relationship Id="rId3" Type="http://schemas.openxmlformats.org/officeDocument/2006/relationships/chart" Target="../charts/chart392.xml"/><Relationship Id="rId4" Type="http://schemas.openxmlformats.org/officeDocument/2006/relationships/chart" Target="../charts/chart393.xml"/></Relationships>
</file>

<file path=ppt/slides/_rels/slide30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0.xml"/><Relationship Id="rId3" Type="http://schemas.openxmlformats.org/officeDocument/2006/relationships/chart" Target="../charts/chart394.xml"/><Relationship Id="rId4" Type="http://schemas.openxmlformats.org/officeDocument/2006/relationships/chart" Target="../charts/chart395.xml"/></Relationships>
</file>

<file path=ppt/slides/_rels/slide30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1.xml"/><Relationship Id="rId3" Type="http://schemas.openxmlformats.org/officeDocument/2006/relationships/chart" Target="../charts/chart396.xml"/><Relationship Id="rId4" Type="http://schemas.openxmlformats.org/officeDocument/2006/relationships/chart" Target="../charts/chart397.xml"/></Relationships>
</file>

<file path=ppt/slides/_rels/slide30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2.xml"/><Relationship Id="rId3" Type="http://schemas.openxmlformats.org/officeDocument/2006/relationships/chart" Target="../charts/chart398.xml"/><Relationship Id="rId4" Type="http://schemas.openxmlformats.org/officeDocument/2006/relationships/chart" Target="../charts/chart399.xml"/></Relationships>
</file>

<file path=ppt/slides/_rels/slide30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3.xml"/><Relationship Id="rId3" Type="http://schemas.openxmlformats.org/officeDocument/2006/relationships/chart" Target="../charts/chart400.xml"/><Relationship Id="rId4" Type="http://schemas.openxmlformats.org/officeDocument/2006/relationships/chart" Target="../charts/chart401.xml"/></Relationships>
</file>

<file path=ppt/slides/_rels/slide30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4.xml"/><Relationship Id="rId3" Type="http://schemas.openxmlformats.org/officeDocument/2006/relationships/chart" Target="../charts/chart402.xml"/><Relationship Id="rId4" Type="http://schemas.openxmlformats.org/officeDocument/2006/relationships/chart" Target="../charts/chart40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1.xml"/></Relationships>
</file>

<file path=ppt/slides/_rels/slide31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5.xml"/><Relationship Id="rId3" Type="http://schemas.openxmlformats.org/officeDocument/2006/relationships/chart" Target="../charts/chart404.xml"/><Relationship Id="rId4" Type="http://schemas.openxmlformats.org/officeDocument/2006/relationships/chart" Target="../charts/chart405.xml"/></Relationships>
</file>

<file path=ppt/slides/_rels/slide31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6.xml"/><Relationship Id="rId3" Type="http://schemas.openxmlformats.org/officeDocument/2006/relationships/chart" Target="../charts/chart406.xml"/><Relationship Id="rId4" Type="http://schemas.openxmlformats.org/officeDocument/2006/relationships/chart" Target="../charts/chart407.xml"/></Relationships>
</file>

<file path=ppt/slides/_rels/slide31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7.xml"/><Relationship Id="rId3" Type="http://schemas.openxmlformats.org/officeDocument/2006/relationships/chart" Target="../charts/chart408.xml"/><Relationship Id="rId4" Type="http://schemas.openxmlformats.org/officeDocument/2006/relationships/chart" Target="../charts/chart409.xml"/></Relationships>
</file>

<file path=ppt/slides/_rels/slide31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8.xml"/><Relationship Id="rId3" Type="http://schemas.openxmlformats.org/officeDocument/2006/relationships/chart" Target="../charts/chart410.xml"/><Relationship Id="rId4" Type="http://schemas.openxmlformats.org/officeDocument/2006/relationships/chart" Target="../charts/chart411.xml"/></Relationships>
</file>

<file path=ppt/slides/_rels/slide31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9.xml"/><Relationship Id="rId3" Type="http://schemas.openxmlformats.org/officeDocument/2006/relationships/chart" Target="../charts/chart412.xml"/><Relationship Id="rId4" Type="http://schemas.openxmlformats.org/officeDocument/2006/relationships/chart" Target="../charts/chart413.xml"/></Relationships>
</file>

<file path=ppt/slides/_rels/slide31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00.xml"/><Relationship Id="rId3" Type="http://schemas.openxmlformats.org/officeDocument/2006/relationships/chart" Target="../charts/chart414.xml"/><Relationship Id="rId4" Type="http://schemas.openxmlformats.org/officeDocument/2006/relationships/chart" Target="../charts/chart415.xml"/></Relationships>
</file>

<file path=ppt/slides/_rels/slide31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01.xml"/><Relationship Id="rId3" Type="http://schemas.openxmlformats.org/officeDocument/2006/relationships/chart" Target="../charts/chart416.xml"/><Relationship Id="rId4" Type="http://schemas.openxmlformats.org/officeDocument/2006/relationships/chart" Target="../charts/chart417.xml"/></Relationships>
</file>

<file path=ppt/slides/_rels/slide31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02.xml"/><Relationship Id="rId3" Type="http://schemas.openxmlformats.org/officeDocument/2006/relationships/chart" Target="../charts/chart418.xml"/><Relationship Id="rId4" Type="http://schemas.openxmlformats.org/officeDocument/2006/relationships/chart" Target="../charts/chart419.xml"/></Relationships>
</file>

<file path=ppt/slides/_rels/slide31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03.xml"/><Relationship Id="rId3" Type="http://schemas.openxmlformats.org/officeDocument/2006/relationships/chart" Target="../charts/chart420.xml"/><Relationship Id="rId4" Type="http://schemas.openxmlformats.org/officeDocument/2006/relationships/chart" Target="../charts/chart421.xml"/></Relationships>
</file>

<file path=ppt/slides/_rels/slide31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04.xml"/><Relationship Id="rId3" Type="http://schemas.openxmlformats.org/officeDocument/2006/relationships/chart" Target="../charts/chart422.xml"/><Relationship Id="rId4" Type="http://schemas.openxmlformats.org/officeDocument/2006/relationships/chart" Target="../charts/chart42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2.xml"/></Relationships>
</file>

<file path=ppt/slides/_rels/slide32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05.xml"/><Relationship Id="rId3" Type="http://schemas.openxmlformats.org/officeDocument/2006/relationships/chart" Target="../charts/chart424.xml"/><Relationship Id="rId4" Type="http://schemas.openxmlformats.org/officeDocument/2006/relationships/chart" Target="../charts/chart425.xml"/></Relationships>
</file>

<file path=ppt/slides/_rels/slide32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06.xml"/><Relationship Id="rId3" Type="http://schemas.openxmlformats.org/officeDocument/2006/relationships/chart" Target="../charts/chart426.xml"/><Relationship Id="rId4" Type="http://schemas.openxmlformats.org/officeDocument/2006/relationships/chart" Target="../charts/chart427.xml"/></Relationships>
</file>

<file path=ppt/slides/_rels/slide32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07.xml"/><Relationship Id="rId3" Type="http://schemas.openxmlformats.org/officeDocument/2006/relationships/chart" Target="../charts/chart428.xml"/><Relationship Id="rId4" Type="http://schemas.openxmlformats.org/officeDocument/2006/relationships/chart" Target="../charts/chart429.xml"/></Relationships>
</file>

<file path=ppt/slides/_rels/slide32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08.xml"/><Relationship Id="rId3" Type="http://schemas.openxmlformats.org/officeDocument/2006/relationships/chart" Target="../charts/chart430.xml"/><Relationship Id="rId4" Type="http://schemas.openxmlformats.org/officeDocument/2006/relationships/chart" Target="../charts/chart431.xml"/></Relationships>
</file>

<file path=ppt/slides/_rels/slide3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09.xml"/><Relationship Id="rId3" Type="http://schemas.openxmlformats.org/officeDocument/2006/relationships/chart" Target="../charts/chart432.xml"/><Relationship Id="rId4" Type="http://schemas.openxmlformats.org/officeDocument/2006/relationships/chart" Target="../charts/chart433.xml"/></Relationships>
</file>

<file path=ppt/slides/_rels/slide32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10.xml"/><Relationship Id="rId3" Type="http://schemas.openxmlformats.org/officeDocument/2006/relationships/chart" Target="../charts/chart434.xml"/><Relationship Id="rId4" Type="http://schemas.openxmlformats.org/officeDocument/2006/relationships/chart" Target="../charts/chart435.xml"/></Relationships>
</file>

<file path=ppt/slides/_rels/slide32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11.xml"/><Relationship Id="rId3" Type="http://schemas.openxmlformats.org/officeDocument/2006/relationships/chart" Target="../charts/chart436.xml"/><Relationship Id="rId4" Type="http://schemas.openxmlformats.org/officeDocument/2006/relationships/chart" Target="../charts/chart437.xml"/></Relationships>
</file>

<file path=ppt/slides/_rels/slide32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12.xml"/><Relationship Id="rId3" Type="http://schemas.openxmlformats.org/officeDocument/2006/relationships/chart" Target="../charts/chart438.xml"/><Relationship Id="rId4" Type="http://schemas.openxmlformats.org/officeDocument/2006/relationships/chart" Target="../charts/chart439.xml"/></Relationships>
</file>

<file path=ppt/slides/_rels/slide32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13.xml"/><Relationship Id="rId3" Type="http://schemas.openxmlformats.org/officeDocument/2006/relationships/chart" Target="../charts/chart440.xml"/><Relationship Id="rId4" Type="http://schemas.openxmlformats.org/officeDocument/2006/relationships/chart" Target="../charts/chart441.xml"/></Relationships>
</file>

<file path=ppt/slides/_rels/slide32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14.xml"/><Relationship Id="rId3" Type="http://schemas.openxmlformats.org/officeDocument/2006/relationships/chart" Target="../charts/chart442.xml"/><Relationship Id="rId4" Type="http://schemas.openxmlformats.org/officeDocument/2006/relationships/chart" Target="../charts/chart44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3.xml"/></Relationships>
</file>

<file path=ppt/slides/_rels/slide33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15.xml"/><Relationship Id="rId3" Type="http://schemas.openxmlformats.org/officeDocument/2006/relationships/chart" Target="../charts/chart444.xml"/><Relationship Id="rId4" Type="http://schemas.openxmlformats.org/officeDocument/2006/relationships/chart" Target="../charts/chart445.xml"/></Relationships>
</file>

<file path=ppt/slides/_rels/slide33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16.xml"/><Relationship Id="rId3" Type="http://schemas.openxmlformats.org/officeDocument/2006/relationships/chart" Target="../charts/chart446.xml"/><Relationship Id="rId4" Type="http://schemas.openxmlformats.org/officeDocument/2006/relationships/chart" Target="../charts/chart447.xml"/></Relationships>
</file>

<file path=ppt/slides/_rels/slide33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17.xml"/><Relationship Id="rId3" Type="http://schemas.openxmlformats.org/officeDocument/2006/relationships/chart" Target="../charts/chart448.xml"/><Relationship Id="rId4" Type="http://schemas.openxmlformats.org/officeDocument/2006/relationships/chart" Target="../charts/chart449.xml"/></Relationships>
</file>

<file path=ppt/slides/_rels/slide33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18.xml"/><Relationship Id="rId3" Type="http://schemas.openxmlformats.org/officeDocument/2006/relationships/chart" Target="../charts/chart450.xml"/><Relationship Id="rId4" Type="http://schemas.openxmlformats.org/officeDocument/2006/relationships/chart" Target="../charts/chart451.xml"/></Relationships>
</file>

<file path=ppt/slides/_rels/slide33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19.xml"/><Relationship Id="rId3" Type="http://schemas.openxmlformats.org/officeDocument/2006/relationships/chart" Target="../charts/chart452.xml"/><Relationship Id="rId4" Type="http://schemas.openxmlformats.org/officeDocument/2006/relationships/chart" Target="../charts/chart453.xml"/></Relationships>
</file>

<file path=ppt/slides/_rels/slide33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20.xml"/><Relationship Id="rId3" Type="http://schemas.openxmlformats.org/officeDocument/2006/relationships/chart" Target="../charts/chart454.xml"/><Relationship Id="rId4" Type="http://schemas.openxmlformats.org/officeDocument/2006/relationships/chart" Target="../charts/chart455.xml"/></Relationships>
</file>

<file path=ppt/slides/_rels/slide33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21.xml"/><Relationship Id="rId3" Type="http://schemas.openxmlformats.org/officeDocument/2006/relationships/chart" Target="../charts/chart456.xml"/><Relationship Id="rId4" Type="http://schemas.openxmlformats.org/officeDocument/2006/relationships/chart" Target="../charts/chart457.xml"/></Relationships>
</file>

<file path=ppt/slides/_rels/slide33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22.xml"/><Relationship Id="rId3" Type="http://schemas.openxmlformats.org/officeDocument/2006/relationships/chart" Target="../charts/chart458.xml"/><Relationship Id="rId4" Type="http://schemas.openxmlformats.org/officeDocument/2006/relationships/chart" Target="../charts/chart459.xml"/></Relationships>
</file>

<file path=ppt/slides/_rels/slide33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23.xml"/><Relationship Id="rId3" Type="http://schemas.openxmlformats.org/officeDocument/2006/relationships/chart" Target="../charts/chart460.xml"/><Relationship Id="rId4" Type="http://schemas.openxmlformats.org/officeDocument/2006/relationships/chart" Target="../charts/chart461.xml"/></Relationships>
</file>

<file path=ppt/slides/_rels/slide33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24.xml"/><Relationship Id="rId3" Type="http://schemas.openxmlformats.org/officeDocument/2006/relationships/chart" Target="../charts/chart462.xml"/><Relationship Id="rId4" Type="http://schemas.openxmlformats.org/officeDocument/2006/relationships/chart" Target="../charts/chart46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4.xml"/></Relationships>
</file>

<file path=ppt/slides/_rels/slide34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25.xml"/><Relationship Id="rId3" Type="http://schemas.openxmlformats.org/officeDocument/2006/relationships/chart" Target="../charts/chart464.xml"/><Relationship Id="rId4" Type="http://schemas.openxmlformats.org/officeDocument/2006/relationships/chart" Target="../charts/chart465.xml"/></Relationships>
</file>

<file path=ppt/slides/_rels/slide34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26.xml"/><Relationship Id="rId3" Type="http://schemas.openxmlformats.org/officeDocument/2006/relationships/chart" Target="../charts/chart466.xml"/><Relationship Id="rId4" Type="http://schemas.openxmlformats.org/officeDocument/2006/relationships/chart" Target="../charts/chart467.xml"/></Relationships>
</file>

<file path=ppt/slides/_rels/slide34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27.xml"/><Relationship Id="rId3" Type="http://schemas.openxmlformats.org/officeDocument/2006/relationships/chart" Target="../charts/chart468.xml"/><Relationship Id="rId4" Type="http://schemas.openxmlformats.org/officeDocument/2006/relationships/chart" Target="../charts/chart469.xml"/></Relationships>
</file>

<file path=ppt/slides/_rels/slide34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28.xml"/><Relationship Id="rId3" Type="http://schemas.openxmlformats.org/officeDocument/2006/relationships/chart" Target="../charts/chart470.xml"/><Relationship Id="rId4" Type="http://schemas.openxmlformats.org/officeDocument/2006/relationships/chart" Target="../charts/chart471.xml"/></Relationships>
</file>

<file path=ppt/slides/_rels/slide34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29.xml"/><Relationship Id="rId3" Type="http://schemas.openxmlformats.org/officeDocument/2006/relationships/chart" Target="../charts/chart472.xml"/><Relationship Id="rId4" Type="http://schemas.openxmlformats.org/officeDocument/2006/relationships/chart" Target="../charts/chart473.xml"/></Relationships>
</file>

<file path=ppt/slides/_rels/slide34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30.xml"/><Relationship Id="rId3" Type="http://schemas.openxmlformats.org/officeDocument/2006/relationships/chart" Target="../charts/chart474.xml"/><Relationship Id="rId4" Type="http://schemas.openxmlformats.org/officeDocument/2006/relationships/chart" Target="../charts/chart475.xml"/></Relationships>
</file>

<file path=ppt/slides/_rels/slide34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31.xml"/><Relationship Id="rId3" Type="http://schemas.openxmlformats.org/officeDocument/2006/relationships/chart" Target="../charts/chart476.xml"/><Relationship Id="rId4" Type="http://schemas.openxmlformats.org/officeDocument/2006/relationships/chart" Target="../charts/chart477.xml"/></Relationships>
</file>

<file path=ppt/slides/_rels/slide34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32.xml"/><Relationship Id="rId3" Type="http://schemas.openxmlformats.org/officeDocument/2006/relationships/chart" Target="../charts/chart478.xml"/><Relationship Id="rId4" Type="http://schemas.openxmlformats.org/officeDocument/2006/relationships/chart" Target="../charts/chart479.xml"/></Relationships>
</file>

<file path=ppt/slides/_rels/slide34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33.xml"/><Relationship Id="rId3" Type="http://schemas.openxmlformats.org/officeDocument/2006/relationships/chart" Target="../charts/chart480.xml"/><Relationship Id="rId4" Type="http://schemas.openxmlformats.org/officeDocument/2006/relationships/chart" Target="../charts/chart481.xml"/></Relationships>
</file>

<file path=ppt/slides/_rels/slide34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34.xml"/><Relationship Id="rId3" Type="http://schemas.openxmlformats.org/officeDocument/2006/relationships/chart" Target="../charts/chart482.xml"/><Relationship Id="rId4" Type="http://schemas.openxmlformats.org/officeDocument/2006/relationships/chart" Target="../charts/chart48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5.xml"/></Relationships>
</file>

<file path=ppt/slides/_rels/slide35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35.xml"/><Relationship Id="rId3" Type="http://schemas.openxmlformats.org/officeDocument/2006/relationships/chart" Target="../charts/chart484.xml"/><Relationship Id="rId4" Type="http://schemas.openxmlformats.org/officeDocument/2006/relationships/chart" Target="../charts/chart485.xml"/></Relationships>
</file>

<file path=ppt/slides/_rels/slide35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36.xml"/><Relationship Id="rId3" Type="http://schemas.openxmlformats.org/officeDocument/2006/relationships/chart" Target="../charts/chart486.xml"/><Relationship Id="rId4" Type="http://schemas.openxmlformats.org/officeDocument/2006/relationships/chart" Target="../charts/chart487.xml"/></Relationships>
</file>

<file path=ppt/slides/_rels/slide35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37.xml"/><Relationship Id="rId3" Type="http://schemas.openxmlformats.org/officeDocument/2006/relationships/chart" Target="../charts/chart488.xml"/><Relationship Id="rId4" Type="http://schemas.openxmlformats.org/officeDocument/2006/relationships/chart" Target="../charts/chart489.xml"/></Relationships>
</file>

<file path=ppt/slides/_rels/slide35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38.xml"/><Relationship Id="rId3" Type="http://schemas.openxmlformats.org/officeDocument/2006/relationships/chart" Target="../charts/chart490.xml"/><Relationship Id="rId4" Type="http://schemas.openxmlformats.org/officeDocument/2006/relationships/chart" Target="../charts/chart491.xml"/></Relationships>
</file>

<file path=ppt/slides/_rels/slide35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39.xml"/><Relationship Id="rId3" Type="http://schemas.openxmlformats.org/officeDocument/2006/relationships/chart" Target="../charts/chart492.xml"/><Relationship Id="rId4" Type="http://schemas.openxmlformats.org/officeDocument/2006/relationships/chart" Target="../charts/chart493.xml"/></Relationships>
</file>

<file path=ppt/slides/_rels/slide35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40.xml"/><Relationship Id="rId3" Type="http://schemas.openxmlformats.org/officeDocument/2006/relationships/chart" Target="../charts/chart494.xml"/><Relationship Id="rId4" Type="http://schemas.openxmlformats.org/officeDocument/2006/relationships/chart" Target="../charts/chart495.xml"/></Relationships>
</file>

<file path=ppt/slides/_rels/slide35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41.xml"/><Relationship Id="rId3" Type="http://schemas.openxmlformats.org/officeDocument/2006/relationships/chart" Target="../charts/chart496.xml"/><Relationship Id="rId4" Type="http://schemas.openxmlformats.org/officeDocument/2006/relationships/chart" Target="../charts/chart497.xml"/></Relationships>
</file>

<file path=ppt/slides/_rels/slide35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42.xml"/><Relationship Id="rId3" Type="http://schemas.openxmlformats.org/officeDocument/2006/relationships/chart" Target="../charts/chart498.xml"/><Relationship Id="rId4" Type="http://schemas.openxmlformats.org/officeDocument/2006/relationships/chart" Target="../charts/chart499.xml"/></Relationships>
</file>

<file path=ppt/slides/_rels/slide35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43.xml"/><Relationship Id="rId3" Type="http://schemas.openxmlformats.org/officeDocument/2006/relationships/chart" Target="../charts/chart500.xml"/><Relationship Id="rId4" Type="http://schemas.openxmlformats.org/officeDocument/2006/relationships/chart" Target="../charts/chart501.xml"/></Relationships>
</file>

<file path=ppt/slides/_rels/slide35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44.xml"/><Relationship Id="rId3" Type="http://schemas.openxmlformats.org/officeDocument/2006/relationships/chart" Target="../charts/chart502.xml"/><Relationship Id="rId4" Type="http://schemas.openxmlformats.org/officeDocument/2006/relationships/chart" Target="../charts/chart50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6.xml"/></Relationships>
</file>

<file path=ppt/slides/_rels/slide36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45.xml"/><Relationship Id="rId3" Type="http://schemas.openxmlformats.org/officeDocument/2006/relationships/chart" Target="../charts/chart504.xml"/><Relationship Id="rId4" Type="http://schemas.openxmlformats.org/officeDocument/2006/relationships/chart" Target="../charts/chart505.xml"/></Relationships>
</file>

<file path=ppt/slides/_rels/slide36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46.xml"/><Relationship Id="rId3" Type="http://schemas.openxmlformats.org/officeDocument/2006/relationships/chart" Target="../charts/chart506.xml"/><Relationship Id="rId4" Type="http://schemas.openxmlformats.org/officeDocument/2006/relationships/chart" Target="../charts/chart507.xml"/></Relationships>
</file>

<file path=ppt/slides/_rels/slide36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47.xml"/><Relationship Id="rId3" Type="http://schemas.openxmlformats.org/officeDocument/2006/relationships/chart" Target="../charts/chart508.xml"/><Relationship Id="rId4" Type="http://schemas.openxmlformats.org/officeDocument/2006/relationships/chart" Target="../charts/chart509.xml"/></Relationships>
</file>

<file path=ppt/slides/_rels/slide36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48.xml"/><Relationship Id="rId3" Type="http://schemas.openxmlformats.org/officeDocument/2006/relationships/chart" Target="../charts/chart510.xml"/><Relationship Id="rId4" Type="http://schemas.openxmlformats.org/officeDocument/2006/relationships/chart" Target="../charts/chart511.xml"/></Relationships>
</file>

<file path=ppt/slides/_rels/slide36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49.xml"/><Relationship Id="rId3" Type="http://schemas.openxmlformats.org/officeDocument/2006/relationships/chart" Target="../charts/chart512.xml"/><Relationship Id="rId4" Type="http://schemas.openxmlformats.org/officeDocument/2006/relationships/chart" Target="../charts/chart513.xml"/></Relationships>
</file>

<file path=ppt/slides/_rels/slide36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50.xml"/><Relationship Id="rId3" Type="http://schemas.openxmlformats.org/officeDocument/2006/relationships/chart" Target="../charts/chart514.xml"/><Relationship Id="rId4" Type="http://schemas.openxmlformats.org/officeDocument/2006/relationships/chart" Target="../charts/chart515.xml"/></Relationships>
</file>

<file path=ppt/slides/_rels/slide36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51.xml"/><Relationship Id="rId3" Type="http://schemas.openxmlformats.org/officeDocument/2006/relationships/chart" Target="../charts/chart516.xml"/><Relationship Id="rId4" Type="http://schemas.openxmlformats.org/officeDocument/2006/relationships/chart" Target="../charts/chart517.xml"/></Relationships>
</file>

<file path=ppt/slides/_rels/slide36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52.xml"/><Relationship Id="rId3" Type="http://schemas.openxmlformats.org/officeDocument/2006/relationships/chart" Target="../charts/chart518.xml"/><Relationship Id="rId4" Type="http://schemas.openxmlformats.org/officeDocument/2006/relationships/chart" Target="../charts/chart519.xml"/></Relationships>
</file>

<file path=ppt/slides/_rels/slide36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53.xml"/><Relationship Id="rId3" Type="http://schemas.openxmlformats.org/officeDocument/2006/relationships/chart" Target="../charts/chart520.xml"/><Relationship Id="rId4" Type="http://schemas.openxmlformats.org/officeDocument/2006/relationships/chart" Target="../charts/chart521.xml"/></Relationships>
</file>

<file path=ppt/slides/_rels/slide36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54.xml"/><Relationship Id="rId3" Type="http://schemas.openxmlformats.org/officeDocument/2006/relationships/chart" Target="../charts/chart522.xml"/><Relationship Id="rId4" Type="http://schemas.openxmlformats.org/officeDocument/2006/relationships/chart" Target="../charts/chart52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7.xml"/></Relationships>
</file>

<file path=ppt/slides/_rels/slide37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55.xml"/><Relationship Id="rId3" Type="http://schemas.openxmlformats.org/officeDocument/2006/relationships/chart" Target="../charts/chart524.xml"/><Relationship Id="rId4" Type="http://schemas.openxmlformats.org/officeDocument/2006/relationships/chart" Target="../charts/chart525.xml"/></Relationships>
</file>

<file path=ppt/slides/_rels/slide37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56.xml"/><Relationship Id="rId3" Type="http://schemas.openxmlformats.org/officeDocument/2006/relationships/chart" Target="../charts/chart526.xml"/><Relationship Id="rId4" Type="http://schemas.openxmlformats.org/officeDocument/2006/relationships/chart" Target="../charts/chart527.xml"/></Relationships>
</file>

<file path=ppt/slides/_rels/slide37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57.xml"/><Relationship Id="rId3" Type="http://schemas.openxmlformats.org/officeDocument/2006/relationships/chart" Target="../charts/chart528.xml"/><Relationship Id="rId4" Type="http://schemas.openxmlformats.org/officeDocument/2006/relationships/chart" Target="../charts/chart529.xml"/></Relationships>
</file>

<file path=ppt/slides/_rels/slide37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58.xml"/><Relationship Id="rId3" Type="http://schemas.openxmlformats.org/officeDocument/2006/relationships/chart" Target="../charts/chart530.xml"/><Relationship Id="rId4" Type="http://schemas.openxmlformats.org/officeDocument/2006/relationships/chart" Target="../charts/chart531.xml"/></Relationships>
</file>

<file path=ppt/slides/_rels/slide37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59.xml"/><Relationship Id="rId3" Type="http://schemas.openxmlformats.org/officeDocument/2006/relationships/chart" Target="../charts/chart532.xml"/><Relationship Id="rId4" Type="http://schemas.openxmlformats.org/officeDocument/2006/relationships/chart" Target="../charts/chart533.xml"/></Relationships>
</file>

<file path=ppt/slides/_rels/slide37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60.xml"/><Relationship Id="rId3" Type="http://schemas.openxmlformats.org/officeDocument/2006/relationships/chart" Target="../charts/chart534.xml"/><Relationship Id="rId4" Type="http://schemas.openxmlformats.org/officeDocument/2006/relationships/chart" Target="../charts/chart535.xml"/></Relationships>
</file>

<file path=ppt/slides/_rels/slide37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61.xml"/><Relationship Id="rId3" Type="http://schemas.openxmlformats.org/officeDocument/2006/relationships/chart" Target="../charts/chart536.xml"/><Relationship Id="rId4" Type="http://schemas.openxmlformats.org/officeDocument/2006/relationships/chart" Target="../charts/chart537.xml"/></Relationships>
</file>

<file path=ppt/slides/_rels/slide37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62.xml"/><Relationship Id="rId3" Type="http://schemas.openxmlformats.org/officeDocument/2006/relationships/chart" Target="../charts/chart538.xml"/><Relationship Id="rId4" Type="http://schemas.openxmlformats.org/officeDocument/2006/relationships/chart" Target="../charts/chart539.xml"/></Relationships>
</file>

<file path=ppt/slides/_rels/slide37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63.xml"/><Relationship Id="rId3" Type="http://schemas.openxmlformats.org/officeDocument/2006/relationships/chart" Target="../charts/chart540.xml"/><Relationship Id="rId4" Type="http://schemas.openxmlformats.org/officeDocument/2006/relationships/chart" Target="../charts/chart541.xml"/></Relationships>
</file>

<file path=ppt/slides/_rels/slide37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64.xml"/><Relationship Id="rId3" Type="http://schemas.openxmlformats.org/officeDocument/2006/relationships/chart" Target="../charts/chart542.xml"/><Relationship Id="rId4" Type="http://schemas.openxmlformats.org/officeDocument/2006/relationships/chart" Target="../charts/chart54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8.xml"/></Relationships>
</file>

<file path=ppt/slides/_rels/slide38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65.xml"/><Relationship Id="rId3" Type="http://schemas.openxmlformats.org/officeDocument/2006/relationships/chart" Target="../charts/chart544.xml"/><Relationship Id="rId4" Type="http://schemas.openxmlformats.org/officeDocument/2006/relationships/chart" Target="../charts/chart545.xml"/></Relationships>
</file>

<file path=ppt/slides/_rels/slide38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66.xml"/><Relationship Id="rId3" Type="http://schemas.openxmlformats.org/officeDocument/2006/relationships/chart" Target="../charts/chart546.xml"/><Relationship Id="rId4" Type="http://schemas.openxmlformats.org/officeDocument/2006/relationships/chart" Target="../charts/chart547.xml"/></Relationships>
</file>

<file path=ppt/slides/_rels/slide38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67.xml"/><Relationship Id="rId3" Type="http://schemas.openxmlformats.org/officeDocument/2006/relationships/chart" Target="../charts/chart548.xml"/><Relationship Id="rId4" Type="http://schemas.openxmlformats.org/officeDocument/2006/relationships/chart" Target="../charts/chart549.xml"/></Relationships>
</file>

<file path=ppt/slides/_rels/slide38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68.xml"/><Relationship Id="rId3" Type="http://schemas.openxmlformats.org/officeDocument/2006/relationships/chart" Target="../charts/chart550.xml"/><Relationship Id="rId4" Type="http://schemas.openxmlformats.org/officeDocument/2006/relationships/chart" Target="../charts/chart551.xml"/></Relationships>
</file>

<file path=ppt/slides/_rels/slide38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69.xml"/><Relationship Id="rId3" Type="http://schemas.openxmlformats.org/officeDocument/2006/relationships/chart" Target="../charts/chart552.xml"/><Relationship Id="rId4" Type="http://schemas.openxmlformats.org/officeDocument/2006/relationships/chart" Target="../charts/chart553.xml"/></Relationships>
</file>

<file path=ppt/slides/_rels/slide38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70.xml"/><Relationship Id="rId3" Type="http://schemas.openxmlformats.org/officeDocument/2006/relationships/chart" Target="../charts/chart554.xml"/><Relationship Id="rId4" Type="http://schemas.openxmlformats.org/officeDocument/2006/relationships/chart" Target="../charts/chart555.xml"/></Relationships>
</file>

<file path=ppt/slides/_rels/slide386.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7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56.xml"/></Relationships>
</file>

<file path=ppt/slides/_rels/slide387.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17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57.xml"/></Relationships>
</file>

<file path=ppt/slides/_rels/slide388.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17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58.xml"/></Relationships>
</file>

<file path=ppt/slides/_rels/slide389.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17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59.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9.xml"/></Relationships>
</file>

<file path=ppt/slides/_rels/slide390.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17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60.xml"/></Relationships>
</file>

<file path=ppt/slides/_rels/slide391.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17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61.xml"/></Relationships>
</file>

<file path=ppt/slides/_rels/slide392.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17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62.xml"/></Relationships>
</file>

<file path=ppt/slides/_rels/slide393.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17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63.xml"/></Relationships>
</file>

<file path=ppt/slides/_rels/slide394.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17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64.xml"/></Relationships>
</file>

<file path=ppt/slides/_rels/slide395.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8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6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0.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1.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4.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5.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6.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7.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8.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5.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50.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51.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5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53.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54.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55.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56.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57.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58.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5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6.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60.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61.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6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63.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64.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65.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66.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67.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68.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6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7.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70.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71.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72.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73.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74.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75.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76.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77.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78.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7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8.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80.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81.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82.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83.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84.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85.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86.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87.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88.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89.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9.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90.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91.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92.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93.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94.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95.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96.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97.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98.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9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anual Shave Women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131609336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anual Shave Women | Category Trends | Amazon 3P</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2362941119"/>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Amazon 1P | Category Trends | 5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1819051927"/>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Amazon 1P | Category Trends | Rem Blade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1593124556"/>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CVS | Category Trends | 1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2803631096"/>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CVS | Category Trends | 2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2255830870"/>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CVS | Category Trends | 3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2054960633"/>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CVS | Category Trends | 4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352938838"/>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CVS | Category Trends | 5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2346086656"/>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CVS | Category Trends | 6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3926240899"/>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CVS | Category Trends | Rem Blade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684465806"/>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Div1 Corp | Category Trends | 1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12269076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National | Category Trends | Dermaplan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3818814777"/>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Div1 Corp | Category Trends | 2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809196709"/>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Div1 Corp | Category Trends | 3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4243176564"/>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Div1 Corp | Category Trends | 4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1493834992"/>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Div1 Corp | Category Trends | 5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1229815058"/>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Div1 Corp | Category Trends | 6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1749691195"/>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Div1 Corp | Category Trends | Rem Blade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2113600999"/>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Nm Corp | Category Trends | 1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1149513772"/>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Nm Corp | Category Trends | 2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3703385814"/>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Nm Corp | Category Trends | 3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2271295428"/>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Nm Corp | Category Trends | 4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371573742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National | Category Trends | Disposabl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948640817"/>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Nm Corp | Category Trends | 5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4151463708"/>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Nm Corp | Category Trends | Rem Blade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326735327"/>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Sc Corp | Category Trends | 1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2728768718"/>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Sc Corp | Category Trends | 2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2876998688"/>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Sc Corp | Category Trends | 3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2076695968"/>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Sc Corp | Category Trends | 4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2378099464"/>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Sc Corp | Category Trends | 5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369319029"/>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Sc Corp | Category Trends | 6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1706360415"/>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Sc Corp | Category Trends | Rem Blade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1967850945"/>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Amazon 3P | Category Trends | 1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367982087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National | Category Trends | System</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3239170584"/>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Amazon 3P | Category Trends | 2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2613135736"/>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Amazon 3P | Category Trends | 3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1454432508"/>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Amazon 3P | Category Trends | 4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1764069343"/>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Amazon 3P | Category Trends | 5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3982408122"/>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Amazon 3P | Category Trends | 6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1087234072"/>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Amazon 3P | Category Trends | Rem Blade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2779049651"/>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National | Category Trends | Dry Skin</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1711507538"/>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National | Category Trends | Normal Skin</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3220785397"/>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National | Category Trends | Rem Type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733082994"/>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National | Category Trends | Sensitive Skin</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127754281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Amazon | Category Trends | Disposabl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843162397"/>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Amazon | Category Trends | Dry Skin</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2057690510"/>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Amazon | Category Trends | Normal Skin</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3701874543"/>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Amazon | Category Trends | Rem Type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365142783"/>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Amazon | Category Trends | Sensitive Skin</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215583928"/>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CVS Corp | Category Trends | Dry Skin</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3223568841"/>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CVS Corp | Category Trends | Normal Skin</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1226627015"/>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CVS Corp | Category Trends | Rem Type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1304832619"/>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CVS Corp | Category Trends | Sensitive Skin</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1168064761"/>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 Category Trends | Dry Skin</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1474146636"/>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 Category Trends | Normal Skin</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16754757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Amazon | Category Trends | System</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654797861"/>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 Category Trends | Rem Type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1844915440"/>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 Category Trends | Sensitive Skin</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73746559"/>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Amazon 1P | Category Trends | Dry Skin</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931138938"/>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Amazon 1P | Category Trends | Normal Skin</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1810833161"/>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Amazon 1P | Category Trends | Rem Type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82050793"/>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Amazon 1P | Category Trends | Sensitive Skin</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4278718950"/>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CVS | Category Trends | Dry Skin</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2206256182"/>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CVS | Category Trends | Normal Skin</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3633576201"/>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CVS | Category Trends | Rem Type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2477778667"/>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CVS | Category Trends | Sensitive Skin</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7963272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CVS Corp | Category Trends | Dermaplan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1842289439"/>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Div1 Corp | Category Trends | Dry Skin</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2211391090"/>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Div1 Corp | Category Trends | Normal Skin</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748515321"/>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Div1 Corp | Category Trends | Rem Type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900797825"/>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Div1 Corp | Category Trends | Sensitive Skin</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3483018663"/>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Nm Corp | Category Trends | Dry Skin</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18927294"/>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Nm Corp | Category Trends | Normal Skin</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3783821785"/>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Nm Corp | Category Trends | Rem Type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1920885701"/>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Nm Corp | Category Trends | Sensitive Skin</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1730641658"/>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Sc Corp | Category Trends | Dry Skin</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792595833"/>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Sc Corp | Category Trends | Normal Skin</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375123420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CVS Corp | Category Trends | Disposabl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1981333844"/>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Sc Corp | Category Trends | Rem Type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994522112"/>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Sc Corp | Category Trends | Sensitive Skin</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238150899"/>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Amazon 3P | Category Trends | Dry Skin</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3076972595"/>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Amazon 3P | Category Trends | Normal Skin</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493858772"/>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Amazon 3P | Category Trends | Rem Type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1035024406"/>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Amazon 3P | Category Trends | Sensitive Skin</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3825333299"/>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anual Shave Women | National | Category Trends | Billi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3927188294"/>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anual Shave Women | National | Category Trends | Hydro Silk</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3421780854"/>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anual Shave Women | National | Category Trends | Intuition</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282242822"/>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anual Shave Women | National | Category Trends | Skintimat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276691015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CVS Corp | Category Trends | System</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3723291728"/>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anual Shave Women | Billie | Category Trends | Amazon</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2923931071"/>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anual Shave Women | Billie | Category Trends | CVS Corp</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1654122058"/>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anual Shave Women | Billie | Category Trends | Walmart</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1657052733"/>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anual Shave Women | Hydro Silk | Category Trends | Amazon</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4168646460"/>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anual Shave Women | Hydro Silk | Category Trends | CVS Corp</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4274571355"/>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anual Shave Women | Hydro Silk | Category Trends | Walmart</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2315837057"/>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anual Shave Women | Intuition | Category Trends | Amazon</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2773302380"/>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anual Shave Women | Intuition | Category Trends | CVS Corp</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3772437897"/>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anual Shave Women | Intuition | Category Trends | Walmart</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3005967806"/>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anual Shave Women | Skintimate | Category Trends | Amazon</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402391328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 Category Trends | Dermaplan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2775972714"/>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anual Shave Women | Skintimate | Category Trends | CVS Corp</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908263204"/>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anual Shave Women | Skintimate | Category Trends | Walmart</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2984750323"/>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anual Shave Women | Billie | Category Trends | Amazon 1P</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2080127422"/>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anual Shave Women | Billie | Category Trends | CV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2938687575"/>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anual Shave Women | Billie | Category Trends | Walmart Div1 Corp</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4166346409"/>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anual Shave Women | Billie | Category Trends | Walmart Nm Corp</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910110175"/>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anual Shave Women | Billie | Category Trends | Walmart Sc Corp</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3877586514"/>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anual Shave Women | Billie | Category Trends | Amazon 3P</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4125135473"/>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anual Shave Women | Hydro Silk | Category Trends | Amazon 1P</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3364176185"/>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anual Shave Women | Hydro Silk | Category Trends | CV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14006343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anual Shave Women | Category Trends | Amazon</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131311234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 Category Trends | Disposabl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3435725756"/>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anual Shave Women | Hydro Silk | Category Trends | Walmart Div1 Corp</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3772709723"/>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anual Shave Women | Hydro Silk | Category Trends | Walmart Nm Corp</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3449689862"/>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anual Shave Women | Hydro Silk | Category Trends | Walmart Sc Corp</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3164671923"/>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anual Shave Women | Hydro Silk | Category Trends | Amazon 3P</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4201019760"/>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anual Shave Women | Intuition | Category Trends | Amazon 1P</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3028336721"/>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anual Shave Women | Intuition | Category Trends | CV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150254791"/>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anual Shave Women | Intuition | Category Trends | Walmart Div1 Corp</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2697978574"/>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anual Shave Women | Intuition | Category Trends | Walmart Nm Corp</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83836076"/>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anual Shave Women | Intuition | Category Trends | Walmart Sc Corp</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3030217177"/>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anual Shave Women | Intuition | Category Trends | Amazon 3P</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370189486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 Category Trends | System</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724679404"/>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anual Shave Women | Skintimate | Category Trends | Amazon 1P</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694033488"/>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anual Shave Women | Skintimate | Category Trends | CV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2649297172"/>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anual Shave Women | Skintimate | Category Trends | Walmart Div1 Corp</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1372169119"/>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anual Shave Women | Skintimate | Category Trends | Walmart Nm Corp</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2892906083"/>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anual Shave Women | Skintimate | Category Trends | Walmart Sc Corp</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182263411"/>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anual Shave Women | Skintimate | Category Trends | Amazon 3P</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3573389701"/>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Manual Shave Women | National</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1289940081"/>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Manual Shave Women | Amazo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469708161"/>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Manual Shave Women | CVS Corp</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2937301749"/>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Manual Shave Women | Walmart</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404980054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Amazon 1P | Category Trends | Disposabl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2449799603"/>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Manual Shave Women | Amazon 1P</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2639938219"/>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Manual Shave Women | CV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2246094215"/>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Manual Shave Women | Walmart Div1 Corp</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3672809259"/>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Manual Shave Women | Walmart Nm Corp</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2220900283"/>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Manual Shave Women | Walmart Sc Corp</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102980992"/>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Manual Shave Women | Amazon 3P</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3942261035"/>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National | Dermaplan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3378400146"/>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National | Disposabl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731661191"/>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National | System</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752986917"/>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Amazon | Disposabl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364857889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Amazon 1P | Category Trends | System</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2611451694"/>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Amazon | System</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1880213014"/>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VS Corp | Dermaplan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1563396614"/>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VS Corp | Disposabl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1018405382"/>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VS Corp | System</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1364604330"/>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 Dermaplan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1583236091"/>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 Disposabl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3653032084"/>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 System</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3274349162"/>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Amazon 1P | Disposabl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1084575250"/>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Amazon 1P | System</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3282587981"/>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VS | Dermaplan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210012131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CVS | Category Trends | Dermaplan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3797697882"/>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VS | Disposabl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569996874"/>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VS | System</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227531298"/>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Div1 Corp | Dermaplan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4104207634"/>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Div1 Corp | Disposabl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2816152476"/>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Div1 Corp | System</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2078723978"/>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Nm Corp | Dermaplan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528221114"/>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Nm Corp | Disposabl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2219594595"/>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Nm Corp | System</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1632466170"/>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Sc Corp | Dermaplan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2131129948"/>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Sc Corp | Disposabl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136832666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CVS | Category Trends | Disposabl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410510951"/>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Sc Corp | System</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880054084"/>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Amazon 3P | Disposabl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316332657"/>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Amazon 3P | System</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3419691205"/>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National | Hybrid</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2591067164"/>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National | Razo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662134105"/>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National | Refill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2985402675"/>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Amazon | Hybrid</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2660405830"/>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Amazon | Razo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1509595116"/>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Amazon | Refill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1038798412"/>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VS Corp | Hybrid</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186800534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CVS | Category Trends | System</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2786149664"/>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VS Corp | Razo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168659382"/>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VS Corp | Refill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2645641668"/>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 Hybrid</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1186734070"/>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 Razo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1428973720"/>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 Refill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3624852184"/>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Amazon 1P | Hybrid</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1131327946"/>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Amazon 1P | Razo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2490633146"/>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Amazon 1P | Refill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2250095798"/>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VS | Hybrid</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866477080"/>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VS | Razo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8701572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Div1 Corp | Category Trends | Dermaplan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3554821412"/>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VS | Refill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4240273336"/>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Div1 Corp | Hybrid</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3164425956"/>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Div1 Corp | Razo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2530452857"/>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Div1 Corp | Refill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3343880385"/>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Nm Corp | Hybrid</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759022449"/>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Nm Corp | Razo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1192269838"/>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Nm Corp | Refill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2760529747"/>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Sc Corp | Hybrid</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1277522110"/>
      </p:ext>
    </p:extLst>
  </p:cSld>
  <p:clrMapOvr>
    <a:masterClrMapping/>
  </p:clrMapOvr>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Sc Corp | Razo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473853075"/>
      </p:ext>
    </p:extLst>
  </p:cSld>
  <p:clrMapOvr>
    <a:masterClrMapping/>
  </p:clrMapOvr>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Sc Corp | Refill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410881039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Div1 Corp | Category Trends | Disposabl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370594020"/>
      </p:ext>
    </p:extLst>
  </p:cSld>
  <p:clrMapOvr>
    <a:masterClrMapping/>
  </p:clrMapOvr>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Amazon 3P | Hybrid</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3299367548"/>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Amazon 3P | Razo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1223887257"/>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Amazon 3P | Refill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2219327336"/>
      </p:ext>
    </p:extLst>
  </p:cSld>
  <p:clrMapOvr>
    <a:masterClrMapping/>
  </p:clrMapOvr>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National | 1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2866397865"/>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National | 2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25178664"/>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National | 3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4129937886"/>
      </p:ext>
    </p:extLst>
  </p:cSld>
  <p:clrMapOvr>
    <a:masterClrMapping/>
  </p:clrMapOvr>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National | 4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137320027"/>
      </p:ext>
    </p:extLst>
  </p:cSld>
  <p:clrMapOvr>
    <a:masterClrMapping/>
  </p:clrMapOvr>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National | 5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1018214275"/>
      </p:ext>
    </p:extLst>
  </p:cSld>
  <p:clrMapOvr>
    <a:masterClrMapping/>
  </p:clrMapOvr>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National | 6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1385916327"/>
      </p:ext>
    </p:extLst>
  </p:cSld>
  <p:clrMapOvr>
    <a:masterClrMapping/>
  </p:clrMapOvr>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National | Rem Blade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38837695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Div1 Corp | Category Trends | System</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1069805895"/>
      </p:ext>
    </p:extLst>
  </p:cSld>
  <p:clrMapOvr>
    <a:masterClrMapping/>
  </p:clrMapOvr>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Amazon | 1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3834269618"/>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Amazon | 2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2264857812"/>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Amazon | 3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672292732"/>
      </p:ext>
    </p:extLst>
  </p:cSld>
  <p:clrMapOvr>
    <a:masterClrMapping/>
  </p:clrMapOvr>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Amazon | 4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36162756"/>
      </p:ext>
    </p:extLst>
  </p:cSld>
  <p:clrMapOvr>
    <a:masterClrMapping/>
  </p:clrMapOvr>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Amazon | 5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2695948310"/>
      </p:ext>
    </p:extLst>
  </p:cSld>
  <p:clrMapOvr>
    <a:masterClrMapping/>
  </p:clrMapOvr>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Amazon | 6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545822615"/>
      </p:ext>
    </p:extLst>
  </p:cSld>
  <p:clrMapOvr>
    <a:masterClrMapping/>
  </p:clrMapOvr>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Amazon | Rem Blade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1736276410"/>
      </p:ext>
    </p:extLst>
  </p:cSld>
  <p:clrMapOvr>
    <a:masterClrMapping/>
  </p:clrMapOvr>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VS Corp | 1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1953581486"/>
      </p:ext>
    </p:extLst>
  </p:cSld>
  <p:clrMapOvr>
    <a:masterClrMapping/>
  </p:clrMapOvr>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VS Corp | 2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2275728677"/>
      </p:ext>
    </p:extLst>
  </p:cSld>
  <p:clrMapOvr>
    <a:masterClrMapping/>
  </p:clrMapOvr>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VS Corp | 3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301876424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anual Shave Women | Category Trends | CVS Corp</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345382387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Nm Corp | Category Trends | Dermaplan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3089672056"/>
      </p:ext>
    </p:extLst>
  </p:cSld>
  <p:clrMapOvr>
    <a:masterClrMapping/>
  </p:clrMapOvr>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VS Corp | 4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1504807102"/>
      </p:ext>
    </p:extLst>
  </p:cSld>
  <p:clrMapOvr>
    <a:masterClrMapping/>
  </p:clrMapOvr>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VS Corp | 5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2624472299"/>
      </p:ext>
    </p:extLst>
  </p:cSld>
  <p:clrMapOvr>
    <a:masterClrMapping/>
  </p:clrMapOvr>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VS Corp | Rem Blade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4100116992"/>
      </p:ext>
    </p:extLst>
  </p:cSld>
  <p:clrMapOvr>
    <a:masterClrMapping/>
  </p:clrMapOvr>
</p:sld>
</file>

<file path=ppt/slides/slide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 1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3726524086"/>
      </p:ext>
    </p:extLst>
  </p:cSld>
  <p:clrMapOvr>
    <a:masterClrMapping/>
  </p:clrMapOvr>
</p:sld>
</file>

<file path=ppt/slides/slide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 2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1506621809"/>
      </p:ext>
    </p:extLst>
  </p:cSld>
  <p:clrMapOvr>
    <a:masterClrMapping/>
  </p:clrMapOvr>
</p:sld>
</file>

<file path=ppt/slides/slide3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 3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3328536919"/>
      </p:ext>
    </p:extLst>
  </p:cSld>
  <p:clrMapOvr>
    <a:masterClrMapping/>
  </p:clrMapOvr>
</p:sld>
</file>

<file path=ppt/slides/slide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 4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1238939274"/>
      </p:ext>
    </p:extLst>
  </p:cSld>
  <p:clrMapOvr>
    <a:masterClrMapping/>
  </p:clrMapOvr>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 5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1285882461"/>
      </p:ext>
    </p:extLst>
  </p:cSld>
  <p:clrMapOvr>
    <a:masterClrMapping/>
  </p:clrMapOvr>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 6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960925204"/>
      </p:ext>
    </p:extLst>
  </p:cSld>
  <p:clrMapOvr>
    <a:masterClrMapping/>
  </p:clrMapOvr>
</p:sld>
</file>

<file path=ppt/slides/slide3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 Rem Blade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309505104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Nm Corp | Category Trends | Disposabl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2902416863"/>
      </p:ext>
    </p:extLst>
  </p:cSld>
  <p:clrMapOvr>
    <a:masterClrMapping/>
  </p:clrMapOvr>
</p:sld>
</file>

<file path=ppt/slides/slide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Amazon 1P | 1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6810999"/>
      </p:ext>
    </p:extLst>
  </p:cSld>
  <p:clrMapOvr>
    <a:masterClrMapping/>
  </p:clrMapOvr>
</p:sld>
</file>

<file path=ppt/slides/slide3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Amazon 1P | 2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739893779"/>
      </p:ext>
    </p:extLst>
  </p:cSld>
  <p:clrMapOvr>
    <a:masterClrMapping/>
  </p:clrMapOvr>
</p:sld>
</file>

<file path=ppt/slides/slide3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Amazon 1P | 3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4123335341"/>
      </p:ext>
    </p:extLst>
  </p:cSld>
  <p:clrMapOvr>
    <a:masterClrMapping/>
  </p:clrMapOvr>
</p:sld>
</file>

<file path=ppt/slides/slide3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Amazon 1P | 4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3800525639"/>
      </p:ext>
    </p:extLst>
  </p:cSld>
  <p:clrMapOvr>
    <a:masterClrMapping/>
  </p:clrMapOvr>
</p:sld>
</file>

<file path=ppt/slides/slide3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Amazon 1P | 5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166820842"/>
      </p:ext>
    </p:extLst>
  </p:cSld>
  <p:clrMapOvr>
    <a:masterClrMapping/>
  </p:clrMapOvr>
</p:sld>
</file>

<file path=ppt/slides/slide3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Amazon 1P | Rem Blade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1025405376"/>
      </p:ext>
    </p:extLst>
  </p:cSld>
  <p:clrMapOvr>
    <a:masterClrMapping/>
  </p:clrMapOvr>
</p:sld>
</file>

<file path=ppt/slides/slide3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VS | 1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1769165167"/>
      </p:ext>
    </p:extLst>
  </p:cSld>
  <p:clrMapOvr>
    <a:masterClrMapping/>
  </p:clrMapOvr>
</p:sld>
</file>

<file path=ppt/slides/slide3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VS | 2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917190958"/>
      </p:ext>
    </p:extLst>
  </p:cSld>
  <p:clrMapOvr>
    <a:masterClrMapping/>
  </p:clrMapOvr>
</p:sld>
</file>

<file path=ppt/slides/slide3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VS | 3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4246524000"/>
      </p:ext>
    </p:extLst>
  </p:cSld>
  <p:clrMapOvr>
    <a:masterClrMapping/>
  </p:clrMapOvr>
</p:sld>
</file>

<file path=ppt/slides/slide3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VS | 4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256434001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Nm Corp | Category Trends | System</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2471353622"/>
      </p:ext>
    </p:extLst>
  </p:cSld>
  <p:clrMapOvr>
    <a:masterClrMapping/>
  </p:clrMapOvr>
</p:sld>
</file>

<file path=ppt/slides/slide3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VS | 5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1184858205"/>
      </p:ext>
    </p:extLst>
  </p:cSld>
  <p:clrMapOvr>
    <a:masterClrMapping/>
  </p:clrMapOvr>
</p:sld>
</file>

<file path=ppt/slides/slide3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VS | Rem Blade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2669601596"/>
      </p:ext>
    </p:extLst>
  </p:cSld>
  <p:clrMapOvr>
    <a:masterClrMapping/>
  </p:clrMapOvr>
</p:sld>
</file>

<file path=ppt/slides/slide3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Div1 Corp | 1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876840724"/>
      </p:ext>
    </p:extLst>
  </p:cSld>
  <p:clrMapOvr>
    <a:masterClrMapping/>
  </p:clrMapOvr>
</p:sld>
</file>

<file path=ppt/slides/slide3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Div1 Corp | 2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1840988268"/>
      </p:ext>
    </p:extLst>
  </p:cSld>
  <p:clrMapOvr>
    <a:masterClrMapping/>
  </p:clrMapOvr>
</p:sld>
</file>

<file path=ppt/slides/slide3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Div1 Corp | 3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3373004700"/>
      </p:ext>
    </p:extLst>
  </p:cSld>
  <p:clrMapOvr>
    <a:masterClrMapping/>
  </p:clrMapOvr>
</p:sld>
</file>

<file path=ppt/slides/slide3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Div1 Corp | 4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1521254081"/>
      </p:ext>
    </p:extLst>
  </p:cSld>
  <p:clrMapOvr>
    <a:masterClrMapping/>
  </p:clrMapOvr>
</p:sld>
</file>

<file path=ppt/slides/slide3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Div1 Corp | 5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3077061193"/>
      </p:ext>
    </p:extLst>
  </p:cSld>
  <p:clrMapOvr>
    <a:masterClrMapping/>
  </p:clrMapOvr>
</p:sld>
</file>

<file path=ppt/slides/slide3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Nm Corp | 1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820935479"/>
      </p:ext>
    </p:extLst>
  </p:cSld>
  <p:clrMapOvr>
    <a:masterClrMapping/>
  </p:clrMapOvr>
</p:sld>
</file>

<file path=ppt/slides/slide3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Nm Corp | 2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3641596446"/>
      </p:ext>
    </p:extLst>
  </p:cSld>
  <p:clrMapOvr>
    <a:masterClrMapping/>
  </p:clrMapOvr>
</p:sld>
</file>

<file path=ppt/slides/slide3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Nm Corp | 3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255536133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Sc Corp | Category Trends | Dermaplan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2392345457"/>
      </p:ext>
    </p:extLst>
  </p:cSld>
  <p:clrMapOvr>
    <a:masterClrMapping/>
  </p:clrMapOvr>
</p:sld>
</file>

<file path=ppt/slides/slide3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Nm Corp | 4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2668192159"/>
      </p:ext>
    </p:extLst>
  </p:cSld>
  <p:clrMapOvr>
    <a:masterClrMapping/>
  </p:clrMapOvr>
</p:sld>
</file>

<file path=ppt/slides/slide3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Nm Corp | 5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790505098"/>
      </p:ext>
    </p:extLst>
  </p:cSld>
  <p:clrMapOvr>
    <a:masterClrMapping/>
  </p:clrMapOvr>
</p:sld>
</file>

<file path=ppt/slides/slide3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Sc Corp | 1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516438136"/>
      </p:ext>
    </p:extLst>
  </p:cSld>
  <p:clrMapOvr>
    <a:masterClrMapping/>
  </p:clrMapOvr>
</p:sld>
</file>

<file path=ppt/slides/slide3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Sc Corp | 2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2192231309"/>
      </p:ext>
    </p:extLst>
  </p:cSld>
  <p:clrMapOvr>
    <a:masterClrMapping/>
  </p:clrMapOvr>
</p:sld>
</file>

<file path=ppt/slides/slide3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Sc Corp | 3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2397033385"/>
      </p:ext>
    </p:extLst>
  </p:cSld>
  <p:clrMapOvr>
    <a:masterClrMapping/>
  </p:clrMapOvr>
</p:sld>
</file>

<file path=ppt/slides/slide3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Sc Corp | 4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3778630041"/>
      </p:ext>
    </p:extLst>
  </p:cSld>
  <p:clrMapOvr>
    <a:masterClrMapping/>
  </p:clrMapOvr>
</p:sld>
</file>

<file path=ppt/slides/slide3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Sc Corp | 5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1546192614"/>
      </p:ext>
    </p:extLst>
  </p:cSld>
  <p:clrMapOvr>
    <a:masterClrMapping/>
  </p:clrMapOvr>
</p:sld>
</file>

<file path=ppt/slides/slide3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Sc Corp | 6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358182220"/>
      </p:ext>
    </p:extLst>
  </p:cSld>
  <p:clrMapOvr>
    <a:masterClrMapping/>
  </p:clrMapOvr>
</p:sld>
</file>

<file path=ppt/slides/slide3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Sc Corp | Rem Blade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4077536832"/>
      </p:ext>
    </p:extLst>
  </p:cSld>
  <p:clrMapOvr>
    <a:masterClrMapping/>
  </p:clrMapOvr>
</p:sld>
</file>

<file path=ppt/slides/slide3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Amazon 3P | 1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131693274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Sc Corp | Category Trends | Disposabl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4066583536"/>
      </p:ext>
    </p:extLst>
  </p:cSld>
  <p:clrMapOvr>
    <a:masterClrMapping/>
  </p:clrMapOvr>
</p:sld>
</file>

<file path=ppt/slides/slide3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Amazon 3P | 2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3121067888"/>
      </p:ext>
    </p:extLst>
  </p:cSld>
  <p:clrMapOvr>
    <a:masterClrMapping/>
  </p:clrMapOvr>
</p:sld>
</file>

<file path=ppt/slides/slide3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Amazon 3P | 3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2258116340"/>
      </p:ext>
    </p:extLst>
  </p:cSld>
  <p:clrMapOvr>
    <a:masterClrMapping/>
  </p:clrMapOvr>
</p:sld>
</file>

<file path=ppt/slides/slide3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Amazon 3P | 4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129675724"/>
      </p:ext>
    </p:extLst>
  </p:cSld>
  <p:clrMapOvr>
    <a:masterClrMapping/>
  </p:clrMapOvr>
</p:sld>
</file>

<file path=ppt/slides/slide3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Amazon 3P | 5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3228014130"/>
      </p:ext>
    </p:extLst>
  </p:cSld>
  <p:clrMapOvr>
    <a:masterClrMapping/>
  </p:clrMapOvr>
</p:sld>
</file>

<file path=ppt/slides/slide3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Amazon 3P | 6 Blad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1326123632"/>
      </p:ext>
    </p:extLst>
  </p:cSld>
  <p:clrMapOvr>
    <a:masterClrMapping/>
  </p:clrMapOvr>
</p:sld>
</file>

<file path=ppt/slides/slide3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Amazon 3P | Rem Blade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3606309485"/>
      </p:ext>
    </p:extLst>
  </p:cSld>
  <p:clrMapOvr>
    <a:masterClrMapping/>
  </p:clrMapOvr>
</p:sld>
</file>

<file path=ppt/slides/slide3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National | Dry Ski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283399186"/>
      </p:ext>
    </p:extLst>
  </p:cSld>
  <p:clrMapOvr>
    <a:masterClrMapping/>
  </p:clrMapOvr>
</p:sld>
</file>

<file path=ppt/slides/slide3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National | Normal Ski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948835033"/>
      </p:ext>
    </p:extLst>
  </p:cSld>
  <p:clrMapOvr>
    <a:masterClrMapping/>
  </p:clrMapOvr>
</p:sld>
</file>

<file path=ppt/slides/slide3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National | Rem Type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927333471"/>
      </p:ext>
    </p:extLst>
  </p:cSld>
  <p:clrMapOvr>
    <a:masterClrMapping/>
  </p:clrMapOvr>
</p:sld>
</file>

<file path=ppt/slides/slide3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National | Sensitive Ski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298604735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Sc Corp | Category Trends | System</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2128544995"/>
      </p:ext>
    </p:extLst>
  </p:cSld>
  <p:clrMapOvr>
    <a:masterClrMapping/>
  </p:clrMapOvr>
</p:sld>
</file>

<file path=ppt/slides/slide3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Amazon | Dry Ski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4170401918"/>
      </p:ext>
    </p:extLst>
  </p:cSld>
  <p:clrMapOvr>
    <a:masterClrMapping/>
  </p:clrMapOvr>
</p:sld>
</file>

<file path=ppt/slides/slide3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Amazon | Normal Ski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1568371139"/>
      </p:ext>
    </p:extLst>
  </p:cSld>
  <p:clrMapOvr>
    <a:masterClrMapping/>
  </p:clrMapOvr>
</p:sld>
</file>

<file path=ppt/slides/slide3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Amazon | Rem Type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2213305298"/>
      </p:ext>
    </p:extLst>
  </p:cSld>
  <p:clrMapOvr>
    <a:masterClrMapping/>
  </p:clrMapOvr>
</p:sld>
</file>

<file path=ppt/slides/slide3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Amazon | Sensitive Ski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3579129464"/>
      </p:ext>
    </p:extLst>
  </p:cSld>
  <p:clrMapOvr>
    <a:masterClrMapping/>
  </p:clrMapOvr>
</p:sld>
</file>

<file path=ppt/slides/slide3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VS Corp | Dry Ski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909806248"/>
      </p:ext>
    </p:extLst>
  </p:cSld>
  <p:clrMapOvr>
    <a:masterClrMapping/>
  </p:clrMapOvr>
</p:sld>
</file>

<file path=ppt/slides/slide3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VS Corp | Normal Ski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1056389786"/>
      </p:ext>
    </p:extLst>
  </p:cSld>
  <p:clrMapOvr>
    <a:masterClrMapping/>
  </p:clrMapOvr>
</p:sld>
</file>

<file path=ppt/slides/slide3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VS Corp | Rem Type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332779535"/>
      </p:ext>
    </p:extLst>
  </p:cSld>
  <p:clrMapOvr>
    <a:masterClrMapping/>
  </p:clrMapOvr>
</p:sld>
</file>

<file path=ppt/slides/slide3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VS Corp | Sensitive Ski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2818444767"/>
      </p:ext>
    </p:extLst>
  </p:cSld>
  <p:clrMapOvr>
    <a:masterClrMapping/>
  </p:clrMapOvr>
</p:sld>
</file>

<file path=ppt/slides/slide3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 Dry Ski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3089973751"/>
      </p:ext>
    </p:extLst>
  </p:cSld>
  <p:clrMapOvr>
    <a:masterClrMapping/>
  </p:clrMapOvr>
</p:sld>
</file>

<file path=ppt/slides/slide3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 Normal Ski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327401921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Amazon 3P | Category Trends | Disposabl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2343187405"/>
      </p:ext>
    </p:extLst>
  </p:cSld>
  <p:clrMapOvr>
    <a:masterClrMapping/>
  </p:clrMapOvr>
</p:sld>
</file>

<file path=ppt/slides/slide3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 Rem Type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2637817362"/>
      </p:ext>
    </p:extLst>
  </p:cSld>
  <p:clrMapOvr>
    <a:masterClrMapping/>
  </p:clrMapOvr>
</p:sld>
</file>

<file path=ppt/slides/slide3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 Sensitive Ski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3807260222"/>
      </p:ext>
    </p:extLst>
  </p:cSld>
  <p:clrMapOvr>
    <a:masterClrMapping/>
  </p:clrMapOvr>
</p:sld>
</file>

<file path=ppt/slides/slide3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Amazon 1P | Dry Ski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3522392357"/>
      </p:ext>
    </p:extLst>
  </p:cSld>
  <p:clrMapOvr>
    <a:masterClrMapping/>
  </p:clrMapOvr>
</p:sld>
</file>

<file path=ppt/slides/slide3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Amazon 1P | Normal Ski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3280639237"/>
      </p:ext>
    </p:extLst>
  </p:cSld>
  <p:clrMapOvr>
    <a:masterClrMapping/>
  </p:clrMapOvr>
</p:sld>
</file>

<file path=ppt/slides/slide3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Amazon 1P | Rem Type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3752960842"/>
      </p:ext>
    </p:extLst>
  </p:cSld>
  <p:clrMapOvr>
    <a:masterClrMapping/>
  </p:clrMapOvr>
</p:sld>
</file>

<file path=ppt/slides/slide3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Amazon 1P | Sensitive Ski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659117628"/>
      </p:ext>
    </p:extLst>
  </p:cSld>
  <p:clrMapOvr>
    <a:masterClrMapping/>
  </p:clrMapOvr>
</p:sld>
</file>

<file path=ppt/slides/slide3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VS | Dry Ski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3056911015"/>
      </p:ext>
    </p:extLst>
  </p:cSld>
  <p:clrMapOvr>
    <a:masterClrMapping/>
  </p:clrMapOvr>
</p:sld>
</file>

<file path=ppt/slides/slide3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VS | Normal Ski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2538398055"/>
      </p:ext>
    </p:extLst>
  </p:cSld>
  <p:clrMapOvr>
    <a:masterClrMapping/>
  </p:clrMapOvr>
</p:sld>
</file>

<file path=ppt/slides/slide3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VS | Rem Type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3533963168"/>
      </p:ext>
    </p:extLst>
  </p:cSld>
  <p:clrMapOvr>
    <a:masterClrMapping/>
  </p:clrMapOvr>
</p:sld>
</file>

<file path=ppt/slides/slide3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VS | Sensitive Ski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176751260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Amazon 3P | Category Trends | System</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573565820"/>
      </p:ext>
    </p:extLst>
  </p:cSld>
  <p:clrMapOvr>
    <a:masterClrMapping/>
  </p:clrMapOvr>
</p:sld>
</file>

<file path=ppt/slides/slide3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Div1 Corp | Dry Ski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4212643257"/>
      </p:ext>
    </p:extLst>
  </p:cSld>
  <p:clrMapOvr>
    <a:masterClrMapping/>
  </p:clrMapOvr>
</p:sld>
</file>

<file path=ppt/slides/slide3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Div1 Corp | Normal Ski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3958941997"/>
      </p:ext>
    </p:extLst>
  </p:cSld>
  <p:clrMapOvr>
    <a:masterClrMapping/>
  </p:clrMapOvr>
</p:sld>
</file>

<file path=ppt/slides/slide3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Div1 Corp | Rem Type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1352055672"/>
      </p:ext>
    </p:extLst>
  </p:cSld>
  <p:clrMapOvr>
    <a:masterClrMapping/>
  </p:clrMapOvr>
</p:sld>
</file>

<file path=ppt/slides/slide3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Div1 Corp | Sensitive Ski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2216531916"/>
      </p:ext>
    </p:extLst>
  </p:cSld>
  <p:clrMapOvr>
    <a:masterClrMapping/>
  </p:clrMapOvr>
</p:sld>
</file>

<file path=ppt/slides/slide3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Nm Corp | Dry Ski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3000191418"/>
      </p:ext>
    </p:extLst>
  </p:cSld>
  <p:clrMapOvr>
    <a:masterClrMapping/>
  </p:clrMapOvr>
</p:sld>
</file>

<file path=ppt/slides/slide3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Nm Corp | Normal Ski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106633370"/>
      </p:ext>
    </p:extLst>
  </p:cSld>
  <p:clrMapOvr>
    <a:masterClrMapping/>
  </p:clrMapOvr>
</p:sld>
</file>

<file path=ppt/slides/slide3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Nm Corp | Rem Type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2189337517"/>
      </p:ext>
    </p:extLst>
  </p:cSld>
  <p:clrMapOvr>
    <a:masterClrMapping/>
  </p:clrMapOvr>
</p:sld>
</file>

<file path=ppt/slides/slide3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Nm Corp | Sensitive Ski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1388188507"/>
      </p:ext>
    </p:extLst>
  </p:cSld>
  <p:clrMapOvr>
    <a:masterClrMapping/>
  </p:clrMapOvr>
</p:sld>
</file>

<file path=ppt/slides/slide3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Sc Corp | Dry Ski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1592024329"/>
      </p:ext>
    </p:extLst>
  </p:cSld>
  <p:clrMapOvr>
    <a:masterClrMapping/>
  </p:clrMapOvr>
</p:sld>
</file>

<file path=ppt/slides/slide3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Sc Corp | Normal Ski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67483989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National | Category Trends | Hybrid</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33505890"/>
      </p:ext>
    </p:extLst>
  </p:cSld>
  <p:clrMapOvr>
    <a:masterClrMapping/>
  </p:clrMapOvr>
</p:sld>
</file>

<file path=ppt/slides/slide3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Sc Corp | Rem Type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41808457"/>
      </p:ext>
    </p:extLst>
  </p:cSld>
  <p:clrMapOvr>
    <a:masterClrMapping/>
  </p:clrMapOvr>
</p:sld>
</file>

<file path=ppt/slides/slide3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Walmart Sc Corp | Sensitive Ski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2467229342"/>
      </p:ext>
    </p:extLst>
  </p:cSld>
  <p:clrMapOvr>
    <a:masterClrMapping/>
  </p:clrMapOvr>
</p:sld>
</file>

<file path=ppt/slides/slide3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Amazon 3P | Dry Ski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1360224273"/>
      </p:ext>
    </p:extLst>
  </p:cSld>
  <p:clrMapOvr>
    <a:masterClrMapping/>
  </p:clrMapOvr>
</p:sld>
</file>

<file path=ppt/slides/slide3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Amazon 3P | Normal Ski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3750680211"/>
      </p:ext>
    </p:extLst>
  </p:cSld>
  <p:clrMapOvr>
    <a:masterClrMapping/>
  </p:clrMapOvr>
</p:sld>
</file>

<file path=ppt/slides/slide3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Amazon 3P | Rem Type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4218411437"/>
      </p:ext>
    </p:extLst>
  </p:cSld>
  <p:clrMapOvr>
    <a:masterClrMapping/>
  </p:clrMapOvr>
</p:sld>
</file>

<file path=ppt/slides/slide3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Ending August 2024</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Amazon 3P | Sensitive Skin</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a:t>Share Evolution index </a:t>
            </a:r>
            <a:r>
              <a:rPr lang="fr-CH" err="1"/>
              <a:t>analysis</a:t>
            </a:r>
            <a:r>
              <a:rPr lang="fr-CH"/>
              <a:t> </a:t>
            </a:r>
            <a:r>
              <a:rPr lang="en-US">
                <a:solidFill>
                  <a:schemeClr val="bg2">
                    <a:lumMod val="90000"/>
                  </a:schemeClr>
                </a:solidFill>
              </a:rPr>
              <a:t>(Replace with So What) </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12/2024</a:t>
            </a:fld>
            <a:endParaRPr lang="en-US"/>
          </a:p>
        </p:txBody>
      </p:sp>
    </p:spTree>
    <p:extLst>
      <p:ext uri="{BB962C8B-B14F-4D97-AF65-F5344CB8AC3E}">
        <p14:creationId xmlns:p14="http://schemas.microsoft.com/office/powerpoint/2010/main" val="2574230951"/>
      </p:ext>
    </p:extLst>
  </p:cSld>
  <p:clrMapOvr>
    <a:masterClrMapping/>
  </p:clrMapOvr>
</p:sld>
</file>

<file path=ppt/slides/slide3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84788F55-C544-2888-1994-2AA0FF71D6E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9" name="think-cell data - do not delete" hidden="1">
                        <a:extLst>
                          <a:ext uri="{FF2B5EF4-FFF2-40B4-BE49-F238E27FC236}">
                            <a16:creationId xmlns:a16="http://schemas.microsoft.com/office/drawing/2014/main" id="{84788F55-C544-2888-1994-2AA0FF71D6EF}"/>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6</a:t>
            </a:fld>
            <a:endParaRPr lang="en-US"/>
          </a:p>
        </p:txBody>
      </p:sp>
      <p:sp>
        <p:nvSpPr>
          <p:cNvPr id="32" name="SRC">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33" name="MT">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ales trend on Value vs. Volume vs. Price | Manual Shave Women | National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normAutofit/>
          </a:bodyPr>
          <a:lstStyle/>
          <a:p>
            <a:r>
              <a:rPr lang="fr-CH" err="1"/>
              <a:t>Category</a:t>
            </a:r>
            <a:r>
              <a:rPr lang="fr-CH"/>
              <a:t> </a:t>
            </a:r>
            <a:r>
              <a:rPr lang="fr-CH" err="1"/>
              <a:t>Overview</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4" name="C1">
            <a:extLst>
              <a:ext uri="{FF2B5EF4-FFF2-40B4-BE49-F238E27FC236}">
                <a16:creationId xmlns:a16="http://schemas.microsoft.com/office/drawing/2014/main" id="{3F988610-BD5B-1357-841E-2DBFB419E674}"/>
              </a:ext>
            </a:extLst>
          </p:cNvPr>
          <p:cNvGraphicFramePr/>
          <p:nvPr>
            <p:extLst>
              <p:ext uri="{D42A27DB-BD31-4B8C-83A1-F6EECF244321}">
                <p14:modId xmlns:p14="http://schemas.microsoft.com/office/powerpoint/2010/main" val="2690479082"/>
              </p:ext>
            </p:extLst>
          </p:nvPr>
        </p:nvGraphicFramePr>
        <p:xfrm>
          <a:off x="535416" y="2192483"/>
          <a:ext cx="8093544" cy="25402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1" name="T1">
            <a:extLst>
              <a:ext uri="{FF2B5EF4-FFF2-40B4-BE49-F238E27FC236}">
                <a16:creationId xmlns:a16="http://schemas.microsoft.com/office/drawing/2014/main" id="{0D348E7C-1D67-14EC-809B-C07EE5021CB1}"/>
              </a:ext>
            </a:extLst>
          </p:cNvPr>
          <p:cNvGraphicFramePr>
            <a:graphicFrameLocks noGrp="1"/>
          </p:cNvGraphicFramePr>
          <p:nvPr>
            <p:extLst>
              <p:ext uri="{D42A27DB-BD31-4B8C-83A1-F6EECF244321}">
                <p14:modId xmlns:p14="http://schemas.microsoft.com/office/powerpoint/2010/main" val="4097038769"/>
              </p:ext>
            </p:extLst>
          </p:nvPr>
        </p:nvGraphicFramePr>
        <p:xfrm>
          <a:off x="535912" y="1141196"/>
          <a:ext cx="8100003" cy="902593"/>
        </p:xfrm>
        <a:graphic>
          <a:graphicData uri="http://schemas.openxmlformats.org/drawingml/2006/table">
            <a:tbl>
              <a:tblPr firstRow="1" bandRow="1">
                <a:tableStyleId>{5C22544A-7EE6-4342-B048-85BDC9FD1C3A}</a:tableStyleId>
              </a:tblPr>
              <a:tblGrid>
                <a:gridCol w="1225009">
                  <a:extLst>
                    <a:ext uri="{9D8B030D-6E8A-4147-A177-3AD203B41FA5}">
                      <a16:colId xmlns:a16="http://schemas.microsoft.com/office/drawing/2014/main" val="2097685003"/>
                    </a:ext>
                  </a:extLst>
                </a:gridCol>
                <a:gridCol w="982142">
                  <a:extLst>
                    <a:ext uri="{9D8B030D-6E8A-4147-A177-3AD203B41FA5}">
                      <a16:colId xmlns:a16="http://schemas.microsoft.com/office/drawing/2014/main" val="2089866971"/>
                    </a:ext>
                  </a:extLst>
                </a:gridCol>
                <a:gridCol w="982142">
                  <a:extLst>
                    <a:ext uri="{9D8B030D-6E8A-4147-A177-3AD203B41FA5}">
                      <a16:colId xmlns:a16="http://schemas.microsoft.com/office/drawing/2014/main" val="2851604717"/>
                    </a:ext>
                  </a:extLst>
                </a:gridCol>
                <a:gridCol w="982142">
                  <a:extLst>
                    <a:ext uri="{9D8B030D-6E8A-4147-A177-3AD203B41FA5}">
                      <a16:colId xmlns:a16="http://schemas.microsoft.com/office/drawing/2014/main" val="568711677"/>
                    </a:ext>
                  </a:extLst>
                </a:gridCol>
                <a:gridCol w="982142">
                  <a:extLst>
                    <a:ext uri="{9D8B030D-6E8A-4147-A177-3AD203B41FA5}">
                      <a16:colId xmlns:a16="http://schemas.microsoft.com/office/drawing/2014/main" val="3128690551"/>
                    </a:ext>
                  </a:extLst>
                </a:gridCol>
                <a:gridCol w="982142">
                  <a:extLst>
                    <a:ext uri="{9D8B030D-6E8A-4147-A177-3AD203B41FA5}">
                      <a16:colId xmlns:a16="http://schemas.microsoft.com/office/drawing/2014/main" val="2272065234"/>
                    </a:ext>
                  </a:extLst>
                </a:gridCol>
                <a:gridCol w="982142">
                  <a:extLst>
                    <a:ext uri="{9D8B030D-6E8A-4147-A177-3AD203B41FA5}">
                      <a16:colId xmlns:a16="http://schemas.microsoft.com/office/drawing/2014/main" val="1765880838"/>
                    </a:ext>
                  </a:extLst>
                </a:gridCol>
                <a:gridCol w="982142">
                  <a:extLst>
                    <a:ext uri="{9D8B030D-6E8A-4147-A177-3AD203B41FA5}">
                      <a16:colId xmlns:a16="http://schemas.microsoft.com/office/drawing/2014/main" val="2252399899"/>
                    </a:ext>
                  </a:extLst>
                </a:gridCol>
              </a:tblGrid>
              <a:tr h="352895">
                <a:tc>
                  <a:txBody>
                    <a:bodyPr/>
                    <a:lstStyle/>
                    <a:p>
                      <a:pPr algn="ctr"/>
                      <a:endParaRPr lang="en-US" sz="900" b="0" i="0">
                        <a:solidFill>
                          <a:schemeClr val="tx1"/>
                        </a:solidFill>
                        <a:latin typeface="Nexa Bold" pitchFamily="2" charset="77"/>
                      </a:endParaRPr>
                    </a:p>
                  </a:txBody>
                  <a:tcPr marL="68580" marR="68580" marT="13716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lang="en-US" sz="900" b="0" i="0" kern="1200">
                          <a:solidFill>
                            <a:schemeClr val="tx1"/>
                          </a:solidFill>
                          <a:latin typeface="Nexa Bold" pitchFamily="2" charset="77"/>
                          <a:ea typeface="+mn-ea"/>
                          <a:cs typeface="+mn-cs"/>
                        </a:rPr>
                        <a:t>Category</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Manufacturer</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rowSpan="3">
                  <a:txBody>
                    <a:bodyPr/>
                    <a:lstStyle/>
                    <a:p>
                      <a:pPr algn="ctr">
                        <a:defRPr>
                          <a:latin typeface="Nexa Bold"/>
                        </a:defRPr>
                      </a:pPr>
                      <a:r>
                        <a:rPr sz="900" b="0">
                          <a:solidFill>
                            <a:srgbClr val="575555"/>
                          </a:solidFill>
                        </a:rPr>
                        <a:t>Pricing impact</a:t>
                      </a:r>
                    </a:p>
                    <a:p>
                      <a:pPr algn="ctr"/>
                      <a:r>
                        <a:rPr sz="900" b="0">
                          <a:solidFill>
                            <a:srgbClr val="575555"/>
                          </a:solidFill>
                          <a:latin typeface="Nexa Bold"/>
                        </a:rPr>
                        <a:t>on growth
</a:t>
                      </a:r>
                      <a:r>
                        <a:rPr sz="900">
                          <a:solidFill>
                            <a:srgbClr val="006C6D"/>
                          </a:solidFill>
                          <a:latin typeface="Nexa Bold"/>
                        </a:rPr>
                        <a:t>-5pts</a:t>
                      </a:r>
                    </a:p>
                  </a:txBody>
                  <a:tcPr marL="68580" marR="68580" marT="137160" marB="34290" anchor="ctr">
                    <a:lnL w="19050" cap="flat" cmpd="sng" algn="ctr">
                      <a:solidFill>
                        <a:schemeClr val="bg1"/>
                      </a:solidFill>
                      <a:prstDash val="solid"/>
                      <a:round/>
                      <a:headEnd type="none" w="med" len="med"/>
                      <a:tailEnd type="none" w="med" len="med"/>
                    </a:lnL>
                    <a:lnR w="6350" cap="flat" cmpd="sng" algn="ctr">
                      <a:noFill/>
                      <a:prstDash val="sysDash"/>
                      <a:round/>
                      <a:headEnd type="none" w="med" len="med"/>
                      <a:tailEnd type="none" w="med" len="med"/>
                    </a:lnR>
                    <a:lnT w="12700" cap="flat" cmpd="sng" algn="ctr">
                      <a:solidFill>
                        <a:schemeClr val="bg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3114691536"/>
                  </a:ext>
                </a:extLst>
              </a:tr>
              <a:tr h="274849">
                <a:tc>
                  <a:txBody>
                    <a:bodyPr/>
                    <a:lstStyle/>
                    <a:p>
                      <a:pPr>
                        <a:defRPr>
                          <a:latin typeface="Nexa Bold"/>
                        </a:defRPr>
                      </a:pPr>
                      <a:r>
                        <a:rPr sz="900" b="1"/>
                        <a:t>Value Sales ($  M)</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1215.8</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a:r>
                        <a:rPr sz="900"/>
                        <a:t>10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27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a:r>
                        <a:rPr sz="900"/>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pPr algn="ctr" rtl="0" fontAlgn="ctr"/>
                      <a:endParaRPr sz="1000">
                        <a:solidFill>
                          <a:srgbClr val="575555"/>
                        </a:solidFill>
                        <a:latin typeface="Open Sans"/>
                      </a:endParaRPr>
                    </a:p>
                  </a:txBody>
                  <a:tcPr marL="9525" marR="9525" marT="9525" marB="0" anchor="ctr">
                    <a:lnL w="12700" cap="flat" cmpd="sng" algn="ctr">
                      <a:solidFill>
                        <a:schemeClr val="bg2">
                          <a:lumMod val="90000"/>
                        </a:schemeClr>
                      </a:solidFill>
                      <a:prstDash val="sysDot"/>
                      <a:round/>
                      <a:headEnd type="none" w="med" len="med"/>
                      <a:tailEnd type="none" w="med" len="med"/>
                    </a:lnL>
                    <a:lnR w="6350" cap="flat" cmpd="sng" algn="ctr">
                      <a:noFill/>
                      <a:prstDash val="sysDash"/>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164993059"/>
                  </a:ext>
                </a:extLst>
              </a:tr>
              <a:tr h="274849">
                <a:tc>
                  <a:txBody>
                    <a:bodyPr/>
                    <a:lstStyle/>
                    <a:p>
                      <a:r>
                        <a:rPr lang="en-US" sz="900" b="1" i="0" kern="1200">
                          <a:solidFill>
                            <a:schemeClr val="tx1"/>
                          </a:solidFill>
                          <a:latin typeface="Nexa Bold" pitchFamily="2" charset="77"/>
                          <a:ea typeface="+mn-ea"/>
                          <a:cs typeface="+mn-cs"/>
                        </a:rPr>
                        <a:t>Volume Sales (</a:t>
                      </a:r>
                      <a:r>
                        <a:rPr lang="en-US" sz="900" b="1" i="0" kern="1200" err="1">
                          <a:solidFill>
                            <a:schemeClr val="tx1"/>
                          </a:solidFill>
                          <a:latin typeface="Nexa Bold" pitchFamily="2" charset="77"/>
                          <a:ea typeface="+mn-ea"/>
                          <a:cs typeface="+mn-cs"/>
                        </a:rPr>
                        <a:t>kgM</a:t>
                      </a:r>
                      <a:r>
                        <a:rPr lang="en-US" sz="900" b="1" i="0" kern="1200">
                          <a:solidFill>
                            <a:schemeClr val="tx1"/>
                          </a:solidFill>
                          <a:latin typeface="Nexa Bold" pitchFamily="2" charset="77"/>
                          <a:ea typeface="+mn-ea"/>
                          <a:cs typeface="+mn-cs"/>
                        </a:rPr>
                        <a:t>)</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603.7</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a:txBody>
                    <a:bodyPr/>
                    <a:lstStyle/>
                    <a:p>
                      <a:pPr algn="ctr"/>
                      <a:r>
                        <a:rPr sz="900"/>
                        <a:t>90.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vMerge="1">
                  <a:txBody>
                    <a:bodyPr/>
                    <a:lstStyle/>
                    <a:p>
                      <a:endParaRPr lang="en-AE"/>
                    </a:p>
                  </a:txBody>
                  <a:tcPr/>
                </a:tc>
                <a:extLst>
                  <a:ext uri="{0D108BD9-81ED-4DB2-BD59-A6C34878D82A}">
                    <a16:rowId xmlns:a16="http://schemas.microsoft.com/office/drawing/2014/main" val="2893178582"/>
                  </a:ext>
                </a:extLst>
              </a:tr>
            </a:tbl>
          </a:graphicData>
        </a:graphic>
      </p:graphicFrame>
      <p:sp>
        <p:nvSpPr>
          <p:cNvPr id="5" name="TextBox 4">
            <a:extLst>
              <a:ext uri="{FF2B5EF4-FFF2-40B4-BE49-F238E27FC236}">
                <a16:creationId xmlns:a16="http://schemas.microsoft.com/office/drawing/2014/main" id="{93727F24-80C6-F2CC-BBD9-D6E709998A9D}"/>
              </a:ext>
            </a:extLst>
          </p:cNvPr>
          <p:cNvSpPr txBox="1"/>
          <p:nvPr/>
        </p:nvSpPr>
        <p:spPr>
          <a:xfrm>
            <a:off x="535416" y="2162153"/>
            <a:ext cx="1408434" cy="23083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900">
                <a:solidFill>
                  <a:schemeClr val="tx2"/>
                </a:solidFill>
                <a:latin typeface="Nexa Bold" panose="00000800000000000000" pitchFamily="2" charset="0"/>
              </a:rPr>
              <a:t>Value Sales ($  M)</a:t>
            </a:r>
          </a:p>
        </p:txBody>
      </p:sp>
      <p:sp>
        <p:nvSpPr>
          <p:cNvPr id="6" name="Date Placeholder 5">
            <a:extLst>
              <a:ext uri="{FF2B5EF4-FFF2-40B4-BE49-F238E27FC236}">
                <a16:creationId xmlns:a16="http://schemas.microsoft.com/office/drawing/2014/main" id="{C31EB4B8-16DF-97D7-87D6-FC88B54FE84A}"/>
              </a:ext>
            </a:extLst>
          </p:cNvPr>
          <p:cNvSpPr>
            <a:spLocks noGrp="1"/>
          </p:cNvSpPr>
          <p:nvPr>
            <p:ph type="dt" sz="half" idx="14"/>
          </p:nvPr>
        </p:nvSpPr>
        <p:spPr/>
        <p:txBody>
          <a:bodyPr/>
          <a:lstStyle/>
          <a:p>
            <a:fld id="{296FA869-BB72-4FBF-ABF8-21744C2215D9}" type="datetime1">
              <a:rPr lang="en-US" smtClean="0"/>
              <a:t>12/12/2024</a:t>
            </a:fld>
            <a:endParaRPr lang="en-US"/>
          </a:p>
        </p:txBody>
      </p:sp>
    </p:spTree>
    <p:extLst>
      <p:ext uri="{BB962C8B-B14F-4D97-AF65-F5344CB8AC3E}">
        <p14:creationId xmlns:p14="http://schemas.microsoft.com/office/powerpoint/2010/main" val="2988859203"/>
      </p:ext>
    </p:extLst>
  </p:cSld>
  <p:clrMapOvr>
    <a:masterClrMapping/>
  </p:clrMapOvr>
</p:sld>
</file>

<file path=ppt/slides/slide3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84788F55-C544-2888-1994-2AA0FF71D6E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9" name="think-cell data - do not delete" hidden="1">
                        <a:extLst>
                          <a:ext uri="{FF2B5EF4-FFF2-40B4-BE49-F238E27FC236}">
                            <a16:creationId xmlns:a16="http://schemas.microsoft.com/office/drawing/2014/main" id="{84788F55-C544-2888-1994-2AA0FF71D6EF}"/>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7</a:t>
            </a:fld>
            <a:endParaRPr lang="en-US"/>
          </a:p>
        </p:txBody>
      </p:sp>
      <p:sp>
        <p:nvSpPr>
          <p:cNvPr id="32" name="SRC">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33" name="MT">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ales trend on Value vs. Volume vs. Price | Manual Shave Women | Amazon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normAutofit/>
          </a:bodyPr>
          <a:lstStyle/>
          <a:p>
            <a:r>
              <a:rPr lang="fr-CH" err="1"/>
              <a:t>Category</a:t>
            </a:r>
            <a:r>
              <a:rPr lang="fr-CH"/>
              <a:t> </a:t>
            </a:r>
            <a:r>
              <a:rPr lang="fr-CH" err="1"/>
              <a:t>Overview</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4" name="C1">
            <a:extLst>
              <a:ext uri="{FF2B5EF4-FFF2-40B4-BE49-F238E27FC236}">
                <a16:creationId xmlns:a16="http://schemas.microsoft.com/office/drawing/2014/main" id="{3F988610-BD5B-1357-841E-2DBFB419E674}"/>
              </a:ext>
            </a:extLst>
          </p:cNvPr>
          <p:cNvGraphicFramePr/>
          <p:nvPr>
            <p:extLst>
              <p:ext uri="{D42A27DB-BD31-4B8C-83A1-F6EECF244321}">
                <p14:modId xmlns:p14="http://schemas.microsoft.com/office/powerpoint/2010/main" val="2690479082"/>
              </p:ext>
            </p:extLst>
          </p:nvPr>
        </p:nvGraphicFramePr>
        <p:xfrm>
          <a:off x="535416" y="2192483"/>
          <a:ext cx="8093544" cy="25402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1" name="T1">
            <a:extLst>
              <a:ext uri="{FF2B5EF4-FFF2-40B4-BE49-F238E27FC236}">
                <a16:creationId xmlns:a16="http://schemas.microsoft.com/office/drawing/2014/main" id="{0D348E7C-1D67-14EC-809B-C07EE5021CB1}"/>
              </a:ext>
            </a:extLst>
          </p:cNvPr>
          <p:cNvGraphicFramePr>
            <a:graphicFrameLocks noGrp="1"/>
          </p:cNvGraphicFramePr>
          <p:nvPr>
            <p:extLst>
              <p:ext uri="{D42A27DB-BD31-4B8C-83A1-F6EECF244321}">
                <p14:modId xmlns:p14="http://schemas.microsoft.com/office/powerpoint/2010/main" val="4097038769"/>
              </p:ext>
            </p:extLst>
          </p:nvPr>
        </p:nvGraphicFramePr>
        <p:xfrm>
          <a:off x="535912" y="1141196"/>
          <a:ext cx="8100003" cy="902593"/>
        </p:xfrm>
        <a:graphic>
          <a:graphicData uri="http://schemas.openxmlformats.org/drawingml/2006/table">
            <a:tbl>
              <a:tblPr firstRow="1" bandRow="1">
                <a:tableStyleId>{5C22544A-7EE6-4342-B048-85BDC9FD1C3A}</a:tableStyleId>
              </a:tblPr>
              <a:tblGrid>
                <a:gridCol w="1225009">
                  <a:extLst>
                    <a:ext uri="{9D8B030D-6E8A-4147-A177-3AD203B41FA5}">
                      <a16:colId xmlns:a16="http://schemas.microsoft.com/office/drawing/2014/main" val="2097685003"/>
                    </a:ext>
                  </a:extLst>
                </a:gridCol>
                <a:gridCol w="982142">
                  <a:extLst>
                    <a:ext uri="{9D8B030D-6E8A-4147-A177-3AD203B41FA5}">
                      <a16:colId xmlns:a16="http://schemas.microsoft.com/office/drawing/2014/main" val="2089866971"/>
                    </a:ext>
                  </a:extLst>
                </a:gridCol>
                <a:gridCol w="982142">
                  <a:extLst>
                    <a:ext uri="{9D8B030D-6E8A-4147-A177-3AD203B41FA5}">
                      <a16:colId xmlns:a16="http://schemas.microsoft.com/office/drawing/2014/main" val="2851604717"/>
                    </a:ext>
                  </a:extLst>
                </a:gridCol>
                <a:gridCol w="982142">
                  <a:extLst>
                    <a:ext uri="{9D8B030D-6E8A-4147-A177-3AD203B41FA5}">
                      <a16:colId xmlns:a16="http://schemas.microsoft.com/office/drawing/2014/main" val="568711677"/>
                    </a:ext>
                  </a:extLst>
                </a:gridCol>
                <a:gridCol w="982142">
                  <a:extLst>
                    <a:ext uri="{9D8B030D-6E8A-4147-A177-3AD203B41FA5}">
                      <a16:colId xmlns:a16="http://schemas.microsoft.com/office/drawing/2014/main" val="3128690551"/>
                    </a:ext>
                  </a:extLst>
                </a:gridCol>
                <a:gridCol w="982142">
                  <a:extLst>
                    <a:ext uri="{9D8B030D-6E8A-4147-A177-3AD203B41FA5}">
                      <a16:colId xmlns:a16="http://schemas.microsoft.com/office/drawing/2014/main" val="2272065234"/>
                    </a:ext>
                  </a:extLst>
                </a:gridCol>
                <a:gridCol w="982142">
                  <a:extLst>
                    <a:ext uri="{9D8B030D-6E8A-4147-A177-3AD203B41FA5}">
                      <a16:colId xmlns:a16="http://schemas.microsoft.com/office/drawing/2014/main" val="1765880838"/>
                    </a:ext>
                  </a:extLst>
                </a:gridCol>
                <a:gridCol w="982142">
                  <a:extLst>
                    <a:ext uri="{9D8B030D-6E8A-4147-A177-3AD203B41FA5}">
                      <a16:colId xmlns:a16="http://schemas.microsoft.com/office/drawing/2014/main" val="2252399899"/>
                    </a:ext>
                  </a:extLst>
                </a:gridCol>
              </a:tblGrid>
              <a:tr h="352895">
                <a:tc>
                  <a:txBody>
                    <a:bodyPr/>
                    <a:lstStyle/>
                    <a:p>
                      <a:pPr algn="ctr"/>
                      <a:endParaRPr lang="en-US" sz="900" b="0" i="0">
                        <a:solidFill>
                          <a:schemeClr val="tx1"/>
                        </a:solidFill>
                        <a:latin typeface="Nexa Bold" pitchFamily="2" charset="77"/>
                      </a:endParaRPr>
                    </a:p>
                  </a:txBody>
                  <a:tcPr marL="68580" marR="68580" marT="13716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lang="en-US" sz="900" b="0" i="0" kern="1200">
                          <a:solidFill>
                            <a:schemeClr val="tx1"/>
                          </a:solidFill>
                          <a:latin typeface="Nexa Bold" pitchFamily="2" charset="77"/>
                          <a:ea typeface="+mn-ea"/>
                          <a:cs typeface="+mn-cs"/>
                        </a:rPr>
                        <a:t>Category</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Manufacturer</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rowSpan="3">
                  <a:txBody>
                    <a:bodyPr/>
                    <a:lstStyle/>
                    <a:p>
                      <a:pPr algn="ctr">
                        <a:defRPr>
                          <a:latin typeface="Nexa Bold"/>
                        </a:defRPr>
                      </a:pPr>
                      <a:r>
                        <a:rPr sz="900" b="0">
                          <a:solidFill>
                            <a:srgbClr val="575555"/>
                          </a:solidFill>
                        </a:rPr>
                        <a:t>Pricing impact</a:t>
                      </a:r>
                    </a:p>
                    <a:p>
                      <a:pPr algn="ctr"/>
                      <a:r>
                        <a:rPr sz="900" b="0">
                          <a:solidFill>
                            <a:srgbClr val="575555"/>
                          </a:solidFill>
                          <a:latin typeface="Nexa Bold"/>
                        </a:rPr>
                        <a:t>on growth
</a:t>
                      </a:r>
                      <a:r>
                        <a:rPr sz="900">
                          <a:solidFill>
                            <a:srgbClr val="006C6D"/>
                          </a:solidFill>
                          <a:latin typeface="Nexa Bold"/>
                        </a:rPr>
                        <a:t>-30pts</a:t>
                      </a:r>
                    </a:p>
                  </a:txBody>
                  <a:tcPr marL="68580" marR="68580" marT="137160" marB="34290" anchor="ctr">
                    <a:lnL w="19050" cap="flat" cmpd="sng" algn="ctr">
                      <a:solidFill>
                        <a:schemeClr val="bg1"/>
                      </a:solidFill>
                      <a:prstDash val="solid"/>
                      <a:round/>
                      <a:headEnd type="none" w="med" len="med"/>
                      <a:tailEnd type="none" w="med" len="med"/>
                    </a:lnL>
                    <a:lnR w="6350" cap="flat" cmpd="sng" algn="ctr">
                      <a:noFill/>
                      <a:prstDash val="sysDash"/>
                      <a:round/>
                      <a:headEnd type="none" w="med" len="med"/>
                      <a:tailEnd type="none" w="med" len="med"/>
                    </a:lnR>
                    <a:lnT w="12700" cap="flat" cmpd="sng" algn="ctr">
                      <a:solidFill>
                        <a:schemeClr val="bg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3114691536"/>
                  </a:ext>
                </a:extLst>
              </a:tr>
              <a:tr h="274849">
                <a:tc>
                  <a:txBody>
                    <a:bodyPr/>
                    <a:lstStyle/>
                    <a:p>
                      <a:pPr>
                        <a:defRPr>
                          <a:latin typeface="Nexa Bold"/>
                        </a:defRPr>
                      </a:pPr>
                      <a:r>
                        <a:rPr sz="900" b="1"/>
                        <a:t>Value Sales ($  M)</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120.2</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a:r>
                        <a:rPr sz="900"/>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31.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1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a:r>
                        <a:rPr sz="900"/>
                        <a:t>8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pPr algn="ctr" rtl="0" fontAlgn="ctr"/>
                      <a:endParaRPr sz="1000">
                        <a:solidFill>
                          <a:srgbClr val="575555"/>
                        </a:solidFill>
                        <a:latin typeface="Open Sans"/>
                      </a:endParaRPr>
                    </a:p>
                  </a:txBody>
                  <a:tcPr marL="9525" marR="9525" marT="9525" marB="0" anchor="ctr">
                    <a:lnL w="12700" cap="flat" cmpd="sng" algn="ctr">
                      <a:solidFill>
                        <a:schemeClr val="bg2">
                          <a:lumMod val="90000"/>
                        </a:schemeClr>
                      </a:solidFill>
                      <a:prstDash val="sysDot"/>
                      <a:round/>
                      <a:headEnd type="none" w="med" len="med"/>
                      <a:tailEnd type="none" w="med" len="med"/>
                    </a:lnL>
                    <a:lnR w="6350" cap="flat" cmpd="sng" algn="ctr">
                      <a:noFill/>
                      <a:prstDash val="sysDash"/>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164993059"/>
                  </a:ext>
                </a:extLst>
              </a:tr>
              <a:tr h="274849">
                <a:tc>
                  <a:txBody>
                    <a:bodyPr/>
                    <a:lstStyle/>
                    <a:p>
                      <a:r>
                        <a:rPr lang="en-US" sz="900" b="1" i="0" kern="1200">
                          <a:solidFill>
                            <a:schemeClr val="tx1"/>
                          </a:solidFill>
                          <a:latin typeface="Nexa Bold" pitchFamily="2" charset="77"/>
                          <a:ea typeface="+mn-ea"/>
                          <a:cs typeface="+mn-cs"/>
                        </a:rPr>
                        <a:t>Volume Sales (</a:t>
                      </a:r>
                      <a:r>
                        <a:rPr lang="en-US" sz="900" b="1" i="0" kern="1200" err="1">
                          <a:solidFill>
                            <a:schemeClr val="tx1"/>
                          </a:solidFill>
                          <a:latin typeface="Nexa Bold" pitchFamily="2" charset="77"/>
                          <a:ea typeface="+mn-ea"/>
                          <a:cs typeface="+mn-cs"/>
                        </a:rPr>
                        <a:t>kgM</a:t>
                      </a:r>
                      <a:r>
                        <a:rPr lang="en-US" sz="900" b="1" i="0" kern="1200">
                          <a:solidFill>
                            <a:schemeClr val="tx1"/>
                          </a:solidFill>
                          <a:latin typeface="Nexa Bold" pitchFamily="2" charset="77"/>
                          <a:ea typeface="+mn-ea"/>
                          <a:cs typeface="+mn-cs"/>
                        </a:rPr>
                        <a:t>)</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53.1</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1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a:txBody>
                    <a:bodyPr/>
                    <a:lstStyle/>
                    <a:p>
                      <a:pPr algn="ctr"/>
                      <a:r>
                        <a:rPr sz="900"/>
                        <a:t>13.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4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vMerge="1">
                  <a:txBody>
                    <a:bodyPr/>
                    <a:lstStyle/>
                    <a:p>
                      <a:endParaRPr lang="en-AE"/>
                    </a:p>
                  </a:txBody>
                  <a:tcPr/>
                </a:tc>
                <a:extLst>
                  <a:ext uri="{0D108BD9-81ED-4DB2-BD59-A6C34878D82A}">
                    <a16:rowId xmlns:a16="http://schemas.microsoft.com/office/drawing/2014/main" val="2893178582"/>
                  </a:ext>
                </a:extLst>
              </a:tr>
            </a:tbl>
          </a:graphicData>
        </a:graphic>
      </p:graphicFrame>
      <p:sp>
        <p:nvSpPr>
          <p:cNvPr id="5" name="TextBox 4">
            <a:extLst>
              <a:ext uri="{FF2B5EF4-FFF2-40B4-BE49-F238E27FC236}">
                <a16:creationId xmlns:a16="http://schemas.microsoft.com/office/drawing/2014/main" id="{93727F24-80C6-F2CC-BBD9-D6E709998A9D}"/>
              </a:ext>
            </a:extLst>
          </p:cNvPr>
          <p:cNvSpPr txBox="1"/>
          <p:nvPr/>
        </p:nvSpPr>
        <p:spPr>
          <a:xfrm>
            <a:off x="535416" y="2162153"/>
            <a:ext cx="1408434" cy="23083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900">
                <a:solidFill>
                  <a:schemeClr val="tx2"/>
                </a:solidFill>
                <a:latin typeface="Nexa Bold" panose="00000800000000000000" pitchFamily="2" charset="0"/>
              </a:rPr>
              <a:t>Value Sales ($  M)</a:t>
            </a:r>
          </a:p>
        </p:txBody>
      </p:sp>
      <p:sp>
        <p:nvSpPr>
          <p:cNvPr id="6" name="Date Placeholder 5">
            <a:extLst>
              <a:ext uri="{FF2B5EF4-FFF2-40B4-BE49-F238E27FC236}">
                <a16:creationId xmlns:a16="http://schemas.microsoft.com/office/drawing/2014/main" id="{C31EB4B8-16DF-97D7-87D6-FC88B54FE84A}"/>
              </a:ext>
            </a:extLst>
          </p:cNvPr>
          <p:cNvSpPr>
            <a:spLocks noGrp="1"/>
          </p:cNvSpPr>
          <p:nvPr>
            <p:ph type="dt" sz="half" idx="14"/>
          </p:nvPr>
        </p:nvSpPr>
        <p:spPr/>
        <p:txBody>
          <a:bodyPr/>
          <a:lstStyle/>
          <a:p>
            <a:fld id="{296FA869-BB72-4FBF-ABF8-21744C2215D9}" type="datetime1">
              <a:rPr lang="en-US" smtClean="0"/>
              <a:t>12/12/2024</a:t>
            </a:fld>
            <a:endParaRPr lang="en-US"/>
          </a:p>
        </p:txBody>
      </p:sp>
    </p:spTree>
    <p:extLst>
      <p:ext uri="{BB962C8B-B14F-4D97-AF65-F5344CB8AC3E}">
        <p14:creationId xmlns:p14="http://schemas.microsoft.com/office/powerpoint/2010/main" val="1217523771"/>
      </p:ext>
    </p:extLst>
  </p:cSld>
  <p:clrMapOvr>
    <a:masterClrMapping/>
  </p:clrMapOvr>
</p:sld>
</file>

<file path=ppt/slides/slide3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84788F55-C544-2888-1994-2AA0FF71D6E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9" name="think-cell data - do not delete" hidden="1">
                        <a:extLst>
                          <a:ext uri="{FF2B5EF4-FFF2-40B4-BE49-F238E27FC236}">
                            <a16:creationId xmlns:a16="http://schemas.microsoft.com/office/drawing/2014/main" id="{84788F55-C544-2888-1994-2AA0FF71D6EF}"/>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8</a:t>
            </a:fld>
            <a:endParaRPr lang="en-US"/>
          </a:p>
        </p:txBody>
      </p:sp>
      <p:sp>
        <p:nvSpPr>
          <p:cNvPr id="32" name="SRC">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33" name="MT">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ales trend on Value vs. Volume vs. Price | Manual Shave Women | CVS Corp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normAutofit/>
          </a:bodyPr>
          <a:lstStyle/>
          <a:p>
            <a:r>
              <a:rPr lang="fr-CH" err="1"/>
              <a:t>Category</a:t>
            </a:r>
            <a:r>
              <a:rPr lang="fr-CH"/>
              <a:t> </a:t>
            </a:r>
            <a:r>
              <a:rPr lang="fr-CH" err="1"/>
              <a:t>Overview</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4" name="C1">
            <a:extLst>
              <a:ext uri="{FF2B5EF4-FFF2-40B4-BE49-F238E27FC236}">
                <a16:creationId xmlns:a16="http://schemas.microsoft.com/office/drawing/2014/main" id="{3F988610-BD5B-1357-841E-2DBFB419E674}"/>
              </a:ext>
            </a:extLst>
          </p:cNvPr>
          <p:cNvGraphicFramePr/>
          <p:nvPr>
            <p:extLst>
              <p:ext uri="{D42A27DB-BD31-4B8C-83A1-F6EECF244321}">
                <p14:modId xmlns:p14="http://schemas.microsoft.com/office/powerpoint/2010/main" val="2690479082"/>
              </p:ext>
            </p:extLst>
          </p:nvPr>
        </p:nvGraphicFramePr>
        <p:xfrm>
          <a:off x="535416" y="2192483"/>
          <a:ext cx="8093544" cy="25402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1" name="T1">
            <a:extLst>
              <a:ext uri="{FF2B5EF4-FFF2-40B4-BE49-F238E27FC236}">
                <a16:creationId xmlns:a16="http://schemas.microsoft.com/office/drawing/2014/main" id="{0D348E7C-1D67-14EC-809B-C07EE5021CB1}"/>
              </a:ext>
            </a:extLst>
          </p:cNvPr>
          <p:cNvGraphicFramePr>
            <a:graphicFrameLocks noGrp="1"/>
          </p:cNvGraphicFramePr>
          <p:nvPr>
            <p:extLst>
              <p:ext uri="{D42A27DB-BD31-4B8C-83A1-F6EECF244321}">
                <p14:modId xmlns:p14="http://schemas.microsoft.com/office/powerpoint/2010/main" val="4097038769"/>
              </p:ext>
            </p:extLst>
          </p:nvPr>
        </p:nvGraphicFramePr>
        <p:xfrm>
          <a:off x="535912" y="1141196"/>
          <a:ext cx="8100003" cy="902593"/>
        </p:xfrm>
        <a:graphic>
          <a:graphicData uri="http://schemas.openxmlformats.org/drawingml/2006/table">
            <a:tbl>
              <a:tblPr firstRow="1" bandRow="1">
                <a:tableStyleId>{5C22544A-7EE6-4342-B048-85BDC9FD1C3A}</a:tableStyleId>
              </a:tblPr>
              <a:tblGrid>
                <a:gridCol w="1225009">
                  <a:extLst>
                    <a:ext uri="{9D8B030D-6E8A-4147-A177-3AD203B41FA5}">
                      <a16:colId xmlns:a16="http://schemas.microsoft.com/office/drawing/2014/main" val="2097685003"/>
                    </a:ext>
                  </a:extLst>
                </a:gridCol>
                <a:gridCol w="982142">
                  <a:extLst>
                    <a:ext uri="{9D8B030D-6E8A-4147-A177-3AD203B41FA5}">
                      <a16:colId xmlns:a16="http://schemas.microsoft.com/office/drawing/2014/main" val="2089866971"/>
                    </a:ext>
                  </a:extLst>
                </a:gridCol>
                <a:gridCol w="982142">
                  <a:extLst>
                    <a:ext uri="{9D8B030D-6E8A-4147-A177-3AD203B41FA5}">
                      <a16:colId xmlns:a16="http://schemas.microsoft.com/office/drawing/2014/main" val="2851604717"/>
                    </a:ext>
                  </a:extLst>
                </a:gridCol>
                <a:gridCol w="982142">
                  <a:extLst>
                    <a:ext uri="{9D8B030D-6E8A-4147-A177-3AD203B41FA5}">
                      <a16:colId xmlns:a16="http://schemas.microsoft.com/office/drawing/2014/main" val="568711677"/>
                    </a:ext>
                  </a:extLst>
                </a:gridCol>
                <a:gridCol w="982142">
                  <a:extLst>
                    <a:ext uri="{9D8B030D-6E8A-4147-A177-3AD203B41FA5}">
                      <a16:colId xmlns:a16="http://schemas.microsoft.com/office/drawing/2014/main" val="3128690551"/>
                    </a:ext>
                  </a:extLst>
                </a:gridCol>
                <a:gridCol w="982142">
                  <a:extLst>
                    <a:ext uri="{9D8B030D-6E8A-4147-A177-3AD203B41FA5}">
                      <a16:colId xmlns:a16="http://schemas.microsoft.com/office/drawing/2014/main" val="2272065234"/>
                    </a:ext>
                  </a:extLst>
                </a:gridCol>
                <a:gridCol w="982142">
                  <a:extLst>
                    <a:ext uri="{9D8B030D-6E8A-4147-A177-3AD203B41FA5}">
                      <a16:colId xmlns:a16="http://schemas.microsoft.com/office/drawing/2014/main" val="1765880838"/>
                    </a:ext>
                  </a:extLst>
                </a:gridCol>
                <a:gridCol w="982142">
                  <a:extLst>
                    <a:ext uri="{9D8B030D-6E8A-4147-A177-3AD203B41FA5}">
                      <a16:colId xmlns:a16="http://schemas.microsoft.com/office/drawing/2014/main" val="2252399899"/>
                    </a:ext>
                  </a:extLst>
                </a:gridCol>
              </a:tblGrid>
              <a:tr h="352895">
                <a:tc>
                  <a:txBody>
                    <a:bodyPr/>
                    <a:lstStyle/>
                    <a:p>
                      <a:pPr algn="ctr"/>
                      <a:endParaRPr lang="en-US" sz="900" b="0" i="0">
                        <a:solidFill>
                          <a:schemeClr val="tx1"/>
                        </a:solidFill>
                        <a:latin typeface="Nexa Bold" pitchFamily="2" charset="77"/>
                      </a:endParaRPr>
                    </a:p>
                  </a:txBody>
                  <a:tcPr marL="68580" marR="68580" marT="13716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lang="en-US" sz="900" b="0" i="0" kern="1200">
                          <a:solidFill>
                            <a:schemeClr val="tx1"/>
                          </a:solidFill>
                          <a:latin typeface="Nexa Bold" pitchFamily="2" charset="77"/>
                          <a:ea typeface="+mn-ea"/>
                          <a:cs typeface="+mn-cs"/>
                        </a:rPr>
                        <a:t>Category</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Manufacturer</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rowSpan="3">
                  <a:txBody>
                    <a:bodyPr/>
                    <a:lstStyle/>
                    <a:p>
                      <a:pPr algn="ctr">
                        <a:defRPr>
                          <a:latin typeface="Nexa Bold"/>
                        </a:defRPr>
                      </a:pPr>
                      <a:r>
                        <a:rPr sz="900" b="0">
                          <a:solidFill>
                            <a:srgbClr val="575555"/>
                          </a:solidFill>
                        </a:rPr>
                        <a:t>Pricing impact</a:t>
                      </a:r>
                    </a:p>
                    <a:p>
                      <a:pPr algn="ctr"/>
                      <a:r>
                        <a:rPr sz="900" b="0">
                          <a:solidFill>
                            <a:srgbClr val="575555"/>
                          </a:solidFill>
                          <a:latin typeface="Nexa Bold"/>
                        </a:rPr>
                        <a:t>on growth
</a:t>
                      </a:r>
                      <a:r>
                        <a:rPr sz="900">
                          <a:solidFill>
                            <a:srgbClr val="006C6D"/>
                          </a:solidFill>
                          <a:latin typeface="Nexa Bold"/>
                        </a:rPr>
                        <a:t>3pts</a:t>
                      </a:r>
                    </a:p>
                  </a:txBody>
                  <a:tcPr marL="68580" marR="68580" marT="137160" marB="34290" anchor="ctr">
                    <a:lnL w="19050" cap="flat" cmpd="sng" algn="ctr">
                      <a:solidFill>
                        <a:schemeClr val="bg1"/>
                      </a:solidFill>
                      <a:prstDash val="solid"/>
                      <a:round/>
                      <a:headEnd type="none" w="med" len="med"/>
                      <a:tailEnd type="none" w="med" len="med"/>
                    </a:lnL>
                    <a:lnR w="6350" cap="flat" cmpd="sng" algn="ctr">
                      <a:noFill/>
                      <a:prstDash val="sysDash"/>
                      <a:round/>
                      <a:headEnd type="none" w="med" len="med"/>
                      <a:tailEnd type="none" w="med" len="med"/>
                    </a:lnR>
                    <a:lnT w="12700" cap="flat" cmpd="sng" algn="ctr">
                      <a:solidFill>
                        <a:schemeClr val="bg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3114691536"/>
                  </a:ext>
                </a:extLst>
              </a:tr>
              <a:tr h="274849">
                <a:tc>
                  <a:txBody>
                    <a:bodyPr/>
                    <a:lstStyle/>
                    <a:p>
                      <a:pPr>
                        <a:defRPr>
                          <a:latin typeface="Nexa Bold"/>
                        </a:defRPr>
                      </a:pPr>
                      <a:r>
                        <a:rPr sz="900" b="1"/>
                        <a:t>Value Sales ($  M)</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81.4</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a:r>
                        <a:rPr sz="900"/>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26.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a:r>
                        <a:rPr sz="900"/>
                        <a:t>10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pPr algn="ctr" rtl="0" fontAlgn="ctr"/>
                      <a:endParaRPr sz="1000">
                        <a:solidFill>
                          <a:srgbClr val="575555"/>
                        </a:solidFill>
                        <a:latin typeface="Open Sans"/>
                      </a:endParaRPr>
                    </a:p>
                  </a:txBody>
                  <a:tcPr marL="9525" marR="9525" marT="9525" marB="0" anchor="ctr">
                    <a:lnL w="12700" cap="flat" cmpd="sng" algn="ctr">
                      <a:solidFill>
                        <a:schemeClr val="bg2">
                          <a:lumMod val="90000"/>
                        </a:schemeClr>
                      </a:solidFill>
                      <a:prstDash val="sysDot"/>
                      <a:round/>
                      <a:headEnd type="none" w="med" len="med"/>
                      <a:tailEnd type="none" w="med" len="med"/>
                    </a:lnL>
                    <a:lnR w="6350" cap="flat" cmpd="sng" algn="ctr">
                      <a:noFill/>
                      <a:prstDash val="sysDash"/>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164993059"/>
                  </a:ext>
                </a:extLst>
              </a:tr>
              <a:tr h="274849">
                <a:tc>
                  <a:txBody>
                    <a:bodyPr/>
                    <a:lstStyle/>
                    <a:p>
                      <a:r>
                        <a:rPr lang="en-US" sz="900" b="1" i="0" kern="1200">
                          <a:solidFill>
                            <a:schemeClr val="tx1"/>
                          </a:solidFill>
                          <a:latin typeface="Nexa Bold" pitchFamily="2" charset="77"/>
                          <a:ea typeface="+mn-ea"/>
                          <a:cs typeface="+mn-cs"/>
                        </a:rPr>
                        <a:t>Volume Sales (</a:t>
                      </a:r>
                      <a:r>
                        <a:rPr lang="en-US" sz="900" b="1" i="0" kern="1200" err="1">
                          <a:solidFill>
                            <a:schemeClr val="tx1"/>
                          </a:solidFill>
                          <a:latin typeface="Nexa Bold" pitchFamily="2" charset="77"/>
                          <a:ea typeface="+mn-ea"/>
                          <a:cs typeface="+mn-cs"/>
                        </a:rPr>
                        <a:t>kgM</a:t>
                      </a:r>
                      <a:r>
                        <a:rPr lang="en-US" sz="900" b="1" i="0" kern="1200">
                          <a:solidFill>
                            <a:schemeClr val="tx1"/>
                          </a:solidFill>
                          <a:latin typeface="Nexa Bold" pitchFamily="2" charset="77"/>
                          <a:ea typeface="+mn-ea"/>
                          <a:cs typeface="+mn-cs"/>
                        </a:rPr>
                        <a:t>)</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22.2</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a:txBody>
                    <a:bodyPr/>
                    <a:lstStyle/>
                    <a:p>
                      <a:pPr algn="ctr"/>
                      <a:r>
                        <a:rPr sz="900"/>
                        <a:t>7.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vMerge="1">
                  <a:txBody>
                    <a:bodyPr/>
                    <a:lstStyle/>
                    <a:p>
                      <a:endParaRPr lang="en-AE"/>
                    </a:p>
                  </a:txBody>
                  <a:tcPr/>
                </a:tc>
                <a:extLst>
                  <a:ext uri="{0D108BD9-81ED-4DB2-BD59-A6C34878D82A}">
                    <a16:rowId xmlns:a16="http://schemas.microsoft.com/office/drawing/2014/main" val="2893178582"/>
                  </a:ext>
                </a:extLst>
              </a:tr>
            </a:tbl>
          </a:graphicData>
        </a:graphic>
      </p:graphicFrame>
      <p:sp>
        <p:nvSpPr>
          <p:cNvPr id="5" name="TextBox 4">
            <a:extLst>
              <a:ext uri="{FF2B5EF4-FFF2-40B4-BE49-F238E27FC236}">
                <a16:creationId xmlns:a16="http://schemas.microsoft.com/office/drawing/2014/main" id="{93727F24-80C6-F2CC-BBD9-D6E709998A9D}"/>
              </a:ext>
            </a:extLst>
          </p:cNvPr>
          <p:cNvSpPr txBox="1"/>
          <p:nvPr/>
        </p:nvSpPr>
        <p:spPr>
          <a:xfrm>
            <a:off x="535416" y="2162153"/>
            <a:ext cx="1408434" cy="23083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900">
                <a:solidFill>
                  <a:schemeClr val="tx2"/>
                </a:solidFill>
                <a:latin typeface="Nexa Bold" panose="00000800000000000000" pitchFamily="2" charset="0"/>
              </a:rPr>
              <a:t>Value Sales ($  M)</a:t>
            </a:r>
          </a:p>
        </p:txBody>
      </p:sp>
      <p:sp>
        <p:nvSpPr>
          <p:cNvPr id="6" name="Date Placeholder 5">
            <a:extLst>
              <a:ext uri="{FF2B5EF4-FFF2-40B4-BE49-F238E27FC236}">
                <a16:creationId xmlns:a16="http://schemas.microsoft.com/office/drawing/2014/main" id="{C31EB4B8-16DF-97D7-87D6-FC88B54FE84A}"/>
              </a:ext>
            </a:extLst>
          </p:cNvPr>
          <p:cNvSpPr>
            <a:spLocks noGrp="1"/>
          </p:cNvSpPr>
          <p:nvPr>
            <p:ph type="dt" sz="half" idx="14"/>
          </p:nvPr>
        </p:nvSpPr>
        <p:spPr/>
        <p:txBody>
          <a:bodyPr/>
          <a:lstStyle/>
          <a:p>
            <a:fld id="{296FA869-BB72-4FBF-ABF8-21744C2215D9}" type="datetime1">
              <a:rPr lang="en-US" smtClean="0"/>
              <a:t>12/12/2024</a:t>
            </a:fld>
            <a:endParaRPr lang="en-US"/>
          </a:p>
        </p:txBody>
      </p:sp>
    </p:spTree>
    <p:extLst>
      <p:ext uri="{BB962C8B-B14F-4D97-AF65-F5344CB8AC3E}">
        <p14:creationId xmlns:p14="http://schemas.microsoft.com/office/powerpoint/2010/main" val="2994282531"/>
      </p:ext>
    </p:extLst>
  </p:cSld>
  <p:clrMapOvr>
    <a:masterClrMapping/>
  </p:clrMapOvr>
</p:sld>
</file>

<file path=ppt/slides/slide3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84788F55-C544-2888-1994-2AA0FF71D6E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9" name="think-cell data - do not delete" hidden="1">
                        <a:extLst>
                          <a:ext uri="{FF2B5EF4-FFF2-40B4-BE49-F238E27FC236}">
                            <a16:creationId xmlns:a16="http://schemas.microsoft.com/office/drawing/2014/main" id="{84788F55-C544-2888-1994-2AA0FF71D6EF}"/>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9</a:t>
            </a:fld>
            <a:endParaRPr lang="en-US"/>
          </a:p>
        </p:txBody>
      </p:sp>
      <p:sp>
        <p:nvSpPr>
          <p:cNvPr id="32" name="SRC">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33" name="MT">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ales trend on Value vs. Volume vs. Price | Manual Shave Women | Walmart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normAutofit/>
          </a:bodyPr>
          <a:lstStyle/>
          <a:p>
            <a:r>
              <a:rPr lang="fr-CH" err="1"/>
              <a:t>Category</a:t>
            </a:r>
            <a:r>
              <a:rPr lang="fr-CH"/>
              <a:t> </a:t>
            </a:r>
            <a:r>
              <a:rPr lang="fr-CH" err="1"/>
              <a:t>Overview</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4" name="C1">
            <a:extLst>
              <a:ext uri="{FF2B5EF4-FFF2-40B4-BE49-F238E27FC236}">
                <a16:creationId xmlns:a16="http://schemas.microsoft.com/office/drawing/2014/main" id="{3F988610-BD5B-1357-841E-2DBFB419E674}"/>
              </a:ext>
            </a:extLst>
          </p:cNvPr>
          <p:cNvGraphicFramePr/>
          <p:nvPr>
            <p:extLst>
              <p:ext uri="{D42A27DB-BD31-4B8C-83A1-F6EECF244321}">
                <p14:modId xmlns:p14="http://schemas.microsoft.com/office/powerpoint/2010/main" val="2690479082"/>
              </p:ext>
            </p:extLst>
          </p:nvPr>
        </p:nvGraphicFramePr>
        <p:xfrm>
          <a:off x="535416" y="2192483"/>
          <a:ext cx="8093544" cy="25402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1" name="T1">
            <a:extLst>
              <a:ext uri="{FF2B5EF4-FFF2-40B4-BE49-F238E27FC236}">
                <a16:creationId xmlns:a16="http://schemas.microsoft.com/office/drawing/2014/main" id="{0D348E7C-1D67-14EC-809B-C07EE5021CB1}"/>
              </a:ext>
            </a:extLst>
          </p:cNvPr>
          <p:cNvGraphicFramePr>
            <a:graphicFrameLocks noGrp="1"/>
          </p:cNvGraphicFramePr>
          <p:nvPr>
            <p:extLst>
              <p:ext uri="{D42A27DB-BD31-4B8C-83A1-F6EECF244321}">
                <p14:modId xmlns:p14="http://schemas.microsoft.com/office/powerpoint/2010/main" val="4097038769"/>
              </p:ext>
            </p:extLst>
          </p:nvPr>
        </p:nvGraphicFramePr>
        <p:xfrm>
          <a:off x="535912" y="1141196"/>
          <a:ext cx="8100003" cy="902593"/>
        </p:xfrm>
        <a:graphic>
          <a:graphicData uri="http://schemas.openxmlformats.org/drawingml/2006/table">
            <a:tbl>
              <a:tblPr firstRow="1" bandRow="1">
                <a:tableStyleId>{5C22544A-7EE6-4342-B048-85BDC9FD1C3A}</a:tableStyleId>
              </a:tblPr>
              <a:tblGrid>
                <a:gridCol w="1225009">
                  <a:extLst>
                    <a:ext uri="{9D8B030D-6E8A-4147-A177-3AD203B41FA5}">
                      <a16:colId xmlns:a16="http://schemas.microsoft.com/office/drawing/2014/main" val="2097685003"/>
                    </a:ext>
                  </a:extLst>
                </a:gridCol>
                <a:gridCol w="982142">
                  <a:extLst>
                    <a:ext uri="{9D8B030D-6E8A-4147-A177-3AD203B41FA5}">
                      <a16:colId xmlns:a16="http://schemas.microsoft.com/office/drawing/2014/main" val="2089866971"/>
                    </a:ext>
                  </a:extLst>
                </a:gridCol>
                <a:gridCol w="982142">
                  <a:extLst>
                    <a:ext uri="{9D8B030D-6E8A-4147-A177-3AD203B41FA5}">
                      <a16:colId xmlns:a16="http://schemas.microsoft.com/office/drawing/2014/main" val="2851604717"/>
                    </a:ext>
                  </a:extLst>
                </a:gridCol>
                <a:gridCol w="982142">
                  <a:extLst>
                    <a:ext uri="{9D8B030D-6E8A-4147-A177-3AD203B41FA5}">
                      <a16:colId xmlns:a16="http://schemas.microsoft.com/office/drawing/2014/main" val="568711677"/>
                    </a:ext>
                  </a:extLst>
                </a:gridCol>
                <a:gridCol w="982142">
                  <a:extLst>
                    <a:ext uri="{9D8B030D-6E8A-4147-A177-3AD203B41FA5}">
                      <a16:colId xmlns:a16="http://schemas.microsoft.com/office/drawing/2014/main" val="3128690551"/>
                    </a:ext>
                  </a:extLst>
                </a:gridCol>
                <a:gridCol w="982142">
                  <a:extLst>
                    <a:ext uri="{9D8B030D-6E8A-4147-A177-3AD203B41FA5}">
                      <a16:colId xmlns:a16="http://schemas.microsoft.com/office/drawing/2014/main" val="2272065234"/>
                    </a:ext>
                  </a:extLst>
                </a:gridCol>
                <a:gridCol w="982142">
                  <a:extLst>
                    <a:ext uri="{9D8B030D-6E8A-4147-A177-3AD203B41FA5}">
                      <a16:colId xmlns:a16="http://schemas.microsoft.com/office/drawing/2014/main" val="1765880838"/>
                    </a:ext>
                  </a:extLst>
                </a:gridCol>
                <a:gridCol w="982142">
                  <a:extLst>
                    <a:ext uri="{9D8B030D-6E8A-4147-A177-3AD203B41FA5}">
                      <a16:colId xmlns:a16="http://schemas.microsoft.com/office/drawing/2014/main" val="2252399899"/>
                    </a:ext>
                  </a:extLst>
                </a:gridCol>
              </a:tblGrid>
              <a:tr h="352895">
                <a:tc>
                  <a:txBody>
                    <a:bodyPr/>
                    <a:lstStyle/>
                    <a:p>
                      <a:pPr algn="ctr"/>
                      <a:endParaRPr lang="en-US" sz="900" b="0" i="0">
                        <a:solidFill>
                          <a:schemeClr val="tx1"/>
                        </a:solidFill>
                        <a:latin typeface="Nexa Bold" pitchFamily="2" charset="77"/>
                      </a:endParaRPr>
                    </a:p>
                  </a:txBody>
                  <a:tcPr marL="68580" marR="68580" marT="13716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lang="en-US" sz="900" b="0" i="0" kern="1200">
                          <a:solidFill>
                            <a:schemeClr val="tx1"/>
                          </a:solidFill>
                          <a:latin typeface="Nexa Bold" pitchFamily="2" charset="77"/>
                          <a:ea typeface="+mn-ea"/>
                          <a:cs typeface="+mn-cs"/>
                        </a:rPr>
                        <a:t>Category</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Manufacturer</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rowSpan="3">
                  <a:txBody>
                    <a:bodyPr/>
                    <a:lstStyle/>
                    <a:p>
                      <a:pPr algn="ctr">
                        <a:defRPr>
                          <a:latin typeface="Nexa Bold"/>
                        </a:defRPr>
                      </a:pPr>
                      <a:r>
                        <a:rPr sz="900" b="0">
                          <a:solidFill>
                            <a:srgbClr val="575555"/>
                          </a:solidFill>
                        </a:rPr>
                        <a:t>Pricing impact</a:t>
                      </a:r>
                    </a:p>
                    <a:p>
                      <a:pPr algn="ctr"/>
                      <a:r>
                        <a:rPr sz="900" b="0">
                          <a:solidFill>
                            <a:srgbClr val="575555"/>
                          </a:solidFill>
                          <a:latin typeface="Nexa Bold"/>
                        </a:rPr>
                        <a:t>on growth
</a:t>
                      </a:r>
                      <a:r>
                        <a:rPr sz="900">
                          <a:solidFill>
                            <a:srgbClr val="006C6D"/>
                          </a:solidFill>
                          <a:latin typeface="Nexa Bold"/>
                        </a:rPr>
                        <a:t>-1pts</a:t>
                      </a:r>
                    </a:p>
                  </a:txBody>
                  <a:tcPr marL="68580" marR="68580" marT="137160" marB="34290" anchor="ctr">
                    <a:lnL w="19050" cap="flat" cmpd="sng" algn="ctr">
                      <a:solidFill>
                        <a:schemeClr val="bg1"/>
                      </a:solidFill>
                      <a:prstDash val="solid"/>
                      <a:round/>
                      <a:headEnd type="none" w="med" len="med"/>
                      <a:tailEnd type="none" w="med" len="med"/>
                    </a:lnL>
                    <a:lnR w="6350" cap="flat" cmpd="sng" algn="ctr">
                      <a:noFill/>
                      <a:prstDash val="sysDash"/>
                      <a:round/>
                      <a:headEnd type="none" w="med" len="med"/>
                      <a:tailEnd type="none" w="med" len="med"/>
                    </a:lnR>
                    <a:lnT w="12700" cap="flat" cmpd="sng" algn="ctr">
                      <a:solidFill>
                        <a:schemeClr val="bg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3114691536"/>
                  </a:ext>
                </a:extLst>
              </a:tr>
              <a:tr h="274849">
                <a:tc>
                  <a:txBody>
                    <a:bodyPr/>
                    <a:lstStyle/>
                    <a:p>
                      <a:pPr>
                        <a:defRPr>
                          <a:latin typeface="Nexa Bold"/>
                        </a:defRPr>
                      </a:pPr>
                      <a:r>
                        <a:rPr sz="900" b="1"/>
                        <a:t>Value Sales ($  M)</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379.4</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a:r>
                        <a:rPr sz="900"/>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8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a:r>
                        <a:rPr sz="900"/>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pPr algn="ctr" rtl="0" fontAlgn="ctr"/>
                      <a:endParaRPr sz="1000">
                        <a:solidFill>
                          <a:srgbClr val="575555"/>
                        </a:solidFill>
                        <a:latin typeface="Open Sans"/>
                      </a:endParaRPr>
                    </a:p>
                  </a:txBody>
                  <a:tcPr marL="9525" marR="9525" marT="9525" marB="0" anchor="ctr">
                    <a:lnL w="12700" cap="flat" cmpd="sng" algn="ctr">
                      <a:solidFill>
                        <a:schemeClr val="bg2">
                          <a:lumMod val="90000"/>
                        </a:schemeClr>
                      </a:solidFill>
                      <a:prstDash val="sysDot"/>
                      <a:round/>
                      <a:headEnd type="none" w="med" len="med"/>
                      <a:tailEnd type="none" w="med" len="med"/>
                    </a:lnL>
                    <a:lnR w="6350" cap="flat" cmpd="sng" algn="ctr">
                      <a:noFill/>
                      <a:prstDash val="sysDash"/>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164993059"/>
                  </a:ext>
                </a:extLst>
              </a:tr>
              <a:tr h="274849">
                <a:tc>
                  <a:txBody>
                    <a:bodyPr/>
                    <a:lstStyle/>
                    <a:p>
                      <a:r>
                        <a:rPr lang="en-US" sz="900" b="1" i="0" kern="1200">
                          <a:solidFill>
                            <a:schemeClr val="tx1"/>
                          </a:solidFill>
                          <a:latin typeface="Nexa Bold" pitchFamily="2" charset="77"/>
                          <a:ea typeface="+mn-ea"/>
                          <a:cs typeface="+mn-cs"/>
                        </a:rPr>
                        <a:t>Volume Sales (</a:t>
                      </a:r>
                      <a:r>
                        <a:rPr lang="en-US" sz="900" b="1" i="0" kern="1200" err="1">
                          <a:solidFill>
                            <a:schemeClr val="tx1"/>
                          </a:solidFill>
                          <a:latin typeface="Nexa Bold" pitchFamily="2" charset="77"/>
                          <a:ea typeface="+mn-ea"/>
                          <a:cs typeface="+mn-cs"/>
                        </a:rPr>
                        <a:t>kgM</a:t>
                      </a:r>
                      <a:r>
                        <a:rPr lang="en-US" sz="900" b="1" i="0" kern="1200">
                          <a:solidFill>
                            <a:schemeClr val="tx1"/>
                          </a:solidFill>
                          <a:latin typeface="Nexa Bold" pitchFamily="2" charset="77"/>
                          <a:ea typeface="+mn-ea"/>
                          <a:cs typeface="+mn-cs"/>
                        </a:rPr>
                        <a:t>)</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230</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a:txBody>
                    <a:bodyPr/>
                    <a:lstStyle/>
                    <a:p>
                      <a:pPr algn="ctr"/>
                      <a:r>
                        <a:rPr sz="900"/>
                        <a:t>28.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vMerge="1">
                  <a:txBody>
                    <a:bodyPr/>
                    <a:lstStyle/>
                    <a:p>
                      <a:endParaRPr lang="en-AE"/>
                    </a:p>
                  </a:txBody>
                  <a:tcPr/>
                </a:tc>
                <a:extLst>
                  <a:ext uri="{0D108BD9-81ED-4DB2-BD59-A6C34878D82A}">
                    <a16:rowId xmlns:a16="http://schemas.microsoft.com/office/drawing/2014/main" val="2893178582"/>
                  </a:ext>
                </a:extLst>
              </a:tr>
            </a:tbl>
          </a:graphicData>
        </a:graphic>
      </p:graphicFrame>
      <p:sp>
        <p:nvSpPr>
          <p:cNvPr id="5" name="TextBox 4">
            <a:extLst>
              <a:ext uri="{FF2B5EF4-FFF2-40B4-BE49-F238E27FC236}">
                <a16:creationId xmlns:a16="http://schemas.microsoft.com/office/drawing/2014/main" id="{93727F24-80C6-F2CC-BBD9-D6E709998A9D}"/>
              </a:ext>
            </a:extLst>
          </p:cNvPr>
          <p:cNvSpPr txBox="1"/>
          <p:nvPr/>
        </p:nvSpPr>
        <p:spPr>
          <a:xfrm>
            <a:off x="535416" y="2162153"/>
            <a:ext cx="1408434" cy="23083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900">
                <a:solidFill>
                  <a:schemeClr val="tx2"/>
                </a:solidFill>
                <a:latin typeface="Nexa Bold" panose="00000800000000000000" pitchFamily="2" charset="0"/>
              </a:rPr>
              <a:t>Value Sales ($  M)</a:t>
            </a:r>
          </a:p>
        </p:txBody>
      </p:sp>
      <p:sp>
        <p:nvSpPr>
          <p:cNvPr id="6" name="Date Placeholder 5">
            <a:extLst>
              <a:ext uri="{FF2B5EF4-FFF2-40B4-BE49-F238E27FC236}">
                <a16:creationId xmlns:a16="http://schemas.microsoft.com/office/drawing/2014/main" id="{C31EB4B8-16DF-97D7-87D6-FC88B54FE84A}"/>
              </a:ext>
            </a:extLst>
          </p:cNvPr>
          <p:cNvSpPr>
            <a:spLocks noGrp="1"/>
          </p:cNvSpPr>
          <p:nvPr>
            <p:ph type="dt" sz="half" idx="14"/>
          </p:nvPr>
        </p:nvSpPr>
        <p:spPr/>
        <p:txBody>
          <a:bodyPr/>
          <a:lstStyle/>
          <a:p>
            <a:fld id="{296FA869-BB72-4FBF-ABF8-21744C2215D9}" type="datetime1">
              <a:rPr lang="en-US" smtClean="0"/>
              <a:t>12/12/2024</a:t>
            </a:fld>
            <a:endParaRPr lang="en-US"/>
          </a:p>
        </p:txBody>
      </p:sp>
    </p:spTree>
    <p:extLst>
      <p:ext uri="{BB962C8B-B14F-4D97-AF65-F5344CB8AC3E}">
        <p14:creationId xmlns:p14="http://schemas.microsoft.com/office/powerpoint/2010/main" val="163317961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National | Category Trends | Razor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3178870708"/>
      </p:ext>
    </p:extLst>
  </p:cSld>
  <p:clrMapOvr>
    <a:masterClrMapping/>
  </p:clrMapOvr>
</p:sld>
</file>

<file path=ppt/slides/slide3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84788F55-C544-2888-1994-2AA0FF71D6E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9" name="think-cell data - do not delete" hidden="1">
                        <a:extLst>
                          <a:ext uri="{FF2B5EF4-FFF2-40B4-BE49-F238E27FC236}">
                            <a16:creationId xmlns:a16="http://schemas.microsoft.com/office/drawing/2014/main" id="{84788F55-C544-2888-1994-2AA0FF71D6EF}"/>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0</a:t>
            </a:fld>
            <a:endParaRPr lang="en-US"/>
          </a:p>
        </p:txBody>
      </p:sp>
      <p:sp>
        <p:nvSpPr>
          <p:cNvPr id="32" name="SRC">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33" name="MT">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ales trend on Value vs. Volume vs. Price | Manual Shave Women | Amazon 1P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normAutofit/>
          </a:bodyPr>
          <a:lstStyle/>
          <a:p>
            <a:r>
              <a:rPr lang="fr-CH" err="1"/>
              <a:t>Category</a:t>
            </a:r>
            <a:r>
              <a:rPr lang="fr-CH"/>
              <a:t> </a:t>
            </a:r>
            <a:r>
              <a:rPr lang="fr-CH" err="1"/>
              <a:t>Overview</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4" name="C1">
            <a:extLst>
              <a:ext uri="{FF2B5EF4-FFF2-40B4-BE49-F238E27FC236}">
                <a16:creationId xmlns:a16="http://schemas.microsoft.com/office/drawing/2014/main" id="{3F988610-BD5B-1357-841E-2DBFB419E674}"/>
              </a:ext>
            </a:extLst>
          </p:cNvPr>
          <p:cNvGraphicFramePr/>
          <p:nvPr>
            <p:extLst>
              <p:ext uri="{D42A27DB-BD31-4B8C-83A1-F6EECF244321}">
                <p14:modId xmlns:p14="http://schemas.microsoft.com/office/powerpoint/2010/main" val="2690479082"/>
              </p:ext>
            </p:extLst>
          </p:nvPr>
        </p:nvGraphicFramePr>
        <p:xfrm>
          <a:off x="535416" y="2192483"/>
          <a:ext cx="8093544" cy="25402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1" name="T1">
            <a:extLst>
              <a:ext uri="{FF2B5EF4-FFF2-40B4-BE49-F238E27FC236}">
                <a16:creationId xmlns:a16="http://schemas.microsoft.com/office/drawing/2014/main" id="{0D348E7C-1D67-14EC-809B-C07EE5021CB1}"/>
              </a:ext>
            </a:extLst>
          </p:cNvPr>
          <p:cNvGraphicFramePr>
            <a:graphicFrameLocks noGrp="1"/>
          </p:cNvGraphicFramePr>
          <p:nvPr>
            <p:extLst>
              <p:ext uri="{D42A27DB-BD31-4B8C-83A1-F6EECF244321}">
                <p14:modId xmlns:p14="http://schemas.microsoft.com/office/powerpoint/2010/main" val="4097038769"/>
              </p:ext>
            </p:extLst>
          </p:nvPr>
        </p:nvGraphicFramePr>
        <p:xfrm>
          <a:off x="535912" y="1141196"/>
          <a:ext cx="8100003" cy="902593"/>
        </p:xfrm>
        <a:graphic>
          <a:graphicData uri="http://schemas.openxmlformats.org/drawingml/2006/table">
            <a:tbl>
              <a:tblPr firstRow="1" bandRow="1">
                <a:tableStyleId>{5C22544A-7EE6-4342-B048-85BDC9FD1C3A}</a:tableStyleId>
              </a:tblPr>
              <a:tblGrid>
                <a:gridCol w="1225009">
                  <a:extLst>
                    <a:ext uri="{9D8B030D-6E8A-4147-A177-3AD203B41FA5}">
                      <a16:colId xmlns:a16="http://schemas.microsoft.com/office/drawing/2014/main" val="2097685003"/>
                    </a:ext>
                  </a:extLst>
                </a:gridCol>
                <a:gridCol w="982142">
                  <a:extLst>
                    <a:ext uri="{9D8B030D-6E8A-4147-A177-3AD203B41FA5}">
                      <a16:colId xmlns:a16="http://schemas.microsoft.com/office/drawing/2014/main" val="2089866971"/>
                    </a:ext>
                  </a:extLst>
                </a:gridCol>
                <a:gridCol w="982142">
                  <a:extLst>
                    <a:ext uri="{9D8B030D-6E8A-4147-A177-3AD203B41FA5}">
                      <a16:colId xmlns:a16="http://schemas.microsoft.com/office/drawing/2014/main" val="2851604717"/>
                    </a:ext>
                  </a:extLst>
                </a:gridCol>
                <a:gridCol w="982142">
                  <a:extLst>
                    <a:ext uri="{9D8B030D-6E8A-4147-A177-3AD203B41FA5}">
                      <a16:colId xmlns:a16="http://schemas.microsoft.com/office/drawing/2014/main" val="568711677"/>
                    </a:ext>
                  </a:extLst>
                </a:gridCol>
                <a:gridCol w="982142">
                  <a:extLst>
                    <a:ext uri="{9D8B030D-6E8A-4147-A177-3AD203B41FA5}">
                      <a16:colId xmlns:a16="http://schemas.microsoft.com/office/drawing/2014/main" val="3128690551"/>
                    </a:ext>
                  </a:extLst>
                </a:gridCol>
                <a:gridCol w="982142">
                  <a:extLst>
                    <a:ext uri="{9D8B030D-6E8A-4147-A177-3AD203B41FA5}">
                      <a16:colId xmlns:a16="http://schemas.microsoft.com/office/drawing/2014/main" val="2272065234"/>
                    </a:ext>
                  </a:extLst>
                </a:gridCol>
                <a:gridCol w="982142">
                  <a:extLst>
                    <a:ext uri="{9D8B030D-6E8A-4147-A177-3AD203B41FA5}">
                      <a16:colId xmlns:a16="http://schemas.microsoft.com/office/drawing/2014/main" val="1765880838"/>
                    </a:ext>
                  </a:extLst>
                </a:gridCol>
                <a:gridCol w="982142">
                  <a:extLst>
                    <a:ext uri="{9D8B030D-6E8A-4147-A177-3AD203B41FA5}">
                      <a16:colId xmlns:a16="http://schemas.microsoft.com/office/drawing/2014/main" val="2252399899"/>
                    </a:ext>
                  </a:extLst>
                </a:gridCol>
              </a:tblGrid>
              <a:tr h="352895">
                <a:tc>
                  <a:txBody>
                    <a:bodyPr/>
                    <a:lstStyle/>
                    <a:p>
                      <a:pPr algn="ctr"/>
                      <a:endParaRPr lang="en-US" sz="900" b="0" i="0">
                        <a:solidFill>
                          <a:schemeClr val="tx1"/>
                        </a:solidFill>
                        <a:latin typeface="Nexa Bold" pitchFamily="2" charset="77"/>
                      </a:endParaRPr>
                    </a:p>
                  </a:txBody>
                  <a:tcPr marL="68580" marR="68580" marT="13716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lang="en-US" sz="900" b="0" i="0" kern="1200">
                          <a:solidFill>
                            <a:schemeClr val="tx1"/>
                          </a:solidFill>
                          <a:latin typeface="Nexa Bold" pitchFamily="2" charset="77"/>
                          <a:ea typeface="+mn-ea"/>
                          <a:cs typeface="+mn-cs"/>
                        </a:rPr>
                        <a:t>Category</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Manufacturer</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rowSpan="3">
                  <a:txBody>
                    <a:bodyPr/>
                    <a:lstStyle/>
                    <a:p>
                      <a:pPr algn="ctr">
                        <a:defRPr>
                          <a:latin typeface="Nexa Bold"/>
                        </a:defRPr>
                      </a:pPr>
                      <a:r>
                        <a:rPr sz="900" b="0">
                          <a:solidFill>
                            <a:srgbClr val="575555"/>
                          </a:solidFill>
                        </a:rPr>
                        <a:t>Pricing impact</a:t>
                      </a:r>
                    </a:p>
                    <a:p>
                      <a:pPr algn="ctr"/>
                      <a:r>
                        <a:rPr sz="900" b="0">
                          <a:solidFill>
                            <a:srgbClr val="575555"/>
                          </a:solidFill>
                          <a:latin typeface="Nexa Bold"/>
                        </a:rPr>
                        <a:t>on growth
</a:t>
                      </a:r>
                      <a:r>
                        <a:rPr sz="900">
                          <a:solidFill>
                            <a:srgbClr val="006C6D"/>
                          </a:solidFill>
                          <a:latin typeface="Nexa Bold"/>
                        </a:rPr>
                        <a:t>-42pts</a:t>
                      </a:r>
                    </a:p>
                  </a:txBody>
                  <a:tcPr marL="68580" marR="68580" marT="137160" marB="34290" anchor="ctr">
                    <a:lnL w="19050" cap="flat" cmpd="sng" algn="ctr">
                      <a:solidFill>
                        <a:schemeClr val="bg1"/>
                      </a:solidFill>
                      <a:prstDash val="solid"/>
                      <a:round/>
                      <a:headEnd type="none" w="med" len="med"/>
                      <a:tailEnd type="none" w="med" len="med"/>
                    </a:lnL>
                    <a:lnR w="6350" cap="flat" cmpd="sng" algn="ctr">
                      <a:noFill/>
                      <a:prstDash val="sysDash"/>
                      <a:round/>
                      <a:headEnd type="none" w="med" len="med"/>
                      <a:tailEnd type="none" w="med" len="med"/>
                    </a:lnR>
                    <a:lnT w="12700" cap="flat" cmpd="sng" algn="ctr">
                      <a:solidFill>
                        <a:schemeClr val="bg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3114691536"/>
                  </a:ext>
                </a:extLst>
              </a:tr>
              <a:tr h="274849">
                <a:tc>
                  <a:txBody>
                    <a:bodyPr/>
                    <a:lstStyle/>
                    <a:p>
                      <a:pPr>
                        <a:defRPr>
                          <a:latin typeface="Nexa Bold"/>
                        </a:defRPr>
                      </a:pPr>
                      <a:r>
                        <a:rPr sz="900" b="1"/>
                        <a:t>Value Sales ($  M)</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89.9</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a:r>
                        <a:rPr sz="900"/>
                        <a:t>9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20.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3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a:r>
                        <a:rPr sz="900"/>
                        <a:t>7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pPr algn="ctr" rtl="0" fontAlgn="ctr"/>
                      <a:endParaRPr sz="1000">
                        <a:solidFill>
                          <a:srgbClr val="575555"/>
                        </a:solidFill>
                        <a:latin typeface="Open Sans"/>
                      </a:endParaRPr>
                    </a:p>
                  </a:txBody>
                  <a:tcPr marL="9525" marR="9525" marT="9525" marB="0" anchor="ctr">
                    <a:lnL w="12700" cap="flat" cmpd="sng" algn="ctr">
                      <a:solidFill>
                        <a:schemeClr val="bg2">
                          <a:lumMod val="90000"/>
                        </a:schemeClr>
                      </a:solidFill>
                      <a:prstDash val="sysDot"/>
                      <a:round/>
                      <a:headEnd type="none" w="med" len="med"/>
                      <a:tailEnd type="none" w="med" len="med"/>
                    </a:lnL>
                    <a:lnR w="6350" cap="flat" cmpd="sng" algn="ctr">
                      <a:noFill/>
                      <a:prstDash val="sysDash"/>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164993059"/>
                  </a:ext>
                </a:extLst>
              </a:tr>
              <a:tr h="274849">
                <a:tc>
                  <a:txBody>
                    <a:bodyPr/>
                    <a:lstStyle/>
                    <a:p>
                      <a:r>
                        <a:rPr lang="en-US" sz="900" b="1" i="0" kern="1200">
                          <a:solidFill>
                            <a:schemeClr val="tx1"/>
                          </a:solidFill>
                          <a:latin typeface="Nexa Bold" pitchFamily="2" charset="77"/>
                          <a:ea typeface="+mn-ea"/>
                          <a:cs typeface="+mn-cs"/>
                        </a:rPr>
                        <a:t>Volume Sales (</a:t>
                      </a:r>
                      <a:r>
                        <a:rPr lang="en-US" sz="900" b="1" i="0" kern="1200" err="1">
                          <a:solidFill>
                            <a:schemeClr val="tx1"/>
                          </a:solidFill>
                          <a:latin typeface="Nexa Bold" pitchFamily="2" charset="77"/>
                          <a:ea typeface="+mn-ea"/>
                          <a:cs typeface="+mn-cs"/>
                        </a:rPr>
                        <a:t>kgM</a:t>
                      </a:r>
                      <a:r>
                        <a:rPr lang="en-US" sz="900" b="1" i="0" kern="1200">
                          <a:solidFill>
                            <a:schemeClr val="tx1"/>
                          </a:solidFill>
                          <a:latin typeface="Nexa Bold" pitchFamily="2" charset="77"/>
                          <a:ea typeface="+mn-ea"/>
                          <a:cs typeface="+mn-cs"/>
                        </a:rPr>
                        <a:t>)</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41.3</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1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a:txBody>
                    <a:bodyPr/>
                    <a:lstStyle/>
                    <a:p>
                      <a:pPr algn="ctr"/>
                      <a:r>
                        <a:rPr sz="900"/>
                        <a:t>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7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vMerge="1">
                  <a:txBody>
                    <a:bodyPr/>
                    <a:lstStyle/>
                    <a:p>
                      <a:endParaRPr lang="en-AE"/>
                    </a:p>
                  </a:txBody>
                  <a:tcPr/>
                </a:tc>
                <a:extLst>
                  <a:ext uri="{0D108BD9-81ED-4DB2-BD59-A6C34878D82A}">
                    <a16:rowId xmlns:a16="http://schemas.microsoft.com/office/drawing/2014/main" val="2893178582"/>
                  </a:ext>
                </a:extLst>
              </a:tr>
            </a:tbl>
          </a:graphicData>
        </a:graphic>
      </p:graphicFrame>
      <p:sp>
        <p:nvSpPr>
          <p:cNvPr id="5" name="TextBox 4">
            <a:extLst>
              <a:ext uri="{FF2B5EF4-FFF2-40B4-BE49-F238E27FC236}">
                <a16:creationId xmlns:a16="http://schemas.microsoft.com/office/drawing/2014/main" id="{93727F24-80C6-F2CC-BBD9-D6E709998A9D}"/>
              </a:ext>
            </a:extLst>
          </p:cNvPr>
          <p:cNvSpPr txBox="1"/>
          <p:nvPr/>
        </p:nvSpPr>
        <p:spPr>
          <a:xfrm>
            <a:off x="535416" y="2162153"/>
            <a:ext cx="1408434" cy="23083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900">
                <a:solidFill>
                  <a:schemeClr val="tx2"/>
                </a:solidFill>
                <a:latin typeface="Nexa Bold" panose="00000800000000000000" pitchFamily="2" charset="0"/>
              </a:rPr>
              <a:t>Value Sales ($  M)</a:t>
            </a:r>
          </a:p>
        </p:txBody>
      </p:sp>
      <p:sp>
        <p:nvSpPr>
          <p:cNvPr id="6" name="Date Placeholder 5">
            <a:extLst>
              <a:ext uri="{FF2B5EF4-FFF2-40B4-BE49-F238E27FC236}">
                <a16:creationId xmlns:a16="http://schemas.microsoft.com/office/drawing/2014/main" id="{C31EB4B8-16DF-97D7-87D6-FC88B54FE84A}"/>
              </a:ext>
            </a:extLst>
          </p:cNvPr>
          <p:cNvSpPr>
            <a:spLocks noGrp="1"/>
          </p:cNvSpPr>
          <p:nvPr>
            <p:ph type="dt" sz="half" idx="14"/>
          </p:nvPr>
        </p:nvSpPr>
        <p:spPr/>
        <p:txBody>
          <a:bodyPr/>
          <a:lstStyle/>
          <a:p>
            <a:fld id="{296FA869-BB72-4FBF-ABF8-21744C2215D9}" type="datetime1">
              <a:rPr lang="en-US" smtClean="0"/>
              <a:t>12/12/2024</a:t>
            </a:fld>
            <a:endParaRPr lang="en-US"/>
          </a:p>
        </p:txBody>
      </p:sp>
    </p:spTree>
    <p:extLst>
      <p:ext uri="{BB962C8B-B14F-4D97-AF65-F5344CB8AC3E}">
        <p14:creationId xmlns:p14="http://schemas.microsoft.com/office/powerpoint/2010/main" val="1208483692"/>
      </p:ext>
    </p:extLst>
  </p:cSld>
  <p:clrMapOvr>
    <a:masterClrMapping/>
  </p:clrMapOvr>
</p:sld>
</file>

<file path=ppt/slides/slide3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84788F55-C544-2888-1994-2AA0FF71D6E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9" name="think-cell data - do not delete" hidden="1">
                        <a:extLst>
                          <a:ext uri="{FF2B5EF4-FFF2-40B4-BE49-F238E27FC236}">
                            <a16:creationId xmlns:a16="http://schemas.microsoft.com/office/drawing/2014/main" id="{84788F55-C544-2888-1994-2AA0FF71D6EF}"/>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1</a:t>
            </a:fld>
            <a:endParaRPr lang="en-US"/>
          </a:p>
        </p:txBody>
      </p:sp>
      <p:sp>
        <p:nvSpPr>
          <p:cNvPr id="32" name="SRC">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33" name="MT">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ales trend on Value vs. Volume vs. Price | Manual Shave Women | CVS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normAutofit/>
          </a:bodyPr>
          <a:lstStyle/>
          <a:p>
            <a:r>
              <a:rPr lang="fr-CH" err="1"/>
              <a:t>Category</a:t>
            </a:r>
            <a:r>
              <a:rPr lang="fr-CH"/>
              <a:t> </a:t>
            </a:r>
            <a:r>
              <a:rPr lang="fr-CH" err="1"/>
              <a:t>Overview</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4" name="C1">
            <a:extLst>
              <a:ext uri="{FF2B5EF4-FFF2-40B4-BE49-F238E27FC236}">
                <a16:creationId xmlns:a16="http://schemas.microsoft.com/office/drawing/2014/main" id="{3F988610-BD5B-1357-841E-2DBFB419E674}"/>
              </a:ext>
            </a:extLst>
          </p:cNvPr>
          <p:cNvGraphicFramePr/>
          <p:nvPr>
            <p:extLst>
              <p:ext uri="{D42A27DB-BD31-4B8C-83A1-F6EECF244321}">
                <p14:modId xmlns:p14="http://schemas.microsoft.com/office/powerpoint/2010/main" val="2690479082"/>
              </p:ext>
            </p:extLst>
          </p:nvPr>
        </p:nvGraphicFramePr>
        <p:xfrm>
          <a:off x="535416" y="2192483"/>
          <a:ext cx="8093544" cy="25402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1" name="T1">
            <a:extLst>
              <a:ext uri="{FF2B5EF4-FFF2-40B4-BE49-F238E27FC236}">
                <a16:creationId xmlns:a16="http://schemas.microsoft.com/office/drawing/2014/main" id="{0D348E7C-1D67-14EC-809B-C07EE5021CB1}"/>
              </a:ext>
            </a:extLst>
          </p:cNvPr>
          <p:cNvGraphicFramePr>
            <a:graphicFrameLocks noGrp="1"/>
          </p:cNvGraphicFramePr>
          <p:nvPr>
            <p:extLst>
              <p:ext uri="{D42A27DB-BD31-4B8C-83A1-F6EECF244321}">
                <p14:modId xmlns:p14="http://schemas.microsoft.com/office/powerpoint/2010/main" val="4097038769"/>
              </p:ext>
            </p:extLst>
          </p:nvPr>
        </p:nvGraphicFramePr>
        <p:xfrm>
          <a:off x="535912" y="1141196"/>
          <a:ext cx="8100003" cy="902593"/>
        </p:xfrm>
        <a:graphic>
          <a:graphicData uri="http://schemas.openxmlformats.org/drawingml/2006/table">
            <a:tbl>
              <a:tblPr firstRow="1" bandRow="1">
                <a:tableStyleId>{5C22544A-7EE6-4342-B048-85BDC9FD1C3A}</a:tableStyleId>
              </a:tblPr>
              <a:tblGrid>
                <a:gridCol w="1225009">
                  <a:extLst>
                    <a:ext uri="{9D8B030D-6E8A-4147-A177-3AD203B41FA5}">
                      <a16:colId xmlns:a16="http://schemas.microsoft.com/office/drawing/2014/main" val="2097685003"/>
                    </a:ext>
                  </a:extLst>
                </a:gridCol>
                <a:gridCol w="982142">
                  <a:extLst>
                    <a:ext uri="{9D8B030D-6E8A-4147-A177-3AD203B41FA5}">
                      <a16:colId xmlns:a16="http://schemas.microsoft.com/office/drawing/2014/main" val="2089866971"/>
                    </a:ext>
                  </a:extLst>
                </a:gridCol>
                <a:gridCol w="982142">
                  <a:extLst>
                    <a:ext uri="{9D8B030D-6E8A-4147-A177-3AD203B41FA5}">
                      <a16:colId xmlns:a16="http://schemas.microsoft.com/office/drawing/2014/main" val="2851604717"/>
                    </a:ext>
                  </a:extLst>
                </a:gridCol>
                <a:gridCol w="982142">
                  <a:extLst>
                    <a:ext uri="{9D8B030D-6E8A-4147-A177-3AD203B41FA5}">
                      <a16:colId xmlns:a16="http://schemas.microsoft.com/office/drawing/2014/main" val="568711677"/>
                    </a:ext>
                  </a:extLst>
                </a:gridCol>
                <a:gridCol w="982142">
                  <a:extLst>
                    <a:ext uri="{9D8B030D-6E8A-4147-A177-3AD203B41FA5}">
                      <a16:colId xmlns:a16="http://schemas.microsoft.com/office/drawing/2014/main" val="3128690551"/>
                    </a:ext>
                  </a:extLst>
                </a:gridCol>
                <a:gridCol w="982142">
                  <a:extLst>
                    <a:ext uri="{9D8B030D-6E8A-4147-A177-3AD203B41FA5}">
                      <a16:colId xmlns:a16="http://schemas.microsoft.com/office/drawing/2014/main" val="2272065234"/>
                    </a:ext>
                  </a:extLst>
                </a:gridCol>
                <a:gridCol w="982142">
                  <a:extLst>
                    <a:ext uri="{9D8B030D-6E8A-4147-A177-3AD203B41FA5}">
                      <a16:colId xmlns:a16="http://schemas.microsoft.com/office/drawing/2014/main" val="1765880838"/>
                    </a:ext>
                  </a:extLst>
                </a:gridCol>
                <a:gridCol w="982142">
                  <a:extLst>
                    <a:ext uri="{9D8B030D-6E8A-4147-A177-3AD203B41FA5}">
                      <a16:colId xmlns:a16="http://schemas.microsoft.com/office/drawing/2014/main" val="2252399899"/>
                    </a:ext>
                  </a:extLst>
                </a:gridCol>
              </a:tblGrid>
              <a:tr h="352895">
                <a:tc>
                  <a:txBody>
                    <a:bodyPr/>
                    <a:lstStyle/>
                    <a:p>
                      <a:pPr algn="ctr"/>
                      <a:endParaRPr lang="en-US" sz="900" b="0" i="0">
                        <a:solidFill>
                          <a:schemeClr val="tx1"/>
                        </a:solidFill>
                        <a:latin typeface="Nexa Bold" pitchFamily="2" charset="77"/>
                      </a:endParaRPr>
                    </a:p>
                  </a:txBody>
                  <a:tcPr marL="68580" marR="68580" marT="13716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lang="en-US" sz="900" b="0" i="0" kern="1200">
                          <a:solidFill>
                            <a:schemeClr val="tx1"/>
                          </a:solidFill>
                          <a:latin typeface="Nexa Bold" pitchFamily="2" charset="77"/>
                          <a:ea typeface="+mn-ea"/>
                          <a:cs typeface="+mn-cs"/>
                        </a:rPr>
                        <a:t>Category</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Manufacturer</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rowSpan="3">
                  <a:txBody>
                    <a:bodyPr/>
                    <a:lstStyle/>
                    <a:p>
                      <a:pPr algn="ctr">
                        <a:defRPr>
                          <a:latin typeface="Nexa Bold"/>
                        </a:defRPr>
                      </a:pPr>
                      <a:r>
                        <a:rPr sz="900" b="0">
                          <a:solidFill>
                            <a:srgbClr val="575555"/>
                          </a:solidFill>
                        </a:rPr>
                        <a:t>Pricing impact</a:t>
                      </a:r>
                    </a:p>
                    <a:p>
                      <a:pPr algn="ctr"/>
                      <a:r>
                        <a:rPr sz="900" b="0">
                          <a:solidFill>
                            <a:srgbClr val="575555"/>
                          </a:solidFill>
                          <a:latin typeface="Nexa Bold"/>
                        </a:rPr>
                        <a:t>on growth
</a:t>
                      </a:r>
                      <a:r>
                        <a:rPr sz="900">
                          <a:solidFill>
                            <a:srgbClr val="006C6D"/>
                          </a:solidFill>
                          <a:latin typeface="Nexa Bold"/>
                        </a:rPr>
                        <a:t>3pts</a:t>
                      </a:r>
                    </a:p>
                  </a:txBody>
                  <a:tcPr marL="68580" marR="68580" marT="137160" marB="34290" anchor="ctr">
                    <a:lnL w="19050" cap="flat" cmpd="sng" algn="ctr">
                      <a:solidFill>
                        <a:schemeClr val="bg1"/>
                      </a:solidFill>
                      <a:prstDash val="solid"/>
                      <a:round/>
                      <a:headEnd type="none" w="med" len="med"/>
                      <a:tailEnd type="none" w="med" len="med"/>
                    </a:lnL>
                    <a:lnR w="6350" cap="flat" cmpd="sng" algn="ctr">
                      <a:noFill/>
                      <a:prstDash val="sysDash"/>
                      <a:round/>
                      <a:headEnd type="none" w="med" len="med"/>
                      <a:tailEnd type="none" w="med" len="med"/>
                    </a:lnR>
                    <a:lnT w="12700" cap="flat" cmpd="sng" algn="ctr">
                      <a:solidFill>
                        <a:schemeClr val="bg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3114691536"/>
                  </a:ext>
                </a:extLst>
              </a:tr>
              <a:tr h="274849">
                <a:tc>
                  <a:txBody>
                    <a:bodyPr/>
                    <a:lstStyle/>
                    <a:p>
                      <a:pPr>
                        <a:defRPr>
                          <a:latin typeface="Nexa Bold"/>
                        </a:defRPr>
                      </a:pPr>
                      <a:r>
                        <a:rPr sz="900" b="1"/>
                        <a:t>Value Sales ($  M)</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81.4</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a:r>
                        <a:rPr sz="900"/>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26.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a:r>
                        <a:rPr sz="900"/>
                        <a:t>10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pPr algn="ctr" rtl="0" fontAlgn="ctr"/>
                      <a:endParaRPr sz="1000">
                        <a:solidFill>
                          <a:srgbClr val="575555"/>
                        </a:solidFill>
                        <a:latin typeface="Open Sans"/>
                      </a:endParaRPr>
                    </a:p>
                  </a:txBody>
                  <a:tcPr marL="9525" marR="9525" marT="9525" marB="0" anchor="ctr">
                    <a:lnL w="12700" cap="flat" cmpd="sng" algn="ctr">
                      <a:solidFill>
                        <a:schemeClr val="bg2">
                          <a:lumMod val="90000"/>
                        </a:schemeClr>
                      </a:solidFill>
                      <a:prstDash val="sysDot"/>
                      <a:round/>
                      <a:headEnd type="none" w="med" len="med"/>
                      <a:tailEnd type="none" w="med" len="med"/>
                    </a:lnL>
                    <a:lnR w="6350" cap="flat" cmpd="sng" algn="ctr">
                      <a:noFill/>
                      <a:prstDash val="sysDash"/>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164993059"/>
                  </a:ext>
                </a:extLst>
              </a:tr>
              <a:tr h="274849">
                <a:tc>
                  <a:txBody>
                    <a:bodyPr/>
                    <a:lstStyle/>
                    <a:p>
                      <a:r>
                        <a:rPr lang="en-US" sz="900" b="1" i="0" kern="1200">
                          <a:solidFill>
                            <a:schemeClr val="tx1"/>
                          </a:solidFill>
                          <a:latin typeface="Nexa Bold" pitchFamily="2" charset="77"/>
                          <a:ea typeface="+mn-ea"/>
                          <a:cs typeface="+mn-cs"/>
                        </a:rPr>
                        <a:t>Volume Sales (</a:t>
                      </a:r>
                      <a:r>
                        <a:rPr lang="en-US" sz="900" b="1" i="0" kern="1200" err="1">
                          <a:solidFill>
                            <a:schemeClr val="tx1"/>
                          </a:solidFill>
                          <a:latin typeface="Nexa Bold" pitchFamily="2" charset="77"/>
                          <a:ea typeface="+mn-ea"/>
                          <a:cs typeface="+mn-cs"/>
                        </a:rPr>
                        <a:t>kgM</a:t>
                      </a:r>
                      <a:r>
                        <a:rPr lang="en-US" sz="900" b="1" i="0" kern="1200">
                          <a:solidFill>
                            <a:schemeClr val="tx1"/>
                          </a:solidFill>
                          <a:latin typeface="Nexa Bold" pitchFamily="2" charset="77"/>
                          <a:ea typeface="+mn-ea"/>
                          <a:cs typeface="+mn-cs"/>
                        </a:rPr>
                        <a:t>)</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22.2</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a:txBody>
                    <a:bodyPr/>
                    <a:lstStyle/>
                    <a:p>
                      <a:pPr algn="ctr"/>
                      <a:r>
                        <a:rPr sz="900"/>
                        <a:t>7.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vMerge="1">
                  <a:txBody>
                    <a:bodyPr/>
                    <a:lstStyle/>
                    <a:p>
                      <a:endParaRPr lang="en-AE"/>
                    </a:p>
                  </a:txBody>
                  <a:tcPr/>
                </a:tc>
                <a:extLst>
                  <a:ext uri="{0D108BD9-81ED-4DB2-BD59-A6C34878D82A}">
                    <a16:rowId xmlns:a16="http://schemas.microsoft.com/office/drawing/2014/main" val="2893178582"/>
                  </a:ext>
                </a:extLst>
              </a:tr>
            </a:tbl>
          </a:graphicData>
        </a:graphic>
      </p:graphicFrame>
      <p:sp>
        <p:nvSpPr>
          <p:cNvPr id="5" name="TextBox 4">
            <a:extLst>
              <a:ext uri="{FF2B5EF4-FFF2-40B4-BE49-F238E27FC236}">
                <a16:creationId xmlns:a16="http://schemas.microsoft.com/office/drawing/2014/main" id="{93727F24-80C6-F2CC-BBD9-D6E709998A9D}"/>
              </a:ext>
            </a:extLst>
          </p:cNvPr>
          <p:cNvSpPr txBox="1"/>
          <p:nvPr/>
        </p:nvSpPr>
        <p:spPr>
          <a:xfrm>
            <a:off x="535416" y="2162153"/>
            <a:ext cx="1408434" cy="23083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900">
                <a:solidFill>
                  <a:schemeClr val="tx2"/>
                </a:solidFill>
                <a:latin typeface="Nexa Bold" panose="00000800000000000000" pitchFamily="2" charset="0"/>
              </a:rPr>
              <a:t>Value Sales ($  M)</a:t>
            </a:r>
          </a:p>
        </p:txBody>
      </p:sp>
      <p:sp>
        <p:nvSpPr>
          <p:cNvPr id="6" name="Date Placeholder 5">
            <a:extLst>
              <a:ext uri="{FF2B5EF4-FFF2-40B4-BE49-F238E27FC236}">
                <a16:creationId xmlns:a16="http://schemas.microsoft.com/office/drawing/2014/main" id="{C31EB4B8-16DF-97D7-87D6-FC88B54FE84A}"/>
              </a:ext>
            </a:extLst>
          </p:cNvPr>
          <p:cNvSpPr>
            <a:spLocks noGrp="1"/>
          </p:cNvSpPr>
          <p:nvPr>
            <p:ph type="dt" sz="half" idx="14"/>
          </p:nvPr>
        </p:nvSpPr>
        <p:spPr/>
        <p:txBody>
          <a:bodyPr/>
          <a:lstStyle/>
          <a:p>
            <a:fld id="{296FA869-BB72-4FBF-ABF8-21744C2215D9}" type="datetime1">
              <a:rPr lang="en-US" smtClean="0"/>
              <a:t>12/12/2024</a:t>
            </a:fld>
            <a:endParaRPr lang="en-US"/>
          </a:p>
        </p:txBody>
      </p:sp>
    </p:spTree>
    <p:extLst>
      <p:ext uri="{BB962C8B-B14F-4D97-AF65-F5344CB8AC3E}">
        <p14:creationId xmlns:p14="http://schemas.microsoft.com/office/powerpoint/2010/main" val="2378693035"/>
      </p:ext>
    </p:extLst>
  </p:cSld>
  <p:clrMapOvr>
    <a:masterClrMapping/>
  </p:clrMapOvr>
</p:sld>
</file>

<file path=ppt/slides/slide3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84788F55-C544-2888-1994-2AA0FF71D6E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9" name="think-cell data - do not delete" hidden="1">
                        <a:extLst>
                          <a:ext uri="{FF2B5EF4-FFF2-40B4-BE49-F238E27FC236}">
                            <a16:creationId xmlns:a16="http://schemas.microsoft.com/office/drawing/2014/main" id="{84788F55-C544-2888-1994-2AA0FF71D6EF}"/>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2</a:t>
            </a:fld>
            <a:endParaRPr lang="en-US"/>
          </a:p>
        </p:txBody>
      </p:sp>
      <p:sp>
        <p:nvSpPr>
          <p:cNvPr id="32" name="SRC">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33" name="MT">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ales trend on Value vs. Volume vs. Price | Manual Shave Women | Walmart Div1 Corp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normAutofit/>
          </a:bodyPr>
          <a:lstStyle/>
          <a:p>
            <a:r>
              <a:rPr lang="fr-CH" err="1"/>
              <a:t>Category</a:t>
            </a:r>
            <a:r>
              <a:rPr lang="fr-CH"/>
              <a:t> </a:t>
            </a:r>
            <a:r>
              <a:rPr lang="fr-CH" err="1"/>
              <a:t>Overview</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4" name="C1">
            <a:extLst>
              <a:ext uri="{FF2B5EF4-FFF2-40B4-BE49-F238E27FC236}">
                <a16:creationId xmlns:a16="http://schemas.microsoft.com/office/drawing/2014/main" id="{3F988610-BD5B-1357-841E-2DBFB419E674}"/>
              </a:ext>
            </a:extLst>
          </p:cNvPr>
          <p:cNvGraphicFramePr/>
          <p:nvPr>
            <p:extLst>
              <p:ext uri="{D42A27DB-BD31-4B8C-83A1-F6EECF244321}">
                <p14:modId xmlns:p14="http://schemas.microsoft.com/office/powerpoint/2010/main" val="2690479082"/>
              </p:ext>
            </p:extLst>
          </p:nvPr>
        </p:nvGraphicFramePr>
        <p:xfrm>
          <a:off x="535416" y="2192483"/>
          <a:ext cx="8093544" cy="25402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1" name="T1">
            <a:extLst>
              <a:ext uri="{FF2B5EF4-FFF2-40B4-BE49-F238E27FC236}">
                <a16:creationId xmlns:a16="http://schemas.microsoft.com/office/drawing/2014/main" id="{0D348E7C-1D67-14EC-809B-C07EE5021CB1}"/>
              </a:ext>
            </a:extLst>
          </p:cNvPr>
          <p:cNvGraphicFramePr>
            <a:graphicFrameLocks noGrp="1"/>
          </p:cNvGraphicFramePr>
          <p:nvPr>
            <p:extLst>
              <p:ext uri="{D42A27DB-BD31-4B8C-83A1-F6EECF244321}">
                <p14:modId xmlns:p14="http://schemas.microsoft.com/office/powerpoint/2010/main" val="4097038769"/>
              </p:ext>
            </p:extLst>
          </p:nvPr>
        </p:nvGraphicFramePr>
        <p:xfrm>
          <a:off x="535912" y="1141196"/>
          <a:ext cx="8100003" cy="902593"/>
        </p:xfrm>
        <a:graphic>
          <a:graphicData uri="http://schemas.openxmlformats.org/drawingml/2006/table">
            <a:tbl>
              <a:tblPr firstRow="1" bandRow="1">
                <a:tableStyleId>{5C22544A-7EE6-4342-B048-85BDC9FD1C3A}</a:tableStyleId>
              </a:tblPr>
              <a:tblGrid>
                <a:gridCol w="1225009">
                  <a:extLst>
                    <a:ext uri="{9D8B030D-6E8A-4147-A177-3AD203B41FA5}">
                      <a16:colId xmlns:a16="http://schemas.microsoft.com/office/drawing/2014/main" val="2097685003"/>
                    </a:ext>
                  </a:extLst>
                </a:gridCol>
                <a:gridCol w="982142">
                  <a:extLst>
                    <a:ext uri="{9D8B030D-6E8A-4147-A177-3AD203B41FA5}">
                      <a16:colId xmlns:a16="http://schemas.microsoft.com/office/drawing/2014/main" val="2089866971"/>
                    </a:ext>
                  </a:extLst>
                </a:gridCol>
                <a:gridCol w="982142">
                  <a:extLst>
                    <a:ext uri="{9D8B030D-6E8A-4147-A177-3AD203B41FA5}">
                      <a16:colId xmlns:a16="http://schemas.microsoft.com/office/drawing/2014/main" val="2851604717"/>
                    </a:ext>
                  </a:extLst>
                </a:gridCol>
                <a:gridCol w="982142">
                  <a:extLst>
                    <a:ext uri="{9D8B030D-6E8A-4147-A177-3AD203B41FA5}">
                      <a16:colId xmlns:a16="http://schemas.microsoft.com/office/drawing/2014/main" val="568711677"/>
                    </a:ext>
                  </a:extLst>
                </a:gridCol>
                <a:gridCol w="982142">
                  <a:extLst>
                    <a:ext uri="{9D8B030D-6E8A-4147-A177-3AD203B41FA5}">
                      <a16:colId xmlns:a16="http://schemas.microsoft.com/office/drawing/2014/main" val="3128690551"/>
                    </a:ext>
                  </a:extLst>
                </a:gridCol>
                <a:gridCol w="982142">
                  <a:extLst>
                    <a:ext uri="{9D8B030D-6E8A-4147-A177-3AD203B41FA5}">
                      <a16:colId xmlns:a16="http://schemas.microsoft.com/office/drawing/2014/main" val="2272065234"/>
                    </a:ext>
                  </a:extLst>
                </a:gridCol>
                <a:gridCol w="982142">
                  <a:extLst>
                    <a:ext uri="{9D8B030D-6E8A-4147-A177-3AD203B41FA5}">
                      <a16:colId xmlns:a16="http://schemas.microsoft.com/office/drawing/2014/main" val="1765880838"/>
                    </a:ext>
                  </a:extLst>
                </a:gridCol>
                <a:gridCol w="982142">
                  <a:extLst>
                    <a:ext uri="{9D8B030D-6E8A-4147-A177-3AD203B41FA5}">
                      <a16:colId xmlns:a16="http://schemas.microsoft.com/office/drawing/2014/main" val="2252399899"/>
                    </a:ext>
                  </a:extLst>
                </a:gridCol>
              </a:tblGrid>
              <a:tr h="352895">
                <a:tc>
                  <a:txBody>
                    <a:bodyPr/>
                    <a:lstStyle/>
                    <a:p>
                      <a:pPr algn="ctr"/>
                      <a:endParaRPr lang="en-US" sz="900" b="0" i="0">
                        <a:solidFill>
                          <a:schemeClr val="tx1"/>
                        </a:solidFill>
                        <a:latin typeface="Nexa Bold" pitchFamily="2" charset="77"/>
                      </a:endParaRPr>
                    </a:p>
                  </a:txBody>
                  <a:tcPr marL="68580" marR="68580" marT="13716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lang="en-US" sz="900" b="0" i="0" kern="1200">
                          <a:solidFill>
                            <a:schemeClr val="tx1"/>
                          </a:solidFill>
                          <a:latin typeface="Nexa Bold" pitchFamily="2" charset="77"/>
                          <a:ea typeface="+mn-ea"/>
                          <a:cs typeface="+mn-cs"/>
                        </a:rPr>
                        <a:t>Category</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Manufacturer</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rowSpan="3">
                  <a:txBody>
                    <a:bodyPr/>
                    <a:lstStyle/>
                    <a:p>
                      <a:pPr algn="ctr">
                        <a:defRPr>
                          <a:latin typeface="Nexa Bold"/>
                        </a:defRPr>
                      </a:pPr>
                      <a:r>
                        <a:rPr sz="900" b="0">
                          <a:solidFill>
                            <a:srgbClr val="575555"/>
                          </a:solidFill>
                        </a:rPr>
                        <a:t>Pricing impact</a:t>
                      </a:r>
                    </a:p>
                    <a:p>
                      <a:pPr algn="ctr"/>
                      <a:r>
                        <a:rPr sz="900" b="0">
                          <a:solidFill>
                            <a:srgbClr val="575555"/>
                          </a:solidFill>
                          <a:latin typeface="Nexa Bold"/>
                        </a:rPr>
                        <a:t>on growth
</a:t>
                      </a:r>
                      <a:r>
                        <a:rPr sz="900">
                          <a:solidFill>
                            <a:srgbClr val="006C6D"/>
                          </a:solidFill>
                          <a:latin typeface="Nexa Bold"/>
                        </a:rPr>
                        <a:t>0pts</a:t>
                      </a:r>
                    </a:p>
                  </a:txBody>
                  <a:tcPr marL="68580" marR="68580" marT="137160" marB="34290" anchor="ctr">
                    <a:lnL w="19050" cap="flat" cmpd="sng" algn="ctr">
                      <a:solidFill>
                        <a:schemeClr val="bg1"/>
                      </a:solidFill>
                      <a:prstDash val="solid"/>
                      <a:round/>
                      <a:headEnd type="none" w="med" len="med"/>
                      <a:tailEnd type="none" w="med" len="med"/>
                    </a:lnL>
                    <a:lnR w="6350" cap="flat" cmpd="sng" algn="ctr">
                      <a:noFill/>
                      <a:prstDash val="sysDash"/>
                      <a:round/>
                      <a:headEnd type="none" w="med" len="med"/>
                      <a:tailEnd type="none" w="med" len="med"/>
                    </a:lnR>
                    <a:lnT w="12700" cap="flat" cmpd="sng" algn="ctr">
                      <a:solidFill>
                        <a:schemeClr val="bg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3114691536"/>
                  </a:ext>
                </a:extLst>
              </a:tr>
              <a:tr h="274849">
                <a:tc>
                  <a:txBody>
                    <a:bodyPr/>
                    <a:lstStyle/>
                    <a:p>
                      <a:pPr>
                        <a:defRPr>
                          <a:latin typeface="Nexa Bold"/>
                        </a:defRPr>
                      </a:pPr>
                      <a:r>
                        <a:rPr sz="900" b="1"/>
                        <a:t>Value Sales ($  M)</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47.5</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a:r>
                        <a:rPr sz="900"/>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1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a:r>
                        <a:rPr sz="900"/>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pPr algn="ctr" rtl="0" fontAlgn="ctr"/>
                      <a:endParaRPr sz="1000">
                        <a:solidFill>
                          <a:srgbClr val="575555"/>
                        </a:solidFill>
                        <a:latin typeface="Open Sans"/>
                      </a:endParaRPr>
                    </a:p>
                  </a:txBody>
                  <a:tcPr marL="9525" marR="9525" marT="9525" marB="0" anchor="ctr">
                    <a:lnL w="12700" cap="flat" cmpd="sng" algn="ctr">
                      <a:solidFill>
                        <a:schemeClr val="bg2">
                          <a:lumMod val="90000"/>
                        </a:schemeClr>
                      </a:solidFill>
                      <a:prstDash val="sysDot"/>
                      <a:round/>
                      <a:headEnd type="none" w="med" len="med"/>
                      <a:tailEnd type="none" w="med" len="med"/>
                    </a:lnL>
                    <a:lnR w="6350" cap="flat" cmpd="sng" algn="ctr">
                      <a:noFill/>
                      <a:prstDash val="sysDash"/>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164993059"/>
                  </a:ext>
                </a:extLst>
              </a:tr>
              <a:tr h="274849">
                <a:tc>
                  <a:txBody>
                    <a:bodyPr/>
                    <a:lstStyle/>
                    <a:p>
                      <a:r>
                        <a:rPr lang="en-US" sz="900" b="1" i="0" kern="1200">
                          <a:solidFill>
                            <a:schemeClr val="tx1"/>
                          </a:solidFill>
                          <a:latin typeface="Nexa Bold" pitchFamily="2" charset="77"/>
                          <a:ea typeface="+mn-ea"/>
                          <a:cs typeface="+mn-cs"/>
                        </a:rPr>
                        <a:t>Volume Sales (</a:t>
                      </a:r>
                      <a:r>
                        <a:rPr lang="en-US" sz="900" b="1" i="0" kern="1200" err="1">
                          <a:solidFill>
                            <a:schemeClr val="tx1"/>
                          </a:solidFill>
                          <a:latin typeface="Nexa Bold" pitchFamily="2" charset="77"/>
                          <a:ea typeface="+mn-ea"/>
                          <a:cs typeface="+mn-cs"/>
                        </a:rPr>
                        <a:t>kgM</a:t>
                      </a:r>
                      <a:r>
                        <a:rPr lang="en-US" sz="900" b="1" i="0" kern="1200">
                          <a:solidFill>
                            <a:schemeClr val="tx1"/>
                          </a:solidFill>
                          <a:latin typeface="Nexa Bold" pitchFamily="2" charset="77"/>
                          <a:ea typeface="+mn-ea"/>
                          <a:cs typeface="+mn-cs"/>
                        </a:rPr>
                        <a:t>)</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31.4</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a:txBody>
                    <a:bodyPr/>
                    <a:lstStyle/>
                    <a:p>
                      <a:pPr algn="ctr"/>
                      <a:r>
                        <a:rPr sz="900"/>
                        <a:t>3.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1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vMerge="1">
                  <a:txBody>
                    <a:bodyPr/>
                    <a:lstStyle/>
                    <a:p>
                      <a:endParaRPr lang="en-AE"/>
                    </a:p>
                  </a:txBody>
                  <a:tcPr/>
                </a:tc>
                <a:extLst>
                  <a:ext uri="{0D108BD9-81ED-4DB2-BD59-A6C34878D82A}">
                    <a16:rowId xmlns:a16="http://schemas.microsoft.com/office/drawing/2014/main" val="2893178582"/>
                  </a:ext>
                </a:extLst>
              </a:tr>
            </a:tbl>
          </a:graphicData>
        </a:graphic>
      </p:graphicFrame>
      <p:sp>
        <p:nvSpPr>
          <p:cNvPr id="5" name="TextBox 4">
            <a:extLst>
              <a:ext uri="{FF2B5EF4-FFF2-40B4-BE49-F238E27FC236}">
                <a16:creationId xmlns:a16="http://schemas.microsoft.com/office/drawing/2014/main" id="{93727F24-80C6-F2CC-BBD9-D6E709998A9D}"/>
              </a:ext>
            </a:extLst>
          </p:cNvPr>
          <p:cNvSpPr txBox="1"/>
          <p:nvPr/>
        </p:nvSpPr>
        <p:spPr>
          <a:xfrm>
            <a:off x="535416" y="2162153"/>
            <a:ext cx="1408434" cy="23083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900">
                <a:solidFill>
                  <a:schemeClr val="tx2"/>
                </a:solidFill>
                <a:latin typeface="Nexa Bold" panose="00000800000000000000" pitchFamily="2" charset="0"/>
              </a:rPr>
              <a:t>Value Sales ($  M)</a:t>
            </a:r>
          </a:p>
        </p:txBody>
      </p:sp>
      <p:sp>
        <p:nvSpPr>
          <p:cNvPr id="6" name="Date Placeholder 5">
            <a:extLst>
              <a:ext uri="{FF2B5EF4-FFF2-40B4-BE49-F238E27FC236}">
                <a16:creationId xmlns:a16="http://schemas.microsoft.com/office/drawing/2014/main" id="{C31EB4B8-16DF-97D7-87D6-FC88B54FE84A}"/>
              </a:ext>
            </a:extLst>
          </p:cNvPr>
          <p:cNvSpPr>
            <a:spLocks noGrp="1"/>
          </p:cNvSpPr>
          <p:nvPr>
            <p:ph type="dt" sz="half" idx="14"/>
          </p:nvPr>
        </p:nvSpPr>
        <p:spPr/>
        <p:txBody>
          <a:bodyPr/>
          <a:lstStyle/>
          <a:p>
            <a:fld id="{296FA869-BB72-4FBF-ABF8-21744C2215D9}" type="datetime1">
              <a:rPr lang="en-US" smtClean="0"/>
              <a:t>12/12/2024</a:t>
            </a:fld>
            <a:endParaRPr lang="en-US"/>
          </a:p>
        </p:txBody>
      </p:sp>
    </p:spTree>
    <p:extLst>
      <p:ext uri="{BB962C8B-B14F-4D97-AF65-F5344CB8AC3E}">
        <p14:creationId xmlns:p14="http://schemas.microsoft.com/office/powerpoint/2010/main" val="3815533965"/>
      </p:ext>
    </p:extLst>
  </p:cSld>
  <p:clrMapOvr>
    <a:masterClrMapping/>
  </p:clrMapOvr>
</p:sld>
</file>

<file path=ppt/slides/slide3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84788F55-C544-2888-1994-2AA0FF71D6E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9" name="think-cell data - do not delete" hidden="1">
                        <a:extLst>
                          <a:ext uri="{FF2B5EF4-FFF2-40B4-BE49-F238E27FC236}">
                            <a16:creationId xmlns:a16="http://schemas.microsoft.com/office/drawing/2014/main" id="{84788F55-C544-2888-1994-2AA0FF71D6EF}"/>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3</a:t>
            </a:fld>
            <a:endParaRPr lang="en-US"/>
          </a:p>
        </p:txBody>
      </p:sp>
      <p:sp>
        <p:nvSpPr>
          <p:cNvPr id="32" name="SRC">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33" name="MT">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ales trend on Value vs. Volume vs. Price | Manual Shave Women | Walmart Nm Corp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normAutofit/>
          </a:bodyPr>
          <a:lstStyle/>
          <a:p>
            <a:r>
              <a:rPr lang="fr-CH" err="1"/>
              <a:t>Category</a:t>
            </a:r>
            <a:r>
              <a:rPr lang="fr-CH"/>
              <a:t> </a:t>
            </a:r>
            <a:r>
              <a:rPr lang="fr-CH" err="1"/>
              <a:t>Overview</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4" name="C1">
            <a:extLst>
              <a:ext uri="{FF2B5EF4-FFF2-40B4-BE49-F238E27FC236}">
                <a16:creationId xmlns:a16="http://schemas.microsoft.com/office/drawing/2014/main" id="{3F988610-BD5B-1357-841E-2DBFB419E674}"/>
              </a:ext>
            </a:extLst>
          </p:cNvPr>
          <p:cNvGraphicFramePr/>
          <p:nvPr>
            <p:extLst>
              <p:ext uri="{D42A27DB-BD31-4B8C-83A1-F6EECF244321}">
                <p14:modId xmlns:p14="http://schemas.microsoft.com/office/powerpoint/2010/main" val="2690479082"/>
              </p:ext>
            </p:extLst>
          </p:nvPr>
        </p:nvGraphicFramePr>
        <p:xfrm>
          <a:off x="535416" y="2192483"/>
          <a:ext cx="8093544" cy="25402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1" name="T1">
            <a:extLst>
              <a:ext uri="{FF2B5EF4-FFF2-40B4-BE49-F238E27FC236}">
                <a16:creationId xmlns:a16="http://schemas.microsoft.com/office/drawing/2014/main" id="{0D348E7C-1D67-14EC-809B-C07EE5021CB1}"/>
              </a:ext>
            </a:extLst>
          </p:cNvPr>
          <p:cNvGraphicFramePr>
            <a:graphicFrameLocks noGrp="1"/>
          </p:cNvGraphicFramePr>
          <p:nvPr>
            <p:extLst>
              <p:ext uri="{D42A27DB-BD31-4B8C-83A1-F6EECF244321}">
                <p14:modId xmlns:p14="http://schemas.microsoft.com/office/powerpoint/2010/main" val="4097038769"/>
              </p:ext>
            </p:extLst>
          </p:nvPr>
        </p:nvGraphicFramePr>
        <p:xfrm>
          <a:off x="535912" y="1141196"/>
          <a:ext cx="8100003" cy="902593"/>
        </p:xfrm>
        <a:graphic>
          <a:graphicData uri="http://schemas.openxmlformats.org/drawingml/2006/table">
            <a:tbl>
              <a:tblPr firstRow="1" bandRow="1">
                <a:tableStyleId>{5C22544A-7EE6-4342-B048-85BDC9FD1C3A}</a:tableStyleId>
              </a:tblPr>
              <a:tblGrid>
                <a:gridCol w="1225009">
                  <a:extLst>
                    <a:ext uri="{9D8B030D-6E8A-4147-A177-3AD203B41FA5}">
                      <a16:colId xmlns:a16="http://schemas.microsoft.com/office/drawing/2014/main" val="2097685003"/>
                    </a:ext>
                  </a:extLst>
                </a:gridCol>
                <a:gridCol w="982142">
                  <a:extLst>
                    <a:ext uri="{9D8B030D-6E8A-4147-A177-3AD203B41FA5}">
                      <a16:colId xmlns:a16="http://schemas.microsoft.com/office/drawing/2014/main" val="2089866971"/>
                    </a:ext>
                  </a:extLst>
                </a:gridCol>
                <a:gridCol w="982142">
                  <a:extLst>
                    <a:ext uri="{9D8B030D-6E8A-4147-A177-3AD203B41FA5}">
                      <a16:colId xmlns:a16="http://schemas.microsoft.com/office/drawing/2014/main" val="2851604717"/>
                    </a:ext>
                  </a:extLst>
                </a:gridCol>
                <a:gridCol w="982142">
                  <a:extLst>
                    <a:ext uri="{9D8B030D-6E8A-4147-A177-3AD203B41FA5}">
                      <a16:colId xmlns:a16="http://schemas.microsoft.com/office/drawing/2014/main" val="568711677"/>
                    </a:ext>
                  </a:extLst>
                </a:gridCol>
                <a:gridCol w="982142">
                  <a:extLst>
                    <a:ext uri="{9D8B030D-6E8A-4147-A177-3AD203B41FA5}">
                      <a16:colId xmlns:a16="http://schemas.microsoft.com/office/drawing/2014/main" val="3128690551"/>
                    </a:ext>
                  </a:extLst>
                </a:gridCol>
                <a:gridCol w="982142">
                  <a:extLst>
                    <a:ext uri="{9D8B030D-6E8A-4147-A177-3AD203B41FA5}">
                      <a16:colId xmlns:a16="http://schemas.microsoft.com/office/drawing/2014/main" val="2272065234"/>
                    </a:ext>
                  </a:extLst>
                </a:gridCol>
                <a:gridCol w="982142">
                  <a:extLst>
                    <a:ext uri="{9D8B030D-6E8A-4147-A177-3AD203B41FA5}">
                      <a16:colId xmlns:a16="http://schemas.microsoft.com/office/drawing/2014/main" val="1765880838"/>
                    </a:ext>
                  </a:extLst>
                </a:gridCol>
                <a:gridCol w="982142">
                  <a:extLst>
                    <a:ext uri="{9D8B030D-6E8A-4147-A177-3AD203B41FA5}">
                      <a16:colId xmlns:a16="http://schemas.microsoft.com/office/drawing/2014/main" val="2252399899"/>
                    </a:ext>
                  </a:extLst>
                </a:gridCol>
              </a:tblGrid>
              <a:tr h="352895">
                <a:tc>
                  <a:txBody>
                    <a:bodyPr/>
                    <a:lstStyle/>
                    <a:p>
                      <a:pPr algn="ctr"/>
                      <a:endParaRPr lang="en-US" sz="900" b="0" i="0">
                        <a:solidFill>
                          <a:schemeClr val="tx1"/>
                        </a:solidFill>
                        <a:latin typeface="Nexa Bold" pitchFamily="2" charset="77"/>
                      </a:endParaRPr>
                    </a:p>
                  </a:txBody>
                  <a:tcPr marL="68580" marR="68580" marT="13716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lang="en-US" sz="900" b="0" i="0" kern="1200">
                          <a:solidFill>
                            <a:schemeClr val="tx1"/>
                          </a:solidFill>
                          <a:latin typeface="Nexa Bold" pitchFamily="2" charset="77"/>
                          <a:ea typeface="+mn-ea"/>
                          <a:cs typeface="+mn-cs"/>
                        </a:rPr>
                        <a:t>Category</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Manufacturer</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rowSpan="3">
                  <a:txBody>
                    <a:bodyPr/>
                    <a:lstStyle/>
                    <a:p>
                      <a:pPr algn="ctr">
                        <a:defRPr>
                          <a:latin typeface="Nexa Bold"/>
                        </a:defRPr>
                      </a:pPr>
                      <a:r>
                        <a:rPr sz="900" b="0">
                          <a:solidFill>
                            <a:srgbClr val="575555"/>
                          </a:solidFill>
                        </a:rPr>
                        <a:t>Pricing impact</a:t>
                      </a:r>
                    </a:p>
                    <a:p>
                      <a:pPr algn="ctr"/>
                      <a:r>
                        <a:rPr sz="900" b="0">
                          <a:solidFill>
                            <a:srgbClr val="575555"/>
                          </a:solidFill>
                          <a:latin typeface="Nexa Bold"/>
                        </a:rPr>
                        <a:t>on growth
</a:t>
                      </a:r>
                      <a:r>
                        <a:rPr sz="900">
                          <a:solidFill>
                            <a:srgbClr val="006C6D"/>
                          </a:solidFill>
                          <a:latin typeface="Nexa Bold"/>
                        </a:rPr>
                        <a:t>-3pts</a:t>
                      </a:r>
                    </a:p>
                  </a:txBody>
                  <a:tcPr marL="68580" marR="68580" marT="137160" marB="34290" anchor="ctr">
                    <a:lnL w="19050" cap="flat" cmpd="sng" algn="ctr">
                      <a:solidFill>
                        <a:schemeClr val="bg1"/>
                      </a:solidFill>
                      <a:prstDash val="solid"/>
                      <a:round/>
                      <a:headEnd type="none" w="med" len="med"/>
                      <a:tailEnd type="none" w="med" len="med"/>
                    </a:lnL>
                    <a:lnR w="6350" cap="flat" cmpd="sng" algn="ctr">
                      <a:noFill/>
                      <a:prstDash val="sysDash"/>
                      <a:round/>
                      <a:headEnd type="none" w="med" len="med"/>
                      <a:tailEnd type="none" w="med" len="med"/>
                    </a:lnR>
                    <a:lnT w="12700" cap="flat" cmpd="sng" algn="ctr">
                      <a:solidFill>
                        <a:schemeClr val="bg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3114691536"/>
                  </a:ext>
                </a:extLst>
              </a:tr>
              <a:tr h="274849">
                <a:tc>
                  <a:txBody>
                    <a:bodyPr/>
                    <a:lstStyle/>
                    <a:p>
                      <a:pPr>
                        <a:defRPr>
                          <a:latin typeface="Nexa Bold"/>
                        </a:defRPr>
                      </a:pPr>
                      <a:r>
                        <a:rPr sz="900" b="1"/>
                        <a:t>Value Sales ($  M)</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17.2</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a:r>
                        <a:rPr sz="900"/>
                        <a:t>10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3.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a:r>
                        <a:rPr sz="900"/>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pPr algn="ctr" rtl="0" fontAlgn="ctr"/>
                      <a:endParaRPr sz="1000">
                        <a:solidFill>
                          <a:srgbClr val="575555"/>
                        </a:solidFill>
                        <a:latin typeface="Open Sans"/>
                      </a:endParaRPr>
                    </a:p>
                  </a:txBody>
                  <a:tcPr marL="9525" marR="9525" marT="9525" marB="0" anchor="ctr">
                    <a:lnL w="12700" cap="flat" cmpd="sng" algn="ctr">
                      <a:solidFill>
                        <a:schemeClr val="bg2">
                          <a:lumMod val="90000"/>
                        </a:schemeClr>
                      </a:solidFill>
                      <a:prstDash val="sysDot"/>
                      <a:round/>
                      <a:headEnd type="none" w="med" len="med"/>
                      <a:tailEnd type="none" w="med" len="med"/>
                    </a:lnL>
                    <a:lnR w="6350" cap="flat" cmpd="sng" algn="ctr">
                      <a:noFill/>
                      <a:prstDash val="sysDash"/>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164993059"/>
                  </a:ext>
                </a:extLst>
              </a:tr>
              <a:tr h="274849">
                <a:tc>
                  <a:txBody>
                    <a:bodyPr/>
                    <a:lstStyle/>
                    <a:p>
                      <a:r>
                        <a:rPr lang="en-US" sz="900" b="1" i="0" kern="1200">
                          <a:solidFill>
                            <a:schemeClr val="tx1"/>
                          </a:solidFill>
                          <a:latin typeface="Nexa Bold" pitchFamily="2" charset="77"/>
                          <a:ea typeface="+mn-ea"/>
                          <a:cs typeface="+mn-cs"/>
                        </a:rPr>
                        <a:t>Volume Sales (</a:t>
                      </a:r>
                      <a:r>
                        <a:rPr lang="en-US" sz="900" b="1" i="0" kern="1200" err="1">
                          <a:solidFill>
                            <a:schemeClr val="tx1"/>
                          </a:solidFill>
                          <a:latin typeface="Nexa Bold" pitchFamily="2" charset="77"/>
                          <a:ea typeface="+mn-ea"/>
                          <a:cs typeface="+mn-cs"/>
                        </a:rPr>
                        <a:t>kgM</a:t>
                      </a:r>
                      <a:r>
                        <a:rPr lang="en-US" sz="900" b="1" i="0" kern="1200">
                          <a:solidFill>
                            <a:schemeClr val="tx1"/>
                          </a:solidFill>
                          <a:latin typeface="Nexa Bold" pitchFamily="2" charset="77"/>
                          <a:ea typeface="+mn-ea"/>
                          <a:cs typeface="+mn-cs"/>
                        </a:rPr>
                        <a:t>)</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12.1</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a:txBody>
                    <a:bodyPr/>
                    <a:lstStyle/>
                    <a:p>
                      <a:pPr algn="ctr"/>
                      <a:r>
                        <a:rPr sz="900"/>
                        <a:t>1.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vMerge="1">
                  <a:txBody>
                    <a:bodyPr/>
                    <a:lstStyle/>
                    <a:p>
                      <a:endParaRPr lang="en-AE"/>
                    </a:p>
                  </a:txBody>
                  <a:tcPr/>
                </a:tc>
                <a:extLst>
                  <a:ext uri="{0D108BD9-81ED-4DB2-BD59-A6C34878D82A}">
                    <a16:rowId xmlns:a16="http://schemas.microsoft.com/office/drawing/2014/main" val="2893178582"/>
                  </a:ext>
                </a:extLst>
              </a:tr>
            </a:tbl>
          </a:graphicData>
        </a:graphic>
      </p:graphicFrame>
      <p:sp>
        <p:nvSpPr>
          <p:cNvPr id="5" name="TextBox 4">
            <a:extLst>
              <a:ext uri="{FF2B5EF4-FFF2-40B4-BE49-F238E27FC236}">
                <a16:creationId xmlns:a16="http://schemas.microsoft.com/office/drawing/2014/main" id="{93727F24-80C6-F2CC-BBD9-D6E709998A9D}"/>
              </a:ext>
            </a:extLst>
          </p:cNvPr>
          <p:cNvSpPr txBox="1"/>
          <p:nvPr/>
        </p:nvSpPr>
        <p:spPr>
          <a:xfrm>
            <a:off x="535416" y="2162153"/>
            <a:ext cx="1408434" cy="23083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900">
                <a:solidFill>
                  <a:schemeClr val="tx2"/>
                </a:solidFill>
                <a:latin typeface="Nexa Bold" panose="00000800000000000000" pitchFamily="2" charset="0"/>
              </a:rPr>
              <a:t>Value Sales ($  M)</a:t>
            </a:r>
          </a:p>
        </p:txBody>
      </p:sp>
      <p:sp>
        <p:nvSpPr>
          <p:cNvPr id="6" name="Date Placeholder 5">
            <a:extLst>
              <a:ext uri="{FF2B5EF4-FFF2-40B4-BE49-F238E27FC236}">
                <a16:creationId xmlns:a16="http://schemas.microsoft.com/office/drawing/2014/main" id="{C31EB4B8-16DF-97D7-87D6-FC88B54FE84A}"/>
              </a:ext>
            </a:extLst>
          </p:cNvPr>
          <p:cNvSpPr>
            <a:spLocks noGrp="1"/>
          </p:cNvSpPr>
          <p:nvPr>
            <p:ph type="dt" sz="half" idx="14"/>
          </p:nvPr>
        </p:nvSpPr>
        <p:spPr/>
        <p:txBody>
          <a:bodyPr/>
          <a:lstStyle/>
          <a:p>
            <a:fld id="{296FA869-BB72-4FBF-ABF8-21744C2215D9}" type="datetime1">
              <a:rPr lang="en-US" smtClean="0"/>
              <a:t>12/12/2024</a:t>
            </a:fld>
            <a:endParaRPr lang="en-US"/>
          </a:p>
        </p:txBody>
      </p:sp>
    </p:spTree>
    <p:extLst>
      <p:ext uri="{BB962C8B-B14F-4D97-AF65-F5344CB8AC3E}">
        <p14:creationId xmlns:p14="http://schemas.microsoft.com/office/powerpoint/2010/main" val="4134444585"/>
      </p:ext>
    </p:extLst>
  </p:cSld>
  <p:clrMapOvr>
    <a:masterClrMapping/>
  </p:clrMapOvr>
</p:sld>
</file>

<file path=ppt/slides/slide3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84788F55-C544-2888-1994-2AA0FF71D6E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9" name="think-cell data - do not delete" hidden="1">
                        <a:extLst>
                          <a:ext uri="{FF2B5EF4-FFF2-40B4-BE49-F238E27FC236}">
                            <a16:creationId xmlns:a16="http://schemas.microsoft.com/office/drawing/2014/main" id="{84788F55-C544-2888-1994-2AA0FF71D6EF}"/>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4</a:t>
            </a:fld>
            <a:endParaRPr lang="en-US"/>
          </a:p>
        </p:txBody>
      </p:sp>
      <p:sp>
        <p:nvSpPr>
          <p:cNvPr id="32" name="SRC">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33" name="MT">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ales trend on Value vs. Volume vs. Price | Manual Shave Women | Walmart Sc Corp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normAutofit/>
          </a:bodyPr>
          <a:lstStyle/>
          <a:p>
            <a:r>
              <a:rPr lang="fr-CH" err="1"/>
              <a:t>Category</a:t>
            </a:r>
            <a:r>
              <a:rPr lang="fr-CH"/>
              <a:t> </a:t>
            </a:r>
            <a:r>
              <a:rPr lang="fr-CH" err="1"/>
              <a:t>Overview</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4" name="C1">
            <a:extLst>
              <a:ext uri="{FF2B5EF4-FFF2-40B4-BE49-F238E27FC236}">
                <a16:creationId xmlns:a16="http://schemas.microsoft.com/office/drawing/2014/main" id="{3F988610-BD5B-1357-841E-2DBFB419E674}"/>
              </a:ext>
            </a:extLst>
          </p:cNvPr>
          <p:cNvGraphicFramePr/>
          <p:nvPr>
            <p:extLst>
              <p:ext uri="{D42A27DB-BD31-4B8C-83A1-F6EECF244321}">
                <p14:modId xmlns:p14="http://schemas.microsoft.com/office/powerpoint/2010/main" val="2690479082"/>
              </p:ext>
            </p:extLst>
          </p:nvPr>
        </p:nvGraphicFramePr>
        <p:xfrm>
          <a:off x="535416" y="2192483"/>
          <a:ext cx="8093544" cy="25402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1" name="T1">
            <a:extLst>
              <a:ext uri="{FF2B5EF4-FFF2-40B4-BE49-F238E27FC236}">
                <a16:creationId xmlns:a16="http://schemas.microsoft.com/office/drawing/2014/main" id="{0D348E7C-1D67-14EC-809B-C07EE5021CB1}"/>
              </a:ext>
            </a:extLst>
          </p:cNvPr>
          <p:cNvGraphicFramePr>
            <a:graphicFrameLocks noGrp="1"/>
          </p:cNvGraphicFramePr>
          <p:nvPr>
            <p:extLst>
              <p:ext uri="{D42A27DB-BD31-4B8C-83A1-F6EECF244321}">
                <p14:modId xmlns:p14="http://schemas.microsoft.com/office/powerpoint/2010/main" val="4097038769"/>
              </p:ext>
            </p:extLst>
          </p:nvPr>
        </p:nvGraphicFramePr>
        <p:xfrm>
          <a:off x="535912" y="1141196"/>
          <a:ext cx="8100003" cy="902593"/>
        </p:xfrm>
        <a:graphic>
          <a:graphicData uri="http://schemas.openxmlformats.org/drawingml/2006/table">
            <a:tbl>
              <a:tblPr firstRow="1" bandRow="1">
                <a:tableStyleId>{5C22544A-7EE6-4342-B048-85BDC9FD1C3A}</a:tableStyleId>
              </a:tblPr>
              <a:tblGrid>
                <a:gridCol w="1225009">
                  <a:extLst>
                    <a:ext uri="{9D8B030D-6E8A-4147-A177-3AD203B41FA5}">
                      <a16:colId xmlns:a16="http://schemas.microsoft.com/office/drawing/2014/main" val="2097685003"/>
                    </a:ext>
                  </a:extLst>
                </a:gridCol>
                <a:gridCol w="982142">
                  <a:extLst>
                    <a:ext uri="{9D8B030D-6E8A-4147-A177-3AD203B41FA5}">
                      <a16:colId xmlns:a16="http://schemas.microsoft.com/office/drawing/2014/main" val="2089866971"/>
                    </a:ext>
                  </a:extLst>
                </a:gridCol>
                <a:gridCol w="982142">
                  <a:extLst>
                    <a:ext uri="{9D8B030D-6E8A-4147-A177-3AD203B41FA5}">
                      <a16:colId xmlns:a16="http://schemas.microsoft.com/office/drawing/2014/main" val="2851604717"/>
                    </a:ext>
                  </a:extLst>
                </a:gridCol>
                <a:gridCol w="982142">
                  <a:extLst>
                    <a:ext uri="{9D8B030D-6E8A-4147-A177-3AD203B41FA5}">
                      <a16:colId xmlns:a16="http://schemas.microsoft.com/office/drawing/2014/main" val="568711677"/>
                    </a:ext>
                  </a:extLst>
                </a:gridCol>
                <a:gridCol w="982142">
                  <a:extLst>
                    <a:ext uri="{9D8B030D-6E8A-4147-A177-3AD203B41FA5}">
                      <a16:colId xmlns:a16="http://schemas.microsoft.com/office/drawing/2014/main" val="3128690551"/>
                    </a:ext>
                  </a:extLst>
                </a:gridCol>
                <a:gridCol w="982142">
                  <a:extLst>
                    <a:ext uri="{9D8B030D-6E8A-4147-A177-3AD203B41FA5}">
                      <a16:colId xmlns:a16="http://schemas.microsoft.com/office/drawing/2014/main" val="2272065234"/>
                    </a:ext>
                  </a:extLst>
                </a:gridCol>
                <a:gridCol w="982142">
                  <a:extLst>
                    <a:ext uri="{9D8B030D-6E8A-4147-A177-3AD203B41FA5}">
                      <a16:colId xmlns:a16="http://schemas.microsoft.com/office/drawing/2014/main" val="1765880838"/>
                    </a:ext>
                  </a:extLst>
                </a:gridCol>
                <a:gridCol w="982142">
                  <a:extLst>
                    <a:ext uri="{9D8B030D-6E8A-4147-A177-3AD203B41FA5}">
                      <a16:colId xmlns:a16="http://schemas.microsoft.com/office/drawing/2014/main" val="2252399899"/>
                    </a:ext>
                  </a:extLst>
                </a:gridCol>
              </a:tblGrid>
              <a:tr h="352895">
                <a:tc>
                  <a:txBody>
                    <a:bodyPr/>
                    <a:lstStyle/>
                    <a:p>
                      <a:pPr algn="ctr"/>
                      <a:endParaRPr lang="en-US" sz="900" b="0" i="0">
                        <a:solidFill>
                          <a:schemeClr val="tx1"/>
                        </a:solidFill>
                        <a:latin typeface="Nexa Bold" pitchFamily="2" charset="77"/>
                      </a:endParaRPr>
                    </a:p>
                  </a:txBody>
                  <a:tcPr marL="68580" marR="68580" marT="13716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lang="en-US" sz="900" b="0" i="0" kern="1200">
                          <a:solidFill>
                            <a:schemeClr val="tx1"/>
                          </a:solidFill>
                          <a:latin typeface="Nexa Bold" pitchFamily="2" charset="77"/>
                          <a:ea typeface="+mn-ea"/>
                          <a:cs typeface="+mn-cs"/>
                        </a:rPr>
                        <a:t>Category</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Manufacturer</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rowSpan="3">
                  <a:txBody>
                    <a:bodyPr/>
                    <a:lstStyle/>
                    <a:p>
                      <a:pPr algn="ctr">
                        <a:defRPr>
                          <a:latin typeface="Nexa Bold"/>
                        </a:defRPr>
                      </a:pPr>
                      <a:r>
                        <a:rPr sz="900" b="0">
                          <a:solidFill>
                            <a:srgbClr val="575555"/>
                          </a:solidFill>
                        </a:rPr>
                        <a:t>Pricing impact</a:t>
                      </a:r>
                    </a:p>
                    <a:p>
                      <a:pPr algn="ctr"/>
                      <a:r>
                        <a:rPr sz="900" b="0">
                          <a:solidFill>
                            <a:srgbClr val="575555"/>
                          </a:solidFill>
                          <a:latin typeface="Nexa Bold"/>
                        </a:rPr>
                        <a:t>on growth
</a:t>
                      </a:r>
                      <a:r>
                        <a:rPr sz="900">
                          <a:solidFill>
                            <a:srgbClr val="006C6D"/>
                          </a:solidFill>
                          <a:latin typeface="Nexa Bold"/>
                        </a:rPr>
                        <a:t>-1pts</a:t>
                      </a:r>
                    </a:p>
                  </a:txBody>
                  <a:tcPr marL="68580" marR="68580" marT="137160" marB="34290" anchor="ctr">
                    <a:lnL w="19050" cap="flat" cmpd="sng" algn="ctr">
                      <a:solidFill>
                        <a:schemeClr val="bg1"/>
                      </a:solidFill>
                      <a:prstDash val="solid"/>
                      <a:round/>
                      <a:headEnd type="none" w="med" len="med"/>
                      <a:tailEnd type="none" w="med" len="med"/>
                    </a:lnL>
                    <a:lnR w="6350" cap="flat" cmpd="sng" algn="ctr">
                      <a:noFill/>
                      <a:prstDash val="sysDash"/>
                      <a:round/>
                      <a:headEnd type="none" w="med" len="med"/>
                      <a:tailEnd type="none" w="med" len="med"/>
                    </a:lnR>
                    <a:lnT w="12700" cap="flat" cmpd="sng" algn="ctr">
                      <a:solidFill>
                        <a:schemeClr val="bg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3114691536"/>
                  </a:ext>
                </a:extLst>
              </a:tr>
              <a:tr h="274849">
                <a:tc>
                  <a:txBody>
                    <a:bodyPr/>
                    <a:lstStyle/>
                    <a:p>
                      <a:pPr>
                        <a:defRPr>
                          <a:latin typeface="Nexa Bold"/>
                        </a:defRPr>
                      </a:pPr>
                      <a:r>
                        <a:rPr sz="900" b="1"/>
                        <a:t>Value Sales ($  M)</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314.6</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a:r>
                        <a:rPr sz="900"/>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75.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a:r>
                        <a:rPr sz="900"/>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pPr algn="ctr" rtl="0" fontAlgn="ctr"/>
                      <a:endParaRPr sz="1000">
                        <a:solidFill>
                          <a:srgbClr val="575555"/>
                        </a:solidFill>
                        <a:latin typeface="Open Sans"/>
                      </a:endParaRPr>
                    </a:p>
                  </a:txBody>
                  <a:tcPr marL="9525" marR="9525" marT="9525" marB="0" anchor="ctr">
                    <a:lnL w="12700" cap="flat" cmpd="sng" algn="ctr">
                      <a:solidFill>
                        <a:schemeClr val="bg2">
                          <a:lumMod val="90000"/>
                        </a:schemeClr>
                      </a:solidFill>
                      <a:prstDash val="sysDot"/>
                      <a:round/>
                      <a:headEnd type="none" w="med" len="med"/>
                      <a:tailEnd type="none" w="med" len="med"/>
                    </a:lnL>
                    <a:lnR w="6350" cap="flat" cmpd="sng" algn="ctr">
                      <a:noFill/>
                      <a:prstDash val="sysDash"/>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164993059"/>
                  </a:ext>
                </a:extLst>
              </a:tr>
              <a:tr h="274849">
                <a:tc>
                  <a:txBody>
                    <a:bodyPr/>
                    <a:lstStyle/>
                    <a:p>
                      <a:r>
                        <a:rPr lang="en-US" sz="900" b="1" i="0" kern="1200">
                          <a:solidFill>
                            <a:schemeClr val="tx1"/>
                          </a:solidFill>
                          <a:latin typeface="Nexa Bold" pitchFamily="2" charset="77"/>
                          <a:ea typeface="+mn-ea"/>
                          <a:cs typeface="+mn-cs"/>
                        </a:rPr>
                        <a:t>Volume Sales (</a:t>
                      </a:r>
                      <a:r>
                        <a:rPr lang="en-US" sz="900" b="1" i="0" kern="1200" err="1">
                          <a:solidFill>
                            <a:schemeClr val="tx1"/>
                          </a:solidFill>
                          <a:latin typeface="Nexa Bold" pitchFamily="2" charset="77"/>
                          <a:ea typeface="+mn-ea"/>
                          <a:cs typeface="+mn-cs"/>
                        </a:rPr>
                        <a:t>kgM</a:t>
                      </a:r>
                      <a:r>
                        <a:rPr lang="en-US" sz="900" b="1" i="0" kern="1200">
                          <a:solidFill>
                            <a:schemeClr val="tx1"/>
                          </a:solidFill>
                          <a:latin typeface="Nexa Bold" pitchFamily="2" charset="77"/>
                          <a:ea typeface="+mn-ea"/>
                          <a:cs typeface="+mn-cs"/>
                        </a:rPr>
                        <a:t>)</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186.4</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a:txBody>
                    <a:bodyPr/>
                    <a:lstStyle/>
                    <a:p>
                      <a:pPr algn="ctr"/>
                      <a:r>
                        <a:rPr sz="900"/>
                        <a:t>24.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vMerge="1">
                  <a:txBody>
                    <a:bodyPr/>
                    <a:lstStyle/>
                    <a:p>
                      <a:endParaRPr lang="en-AE"/>
                    </a:p>
                  </a:txBody>
                  <a:tcPr/>
                </a:tc>
                <a:extLst>
                  <a:ext uri="{0D108BD9-81ED-4DB2-BD59-A6C34878D82A}">
                    <a16:rowId xmlns:a16="http://schemas.microsoft.com/office/drawing/2014/main" val="2893178582"/>
                  </a:ext>
                </a:extLst>
              </a:tr>
            </a:tbl>
          </a:graphicData>
        </a:graphic>
      </p:graphicFrame>
      <p:sp>
        <p:nvSpPr>
          <p:cNvPr id="5" name="TextBox 4">
            <a:extLst>
              <a:ext uri="{FF2B5EF4-FFF2-40B4-BE49-F238E27FC236}">
                <a16:creationId xmlns:a16="http://schemas.microsoft.com/office/drawing/2014/main" id="{93727F24-80C6-F2CC-BBD9-D6E709998A9D}"/>
              </a:ext>
            </a:extLst>
          </p:cNvPr>
          <p:cNvSpPr txBox="1"/>
          <p:nvPr/>
        </p:nvSpPr>
        <p:spPr>
          <a:xfrm>
            <a:off x="535416" y="2162153"/>
            <a:ext cx="1408434" cy="23083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900">
                <a:solidFill>
                  <a:schemeClr val="tx2"/>
                </a:solidFill>
                <a:latin typeface="Nexa Bold" panose="00000800000000000000" pitchFamily="2" charset="0"/>
              </a:rPr>
              <a:t>Value Sales ($  M)</a:t>
            </a:r>
          </a:p>
        </p:txBody>
      </p:sp>
      <p:sp>
        <p:nvSpPr>
          <p:cNvPr id="6" name="Date Placeholder 5">
            <a:extLst>
              <a:ext uri="{FF2B5EF4-FFF2-40B4-BE49-F238E27FC236}">
                <a16:creationId xmlns:a16="http://schemas.microsoft.com/office/drawing/2014/main" id="{C31EB4B8-16DF-97D7-87D6-FC88B54FE84A}"/>
              </a:ext>
            </a:extLst>
          </p:cNvPr>
          <p:cNvSpPr>
            <a:spLocks noGrp="1"/>
          </p:cNvSpPr>
          <p:nvPr>
            <p:ph type="dt" sz="half" idx="14"/>
          </p:nvPr>
        </p:nvSpPr>
        <p:spPr/>
        <p:txBody>
          <a:bodyPr/>
          <a:lstStyle/>
          <a:p>
            <a:fld id="{296FA869-BB72-4FBF-ABF8-21744C2215D9}" type="datetime1">
              <a:rPr lang="en-US" smtClean="0"/>
              <a:t>12/12/2024</a:t>
            </a:fld>
            <a:endParaRPr lang="en-US"/>
          </a:p>
        </p:txBody>
      </p:sp>
    </p:spTree>
    <p:extLst>
      <p:ext uri="{BB962C8B-B14F-4D97-AF65-F5344CB8AC3E}">
        <p14:creationId xmlns:p14="http://schemas.microsoft.com/office/powerpoint/2010/main" val="2502424148"/>
      </p:ext>
    </p:extLst>
  </p:cSld>
  <p:clrMapOvr>
    <a:masterClrMapping/>
  </p:clrMapOvr>
</p:sld>
</file>

<file path=ppt/slides/slide3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84788F55-C544-2888-1994-2AA0FF71D6E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9" name="think-cell data - do not delete" hidden="1">
                        <a:extLst>
                          <a:ext uri="{FF2B5EF4-FFF2-40B4-BE49-F238E27FC236}">
                            <a16:creationId xmlns:a16="http://schemas.microsoft.com/office/drawing/2014/main" id="{84788F55-C544-2888-1994-2AA0FF71D6EF}"/>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5</a:t>
            </a:fld>
            <a:endParaRPr lang="en-US"/>
          </a:p>
        </p:txBody>
      </p:sp>
      <p:sp>
        <p:nvSpPr>
          <p:cNvPr id="32" name="SRC">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DATA SOURCE: Trade Panel/Retailer Data | Ending August 2024</a:t>
            </a:r>
          </a:p>
        </p:txBody>
      </p:sp>
      <p:sp>
        <p:nvSpPr>
          <p:cNvPr id="33" name="MT">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ales trend on Value vs. Volume vs. Price | Manual Shave Women | Amazon 3P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normAutofit/>
          </a:bodyPr>
          <a:lstStyle/>
          <a:p>
            <a:r>
              <a:rPr lang="fr-CH" err="1"/>
              <a:t>Category</a:t>
            </a:r>
            <a:r>
              <a:rPr lang="fr-CH"/>
              <a:t> </a:t>
            </a:r>
            <a:r>
              <a:rPr lang="fr-CH" err="1"/>
              <a:t>Overview</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4" name="C1">
            <a:extLst>
              <a:ext uri="{FF2B5EF4-FFF2-40B4-BE49-F238E27FC236}">
                <a16:creationId xmlns:a16="http://schemas.microsoft.com/office/drawing/2014/main" id="{3F988610-BD5B-1357-841E-2DBFB419E674}"/>
              </a:ext>
            </a:extLst>
          </p:cNvPr>
          <p:cNvGraphicFramePr/>
          <p:nvPr>
            <p:extLst>
              <p:ext uri="{D42A27DB-BD31-4B8C-83A1-F6EECF244321}">
                <p14:modId xmlns:p14="http://schemas.microsoft.com/office/powerpoint/2010/main" val="2690479082"/>
              </p:ext>
            </p:extLst>
          </p:nvPr>
        </p:nvGraphicFramePr>
        <p:xfrm>
          <a:off x="535416" y="2192483"/>
          <a:ext cx="8093544" cy="25402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1" name="T1">
            <a:extLst>
              <a:ext uri="{FF2B5EF4-FFF2-40B4-BE49-F238E27FC236}">
                <a16:creationId xmlns:a16="http://schemas.microsoft.com/office/drawing/2014/main" id="{0D348E7C-1D67-14EC-809B-C07EE5021CB1}"/>
              </a:ext>
            </a:extLst>
          </p:cNvPr>
          <p:cNvGraphicFramePr>
            <a:graphicFrameLocks noGrp="1"/>
          </p:cNvGraphicFramePr>
          <p:nvPr>
            <p:extLst>
              <p:ext uri="{D42A27DB-BD31-4B8C-83A1-F6EECF244321}">
                <p14:modId xmlns:p14="http://schemas.microsoft.com/office/powerpoint/2010/main" val="4097038769"/>
              </p:ext>
            </p:extLst>
          </p:nvPr>
        </p:nvGraphicFramePr>
        <p:xfrm>
          <a:off x="535912" y="1141196"/>
          <a:ext cx="8100003" cy="902593"/>
        </p:xfrm>
        <a:graphic>
          <a:graphicData uri="http://schemas.openxmlformats.org/drawingml/2006/table">
            <a:tbl>
              <a:tblPr firstRow="1" bandRow="1">
                <a:tableStyleId>{5C22544A-7EE6-4342-B048-85BDC9FD1C3A}</a:tableStyleId>
              </a:tblPr>
              <a:tblGrid>
                <a:gridCol w="1225009">
                  <a:extLst>
                    <a:ext uri="{9D8B030D-6E8A-4147-A177-3AD203B41FA5}">
                      <a16:colId xmlns:a16="http://schemas.microsoft.com/office/drawing/2014/main" val="2097685003"/>
                    </a:ext>
                  </a:extLst>
                </a:gridCol>
                <a:gridCol w="982142">
                  <a:extLst>
                    <a:ext uri="{9D8B030D-6E8A-4147-A177-3AD203B41FA5}">
                      <a16:colId xmlns:a16="http://schemas.microsoft.com/office/drawing/2014/main" val="2089866971"/>
                    </a:ext>
                  </a:extLst>
                </a:gridCol>
                <a:gridCol w="982142">
                  <a:extLst>
                    <a:ext uri="{9D8B030D-6E8A-4147-A177-3AD203B41FA5}">
                      <a16:colId xmlns:a16="http://schemas.microsoft.com/office/drawing/2014/main" val="2851604717"/>
                    </a:ext>
                  </a:extLst>
                </a:gridCol>
                <a:gridCol w="982142">
                  <a:extLst>
                    <a:ext uri="{9D8B030D-6E8A-4147-A177-3AD203B41FA5}">
                      <a16:colId xmlns:a16="http://schemas.microsoft.com/office/drawing/2014/main" val="568711677"/>
                    </a:ext>
                  </a:extLst>
                </a:gridCol>
                <a:gridCol w="982142">
                  <a:extLst>
                    <a:ext uri="{9D8B030D-6E8A-4147-A177-3AD203B41FA5}">
                      <a16:colId xmlns:a16="http://schemas.microsoft.com/office/drawing/2014/main" val="3128690551"/>
                    </a:ext>
                  </a:extLst>
                </a:gridCol>
                <a:gridCol w="982142">
                  <a:extLst>
                    <a:ext uri="{9D8B030D-6E8A-4147-A177-3AD203B41FA5}">
                      <a16:colId xmlns:a16="http://schemas.microsoft.com/office/drawing/2014/main" val="2272065234"/>
                    </a:ext>
                  </a:extLst>
                </a:gridCol>
                <a:gridCol w="982142">
                  <a:extLst>
                    <a:ext uri="{9D8B030D-6E8A-4147-A177-3AD203B41FA5}">
                      <a16:colId xmlns:a16="http://schemas.microsoft.com/office/drawing/2014/main" val="1765880838"/>
                    </a:ext>
                  </a:extLst>
                </a:gridCol>
                <a:gridCol w="982142">
                  <a:extLst>
                    <a:ext uri="{9D8B030D-6E8A-4147-A177-3AD203B41FA5}">
                      <a16:colId xmlns:a16="http://schemas.microsoft.com/office/drawing/2014/main" val="2252399899"/>
                    </a:ext>
                  </a:extLst>
                </a:gridCol>
              </a:tblGrid>
              <a:tr h="352895">
                <a:tc>
                  <a:txBody>
                    <a:bodyPr/>
                    <a:lstStyle/>
                    <a:p>
                      <a:pPr algn="ctr"/>
                      <a:endParaRPr lang="en-US" sz="900" b="0" i="0">
                        <a:solidFill>
                          <a:schemeClr val="tx1"/>
                        </a:solidFill>
                        <a:latin typeface="Nexa Bold" pitchFamily="2" charset="77"/>
                      </a:endParaRPr>
                    </a:p>
                  </a:txBody>
                  <a:tcPr marL="68580" marR="68580" marT="13716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lang="en-US" sz="900" b="0" i="0" kern="1200">
                          <a:solidFill>
                            <a:schemeClr val="tx1"/>
                          </a:solidFill>
                          <a:latin typeface="Nexa Bold" pitchFamily="2" charset="77"/>
                          <a:ea typeface="+mn-ea"/>
                          <a:cs typeface="+mn-cs"/>
                        </a:rPr>
                        <a:t>Category</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Manufacturer</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rowSpan="3">
                  <a:txBody>
                    <a:bodyPr/>
                    <a:lstStyle/>
                    <a:p>
                      <a:pPr algn="ctr">
                        <a:defRPr>
                          <a:latin typeface="Nexa Bold"/>
                        </a:defRPr>
                      </a:pPr>
                      <a:r>
                        <a:rPr sz="900" b="0">
                          <a:solidFill>
                            <a:srgbClr val="575555"/>
                          </a:solidFill>
                        </a:rPr>
                        <a:t>Pricing impact</a:t>
                      </a:r>
                    </a:p>
                    <a:p>
                      <a:pPr algn="ctr"/>
                      <a:r>
                        <a:rPr sz="900" b="0">
                          <a:solidFill>
                            <a:srgbClr val="575555"/>
                          </a:solidFill>
                          <a:latin typeface="Nexa Bold"/>
                        </a:rPr>
                        <a:t>on growth
</a:t>
                      </a:r>
                      <a:r>
                        <a:rPr sz="900">
                          <a:solidFill>
                            <a:srgbClr val="006C6D"/>
                          </a:solidFill>
                          <a:latin typeface="Nexa Bold"/>
                        </a:rPr>
                        <a:t>-15pts</a:t>
                      </a:r>
                    </a:p>
                  </a:txBody>
                  <a:tcPr marL="68580" marR="68580" marT="137160" marB="34290" anchor="ctr">
                    <a:lnL w="19050" cap="flat" cmpd="sng" algn="ctr">
                      <a:solidFill>
                        <a:schemeClr val="bg1"/>
                      </a:solidFill>
                      <a:prstDash val="solid"/>
                      <a:round/>
                      <a:headEnd type="none" w="med" len="med"/>
                      <a:tailEnd type="none" w="med" len="med"/>
                    </a:lnL>
                    <a:lnR w="6350" cap="flat" cmpd="sng" algn="ctr">
                      <a:noFill/>
                      <a:prstDash val="sysDash"/>
                      <a:round/>
                      <a:headEnd type="none" w="med" len="med"/>
                      <a:tailEnd type="none" w="med" len="med"/>
                    </a:lnR>
                    <a:lnT w="12700" cap="flat" cmpd="sng" algn="ctr">
                      <a:solidFill>
                        <a:schemeClr val="bg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3114691536"/>
                  </a:ext>
                </a:extLst>
              </a:tr>
              <a:tr h="274849">
                <a:tc>
                  <a:txBody>
                    <a:bodyPr/>
                    <a:lstStyle/>
                    <a:p>
                      <a:pPr>
                        <a:defRPr>
                          <a:latin typeface="Nexa Bold"/>
                        </a:defRPr>
                      </a:pPr>
                      <a:r>
                        <a:rPr sz="900" b="1"/>
                        <a:t>Value Sales ($  M)</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30.3</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1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a:r>
                        <a:rPr sz="900"/>
                        <a:t>9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11.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a:r>
                        <a:rPr sz="900"/>
                        <a:t>8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pPr algn="ctr" rtl="0" fontAlgn="ctr"/>
                      <a:endParaRPr sz="1000">
                        <a:solidFill>
                          <a:srgbClr val="575555"/>
                        </a:solidFill>
                        <a:latin typeface="Open Sans"/>
                      </a:endParaRPr>
                    </a:p>
                  </a:txBody>
                  <a:tcPr marL="9525" marR="9525" marT="9525" marB="0" anchor="ctr">
                    <a:lnL w="12700" cap="flat" cmpd="sng" algn="ctr">
                      <a:solidFill>
                        <a:schemeClr val="bg2">
                          <a:lumMod val="90000"/>
                        </a:schemeClr>
                      </a:solidFill>
                      <a:prstDash val="sysDot"/>
                      <a:round/>
                      <a:headEnd type="none" w="med" len="med"/>
                      <a:tailEnd type="none" w="med" len="med"/>
                    </a:lnL>
                    <a:lnR w="6350" cap="flat" cmpd="sng" algn="ctr">
                      <a:noFill/>
                      <a:prstDash val="sysDash"/>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164993059"/>
                  </a:ext>
                </a:extLst>
              </a:tr>
              <a:tr h="274849">
                <a:tc>
                  <a:txBody>
                    <a:bodyPr/>
                    <a:lstStyle/>
                    <a:p>
                      <a:r>
                        <a:rPr lang="en-US" sz="900" b="1" i="0" kern="1200">
                          <a:solidFill>
                            <a:schemeClr val="tx1"/>
                          </a:solidFill>
                          <a:latin typeface="Nexa Bold" pitchFamily="2" charset="77"/>
                          <a:ea typeface="+mn-ea"/>
                          <a:cs typeface="+mn-cs"/>
                        </a:rPr>
                        <a:t>Volume Sales (</a:t>
                      </a:r>
                      <a:r>
                        <a:rPr lang="en-US" sz="900" b="1" i="0" kern="1200" err="1">
                          <a:solidFill>
                            <a:schemeClr val="tx1"/>
                          </a:solidFill>
                          <a:latin typeface="Nexa Bold" pitchFamily="2" charset="77"/>
                          <a:ea typeface="+mn-ea"/>
                          <a:cs typeface="+mn-cs"/>
                        </a:rPr>
                        <a:t>kgM</a:t>
                      </a:r>
                      <a:r>
                        <a:rPr lang="en-US" sz="900" b="1" i="0" kern="1200">
                          <a:solidFill>
                            <a:schemeClr val="tx1"/>
                          </a:solidFill>
                          <a:latin typeface="Nexa Bold" pitchFamily="2" charset="77"/>
                          <a:ea typeface="+mn-ea"/>
                          <a:cs typeface="+mn-cs"/>
                        </a:rPr>
                        <a:t>)</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11.8</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2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a:txBody>
                    <a:bodyPr/>
                    <a:lstStyle/>
                    <a:p>
                      <a:pPr algn="ctr"/>
                      <a:r>
                        <a:rPr sz="900"/>
                        <a:t>4.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1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vMerge="1">
                  <a:txBody>
                    <a:bodyPr/>
                    <a:lstStyle/>
                    <a:p>
                      <a:endParaRPr lang="en-AE"/>
                    </a:p>
                  </a:txBody>
                  <a:tcPr/>
                </a:tc>
                <a:extLst>
                  <a:ext uri="{0D108BD9-81ED-4DB2-BD59-A6C34878D82A}">
                    <a16:rowId xmlns:a16="http://schemas.microsoft.com/office/drawing/2014/main" val="2893178582"/>
                  </a:ext>
                </a:extLst>
              </a:tr>
            </a:tbl>
          </a:graphicData>
        </a:graphic>
      </p:graphicFrame>
      <p:sp>
        <p:nvSpPr>
          <p:cNvPr id="5" name="TextBox 4">
            <a:extLst>
              <a:ext uri="{FF2B5EF4-FFF2-40B4-BE49-F238E27FC236}">
                <a16:creationId xmlns:a16="http://schemas.microsoft.com/office/drawing/2014/main" id="{93727F24-80C6-F2CC-BBD9-D6E709998A9D}"/>
              </a:ext>
            </a:extLst>
          </p:cNvPr>
          <p:cNvSpPr txBox="1"/>
          <p:nvPr/>
        </p:nvSpPr>
        <p:spPr>
          <a:xfrm>
            <a:off x="535416" y="2162153"/>
            <a:ext cx="1408434" cy="23083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900">
                <a:solidFill>
                  <a:schemeClr val="tx2"/>
                </a:solidFill>
                <a:latin typeface="Nexa Bold" panose="00000800000000000000" pitchFamily="2" charset="0"/>
              </a:rPr>
              <a:t>Value Sales ($  M)</a:t>
            </a:r>
          </a:p>
        </p:txBody>
      </p:sp>
      <p:sp>
        <p:nvSpPr>
          <p:cNvPr id="6" name="Date Placeholder 5">
            <a:extLst>
              <a:ext uri="{FF2B5EF4-FFF2-40B4-BE49-F238E27FC236}">
                <a16:creationId xmlns:a16="http://schemas.microsoft.com/office/drawing/2014/main" id="{C31EB4B8-16DF-97D7-87D6-FC88B54FE84A}"/>
              </a:ext>
            </a:extLst>
          </p:cNvPr>
          <p:cNvSpPr>
            <a:spLocks noGrp="1"/>
          </p:cNvSpPr>
          <p:nvPr>
            <p:ph type="dt" sz="half" idx="14"/>
          </p:nvPr>
        </p:nvSpPr>
        <p:spPr/>
        <p:txBody>
          <a:bodyPr/>
          <a:lstStyle/>
          <a:p>
            <a:fld id="{296FA869-BB72-4FBF-ABF8-21744C2215D9}" type="datetime1">
              <a:rPr lang="en-US" smtClean="0"/>
              <a:t>12/12/2024</a:t>
            </a:fld>
            <a:endParaRPr lang="en-US"/>
          </a:p>
        </p:txBody>
      </p:sp>
    </p:spTree>
    <p:extLst>
      <p:ext uri="{BB962C8B-B14F-4D97-AF65-F5344CB8AC3E}">
        <p14:creationId xmlns:p14="http://schemas.microsoft.com/office/powerpoint/2010/main" val="27440163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anual Shave Women | Category Trends | Walmart</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14635399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National | Category Trends | Refill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189694676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Amazon | Category Trends | Hybrid</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86571022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Amazon | Category Trends | Razor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47560279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Amazon | Category Trends | Refill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396817646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CVS Corp | Category Trends | Hybrid</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92875413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CVS Corp | Category Trends | Razor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114366162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CVS Corp | Category Trends | Refill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359832910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 Category Trends | Hybrid</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4349685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 Category Trends | Razor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329414145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 Category Trends | Refill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21917917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anual Shave Women | Category Trends | Amazon 1P</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13258926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Amazon 1P | Category Trends | Hybrid</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229863209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Amazon 1P | Category Trends | Razor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70115429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Amazon 1P | Category Trends | Refill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34669583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CVS | Category Trends | Hybrid</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348107124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CVS | Category Trends | Razor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493098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CVS | Category Trends | Refill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210018071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Div1 Corp | Category Trends | Hybrid</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337598640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Div1 Corp | Category Trends | Razor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327325920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Div1 Corp | Category Trends | Refill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233582796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Nm Corp | Category Trends | Hybrid</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309526059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anual Shave Women | Category Trends | CV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122296720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Nm Corp | Category Trends | Razor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351952879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Nm Corp | Category Trends | Refill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42620810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Sc Corp | Category Trends | Hybrid</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338469571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Sc Corp | Category Trends | Razor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210294555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Sc Corp | Category Trends | Refill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209829115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Amazon 3P | Category Trends | Hybrid</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111884171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Amazon 3P | Category Trends | Razor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70576222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Amazon 3P | Category Trends | Refill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371134325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National | Category Trends | 1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97670388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National | Category Trends | 2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109929799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anual Shave Women | Category Trends | Walmart Div1 Corp</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29133649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National | Category Trends | 3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362753215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National | Category Trends | 4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80655918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National | Category Trends | 5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249499279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National | Category Trends | 6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3128009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National | Category Trends | Rem Blade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3071647003"/>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Amazon | Category Trends | 1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2236063895"/>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Amazon | Category Trends | 2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351329372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Amazon | Category Trends | 3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306372160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Amazon | Category Trends | 4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1270914803"/>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Amazon | Category Trends | 5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69737470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anual Shave Women | Category Trends | Walmart Nm Corp</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280623170"/>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Amazon | Category Trends | 6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389226195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Amazon | Category Trends | Rem Blade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1722415143"/>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CVS Corp | Category Trends | 1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1945792261"/>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CVS Corp | Category Trends | 2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3575740591"/>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CVS Corp | Category Trends | 3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3957887222"/>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CVS Corp | Category Trends | 4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2038376232"/>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CVS Corp | Category Trends | 5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2432505584"/>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CVS Corp | Category Trends | 6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1345911259"/>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CVS Corp | Category Trends | Rem Blade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663051730"/>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 Category Trends | 1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112221321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Manual Shave Women | Category Trends | Walmart Sc Corp</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2353165066"/>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 Category Trends | 2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1456587508"/>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 Category Trends | 3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527782731"/>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 Category Trends | 4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991486297"/>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 Category Trends | 5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2797459867"/>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 Category Trends | 6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2000052160"/>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Walmart | Category Trends | Rem Blade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1101246062"/>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Amazon 1P | Category Trends | 1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4003006457"/>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Amazon 1P | Category Trends | 2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787109626"/>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Amazon 1P | Category Trends | 3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3327311563"/>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August 2024</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Amazon 1P | Category Trends | 4 Blad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a:t>Category Trends </a:t>
            </a:r>
            <a:r>
              <a:rPr lang="en-US">
                <a:solidFill>
                  <a:schemeClr val="bg2">
                    <a:lumMod val="90000"/>
                  </a:schemeClr>
                </a:solidFill>
              </a:rPr>
              <a:t>(Replace with So What) </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12/2024</a:t>
            </a:fld>
            <a:endParaRPr lang="en-US"/>
          </a:p>
        </p:txBody>
      </p:sp>
    </p:spTree>
    <p:extLst>
      <p:ext uri="{BB962C8B-B14F-4D97-AF65-F5344CB8AC3E}">
        <p14:creationId xmlns:p14="http://schemas.microsoft.com/office/powerpoint/2010/main" val="7906581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Props1.xml><?xml version="1.0" encoding="utf-8"?>
<ds:datastoreItem xmlns:ds="http://schemas.openxmlformats.org/officeDocument/2006/customXml" ds:itemID="{6CBFBEC4-2E96-4DCB-AEBB-C4FAEA748BD6}">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A463C387-91F7-4F23-8A04-9E635946853C}">
  <ds:schemaRefs>
    <ds:schemaRef ds:uri="http://schemas.microsoft.com/sharepoint/v3/contenttype/forms"/>
  </ds:schemaRefs>
</ds:datastoreItem>
</file>

<file path=customXml/itemProps3.xml><?xml version="1.0" encoding="utf-8"?>
<ds:datastoreItem xmlns:ds="http://schemas.openxmlformats.org/officeDocument/2006/customXml" ds:itemID="{B8968EC3-DB7D-48CB-8134-A45BCEDA63A0}">
  <ds:schemaRefs>
    <ds:schemaRef ds:uri="0ad93b7f-b0cd-4c46-aaaf-ff14495948cf"/>
    <ds:schemaRef ds:uri="http://purl.org/dc/dcmitype/"/>
    <ds:schemaRef ds:uri="http://www.w3.org/XML/1998/namespace"/>
    <ds:schemaRef ds:uri="http://purl.org/dc/elements/1.1/"/>
    <ds:schemaRef ds:uri="474cf4e4-8a51-432b-9e1b-0ea607ac38ff"/>
    <ds:schemaRef ds:uri="http://schemas.microsoft.com/office/2006/documentManagement/types"/>
    <ds:schemaRef ds:uri="http://purl.org/dc/terms/"/>
    <ds:schemaRef ds:uri="http://schemas.microsoft.com/office/infopath/2007/PartnerControls"/>
    <ds:schemaRef ds:uri="http://schemas.openxmlformats.org/package/2006/metadata/core-properties"/>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
  <TotalTime>0</TotalTime>
  <Words>24215</Words>
  <Application>Microsoft Office PowerPoint</Application>
  <PresentationFormat>On-screen Show (16:9)</PresentationFormat>
  <Paragraphs>4775</Paragraphs>
  <Slides>395</Slides>
  <Notes>180</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395</vt:i4>
      </vt:variant>
    </vt:vector>
  </HeadingPairs>
  <TitlesOfParts>
    <vt:vector size="406" baseType="lpstr">
      <vt:lpstr>Aptos</vt:lpstr>
      <vt:lpstr>Arial</vt:lpstr>
      <vt:lpstr>Calibri</vt:lpstr>
      <vt:lpstr>Nexa</vt:lpstr>
      <vt:lpstr>Nexa Bold</vt:lpstr>
      <vt:lpstr>Nexa Book</vt:lpstr>
      <vt:lpstr>Nexa Book Italic</vt:lpstr>
      <vt:lpstr>Open Sans</vt:lpstr>
      <vt:lpstr>Raleway</vt:lpstr>
      <vt:lpstr>PricingOne Light Template Oct 2024</vt:lpstr>
      <vt:lpstr>think-cell Slide</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Category Trend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Share Evolution index analysis (Replace with So What) </vt:lpstr>
      <vt:lpstr>Category Overview (Replace with So What) </vt:lpstr>
      <vt:lpstr>Category Overview (Replace with So What) </vt:lpstr>
      <vt:lpstr>Category Overview (Replace with So What) </vt:lpstr>
      <vt:lpstr>Category Overview (Replace with So What) </vt:lpstr>
      <vt:lpstr>Category Overview (Replace with So What) </vt:lpstr>
      <vt:lpstr>Category Overview (Replace with So What) </vt:lpstr>
      <vt:lpstr>Category Overview (Replace with So What) </vt:lpstr>
      <vt:lpstr>Category Overview (Replace with So What) </vt:lpstr>
      <vt:lpstr>Category Overview (Replace with So What) </vt:lpstr>
      <vt:lpstr>Category Overview (Replace with So What)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ctor Growth vs. Company Growth (Replace with So What) </dc:title>
  <dc:creator>Bhagya RANASINGHE</dc:creator>
  <cp:lastModifiedBy>Raphaella ASHRAF</cp:lastModifiedBy>
  <cp:revision>5</cp:revision>
  <dcterms:created xsi:type="dcterms:W3CDTF">2024-07-05T07:54:38Z</dcterms:created>
  <dcterms:modified xsi:type="dcterms:W3CDTF">2024-12-12T13:53: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